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4"/>
    <p:sldMasterId id="2147483696" r:id="rId5"/>
    <p:sldMasterId id="2147483700" r:id="rId6"/>
    <p:sldMasterId id="2147483704" r:id="rId7"/>
    <p:sldMasterId id="2147483708" r:id="rId8"/>
  </p:sldMasterIdLst>
  <p:notesMasterIdLst>
    <p:notesMasterId r:id="rId41"/>
  </p:notesMasterIdLst>
  <p:handoutMasterIdLst>
    <p:handoutMasterId r:id="rId42"/>
  </p:handoutMasterIdLst>
  <p:sldIdLst>
    <p:sldId id="2014" r:id="rId9"/>
    <p:sldId id="2016" r:id="rId10"/>
    <p:sldId id="2031" r:id="rId11"/>
    <p:sldId id="2010" r:id="rId12"/>
    <p:sldId id="2012" r:id="rId13"/>
    <p:sldId id="2053" r:id="rId14"/>
    <p:sldId id="2043" r:id="rId15"/>
    <p:sldId id="1956" r:id="rId16"/>
    <p:sldId id="2044" r:id="rId17"/>
    <p:sldId id="2034" r:id="rId18"/>
    <p:sldId id="1968" r:id="rId19"/>
    <p:sldId id="2032" r:id="rId20"/>
    <p:sldId id="2045" r:id="rId21"/>
    <p:sldId id="2047" r:id="rId22"/>
    <p:sldId id="2048" r:id="rId23"/>
    <p:sldId id="2049" r:id="rId24"/>
    <p:sldId id="2033" r:id="rId25"/>
    <p:sldId id="1973" r:id="rId26"/>
    <p:sldId id="1963" r:id="rId27"/>
    <p:sldId id="2021" r:id="rId28"/>
    <p:sldId id="2134804416" r:id="rId29"/>
    <p:sldId id="2134804417" r:id="rId30"/>
    <p:sldId id="2052" r:id="rId31"/>
    <p:sldId id="2024" r:id="rId32"/>
    <p:sldId id="2023" r:id="rId33"/>
    <p:sldId id="2039" r:id="rId34"/>
    <p:sldId id="2040" r:id="rId35"/>
    <p:sldId id="2051" r:id="rId36"/>
    <p:sldId id="2042" r:id="rId37"/>
    <p:sldId id="2134804418" r:id="rId38"/>
    <p:sldId id="2028" r:id="rId39"/>
    <p:sldId id="2134804415" r:id="rId4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7310" userDrawn="1">
          <p15:clr>
            <a:srgbClr val="A4A3A4"/>
          </p15:clr>
        </p15:guide>
        <p15:guide id="3" orient="horz" pos="346" userDrawn="1">
          <p15:clr>
            <a:srgbClr val="A4A3A4"/>
          </p15:clr>
        </p15:guide>
        <p15:guide id="4" orient="horz" pos="3974" userDrawn="1">
          <p15:clr>
            <a:srgbClr val="A4A3A4"/>
          </p15:clr>
        </p15:guide>
        <p15:guide id="5" pos="370" userDrawn="1">
          <p15:clr>
            <a:srgbClr val="A4A3A4"/>
          </p15:clr>
        </p15:guide>
        <p15:guide id="6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drian Kurniawan" initials="AK" lastIdx="1" clrIdx="0">
    <p:extLst>
      <p:ext uri="{19B8F6BF-5375-455C-9EA6-DF929625EA0E}">
        <p15:presenceInfo xmlns:p15="http://schemas.microsoft.com/office/powerpoint/2012/main" userId="Andrian Kurniawan" providerId="None"/>
      </p:ext>
    </p:extLst>
  </p:cmAuthor>
  <p:cmAuthor id="2" name="Monica Logozzo" initials="ML" lastIdx="12" clrIdx="1">
    <p:extLst>
      <p:ext uri="{19B8F6BF-5375-455C-9EA6-DF929625EA0E}">
        <p15:presenceInfo xmlns:p15="http://schemas.microsoft.com/office/powerpoint/2012/main" userId="da3293c313b853dc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7E0EC"/>
    <a:srgbClr val="DEEBF7"/>
    <a:srgbClr val="FFFBF1"/>
    <a:srgbClr val="0083B8"/>
    <a:srgbClr val="F2B02E"/>
    <a:srgbClr val="FFF8FA"/>
    <a:srgbClr val="AE2C49"/>
    <a:srgbClr val="F9FFF2"/>
    <a:srgbClr val="91B64C"/>
    <a:srgbClr val="E1879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062" autoAdjust="0"/>
    <p:restoredTop sz="95122" autoAdjust="0"/>
  </p:normalViewPr>
  <p:slideViewPr>
    <p:cSldViewPr snapToGrid="0">
      <p:cViewPr varScale="1">
        <p:scale>
          <a:sx n="82" d="100"/>
          <a:sy n="82" d="100"/>
        </p:scale>
        <p:origin x="734" y="96"/>
      </p:cViewPr>
      <p:guideLst>
        <p:guide orient="horz" pos="2183"/>
        <p:guide pos="7310"/>
        <p:guide orient="horz" pos="346"/>
        <p:guide orient="horz" pos="3974"/>
        <p:guide pos="37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 varScale="1">
        <p:scale>
          <a:sx n="85" d="100"/>
          <a:sy n="85" d="100"/>
        </p:scale>
        <p:origin x="2952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handoutMaster" Target="handoutMasters/handoutMaster1.xml"/><Relationship Id="rId47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EB733B9-8EC0-42B5-8E57-02021CC32B3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AEAE7FE-5257-44BC-A234-983385E49ED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B053CA-6C57-4F62-BDA1-685AD8AE14C0}" type="datetimeFigureOut">
              <a:rPr lang="en-ID" smtClean="0"/>
              <a:t>07/04/2021</a:t>
            </a:fld>
            <a:endParaRPr lang="en-ID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BA70588-37CF-49E6-87F2-C8E1A884FFA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080689-DD23-4926-A93C-03EC6FA6A2D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A1F0AD-E956-4B4C-A583-20A57F82C11B}" type="slidenum">
              <a:rPr lang="en-ID" smtClean="0"/>
              <a:t>‹N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04766961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D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489EC0-97F0-4BF1-B975-36615910DF41}" type="datetimeFigureOut">
              <a:rPr lang="en-ID" smtClean="0"/>
              <a:t>07/04/2021</a:t>
            </a:fld>
            <a:endParaRPr lang="en-ID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D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D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DD21E5-C797-4859-80D8-9F6BFF6A8A42}" type="slidenum">
              <a:rPr lang="en-ID" smtClean="0"/>
              <a:t>‹N›</a:t>
            </a:fld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42156650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81421596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745709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6637047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6693952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04836837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8450652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0583360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95194031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5194031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3530939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067205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2945689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58673584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7447868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5673525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3734466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143879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327416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08087332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4140072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Shape 3911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912" name="Shape 3912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7923596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3.svg"/><Relationship Id="rId7" Type="http://schemas.openxmlformats.org/officeDocument/2006/relationships/image" Target="../media/image10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9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8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3.svg"/><Relationship Id="rId7" Type="http://schemas.openxmlformats.org/officeDocument/2006/relationships/image" Target="../media/image10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9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8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8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8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3.svg"/><Relationship Id="rId7" Type="http://schemas.openxmlformats.org/officeDocument/2006/relationships/image" Target="../media/image10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3.svg"/><Relationship Id="rId7" Type="http://schemas.openxmlformats.org/officeDocument/2006/relationships/image" Target="../media/image10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9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8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0215E7D2-B56A-40DC-98F8-61678B4278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-2526632" y="2526630"/>
            <a:ext cx="6858001" cy="180473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F161730-CFCD-4D28-8C09-09BC14770DCC}"/>
              </a:ext>
            </a:extLst>
          </p:cNvPr>
          <p:cNvSpPr/>
          <p:nvPr userDrawn="1"/>
        </p:nvSpPr>
        <p:spPr>
          <a:xfrm>
            <a:off x="0" y="0"/>
            <a:ext cx="1804737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AC9FE1C-5EB6-4667-B391-BAEA1FCFCCA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6200000">
            <a:off x="8107550" y="2828739"/>
            <a:ext cx="6933664" cy="123524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C43CBDF-7F59-41EF-B665-F9E0B8685FEA}"/>
              </a:ext>
            </a:extLst>
          </p:cNvPr>
          <p:cNvSpPr/>
          <p:nvPr userDrawn="1"/>
        </p:nvSpPr>
        <p:spPr>
          <a:xfrm>
            <a:off x="10945104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6C7D304B-09D5-45E0-BBD2-78890A20E1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37522" y="3681547"/>
            <a:ext cx="8607287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F0669A-2E53-4FA4-9D9B-3F6F817F2E9A}"/>
              </a:ext>
            </a:extLst>
          </p:cNvPr>
          <p:cNvCxnSpPr>
            <a:cxnSpLocks/>
          </p:cNvCxnSpPr>
          <p:nvPr userDrawn="1"/>
        </p:nvCxnSpPr>
        <p:spPr>
          <a:xfrm>
            <a:off x="2610710" y="1524973"/>
            <a:ext cx="7606677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33B1DECE-E749-45F7-A87A-FC603ABBDF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37522" y="1162114"/>
            <a:ext cx="8607287" cy="2387600"/>
          </a:xfrm>
        </p:spPr>
        <p:txBody>
          <a:bodyPr anchor="b"/>
          <a:lstStyle>
            <a:lvl1pPr algn="ctr">
              <a:defRPr sz="6000"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40ABDFD-46CF-4B54-8D04-B44D3EB6260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6476" y="5634223"/>
            <a:ext cx="4700544" cy="1049788"/>
          </a:xfrm>
          <a:prstGeom prst="rect">
            <a:avLst/>
          </a:prstGeom>
        </p:spPr>
      </p:pic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B357F59B-3429-46C1-BE3F-D61C928F529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8068" y="271092"/>
            <a:ext cx="3034959" cy="995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26757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0215E7D2-B56A-40DC-98F8-61678B4278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-2526632" y="2526630"/>
            <a:ext cx="6858001" cy="180473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F161730-CFCD-4D28-8C09-09BC14770DCC}"/>
              </a:ext>
            </a:extLst>
          </p:cNvPr>
          <p:cNvSpPr/>
          <p:nvPr userDrawn="1"/>
        </p:nvSpPr>
        <p:spPr>
          <a:xfrm>
            <a:off x="0" y="0"/>
            <a:ext cx="1804737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AC9FE1C-5EB6-4667-B391-BAEA1FCFCCA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6200000">
            <a:off x="8107550" y="2828739"/>
            <a:ext cx="6933664" cy="123524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C43CBDF-7F59-41EF-B665-F9E0B8685FEA}"/>
              </a:ext>
            </a:extLst>
          </p:cNvPr>
          <p:cNvSpPr/>
          <p:nvPr userDrawn="1"/>
        </p:nvSpPr>
        <p:spPr>
          <a:xfrm>
            <a:off x="10945104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628F593-C836-44C4-BBD9-5FE387848C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43590" y="442346"/>
            <a:ext cx="3360799" cy="1022993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6C7D304B-09D5-45E0-BBD2-78890A20E1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37522" y="3681547"/>
            <a:ext cx="8607287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F0669A-2E53-4FA4-9D9B-3F6F817F2E9A}"/>
              </a:ext>
            </a:extLst>
          </p:cNvPr>
          <p:cNvCxnSpPr>
            <a:cxnSpLocks/>
          </p:cNvCxnSpPr>
          <p:nvPr userDrawn="1"/>
        </p:nvCxnSpPr>
        <p:spPr>
          <a:xfrm>
            <a:off x="2610710" y="1524973"/>
            <a:ext cx="7606677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33B1DECE-E749-45F7-A87A-FC603ABBDF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37522" y="1162114"/>
            <a:ext cx="8607287" cy="2387600"/>
          </a:xfrm>
        </p:spPr>
        <p:txBody>
          <a:bodyPr anchor="b"/>
          <a:lstStyle>
            <a:lvl1pPr algn="ctr">
              <a:defRPr sz="6000"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40ABDFD-46CF-4B54-8D04-B44D3EB6260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6476" y="5634223"/>
            <a:ext cx="4700544" cy="1049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08066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EDEB988-F7BD-432B-B3D0-4A56B797603A}"/>
              </a:ext>
            </a:extLst>
          </p:cNvPr>
          <p:cNvSpPr/>
          <p:nvPr userDrawn="1"/>
        </p:nvSpPr>
        <p:spPr>
          <a:xfrm>
            <a:off x="0" y="-3"/>
            <a:ext cx="6095998" cy="6858003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B1EADCB-401C-4C0F-9BD4-0CB9AE7E249F}"/>
              </a:ext>
            </a:extLst>
          </p:cNvPr>
          <p:cNvSpPr/>
          <p:nvPr userDrawn="1"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1A26618-EF74-4C9B-AFF9-2F47098ECA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429668" y="2526630"/>
            <a:ext cx="6858001" cy="180473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A349064-D5A0-49AF-B759-BD6E9E0F9A5F}"/>
              </a:ext>
            </a:extLst>
          </p:cNvPr>
          <p:cNvSpPr/>
          <p:nvPr userDrawn="1"/>
        </p:nvSpPr>
        <p:spPr>
          <a:xfrm flipH="1">
            <a:off x="6278126" y="0"/>
            <a:ext cx="1565945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1DD3E3C-988F-4E01-9C54-15DDDDC9F0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6836" y="540782"/>
            <a:ext cx="5439461" cy="5770952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C7DAA6BB-5630-467F-907E-AFA5E41307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4103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36993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3B83DB93-234F-4A14-8F5B-E2C78538C3A1}"/>
              </a:ext>
            </a:extLst>
          </p:cNvPr>
          <p:cNvSpPr/>
          <p:nvPr userDrawn="1"/>
        </p:nvSpPr>
        <p:spPr>
          <a:xfrm>
            <a:off x="9754200" y="0"/>
            <a:ext cx="1850292" cy="658816"/>
          </a:xfrm>
          <a:custGeom>
            <a:avLst/>
            <a:gdLst>
              <a:gd name="connsiteX0" fmla="*/ 0 w 2590800"/>
              <a:gd name="connsiteY0" fmla="*/ 0 h 1101969"/>
              <a:gd name="connsiteX1" fmla="*/ 2590800 w 2590800"/>
              <a:gd name="connsiteY1" fmla="*/ 0 h 1101969"/>
              <a:gd name="connsiteX2" fmla="*/ 2590800 w 2590800"/>
              <a:gd name="connsiteY2" fmla="*/ 992553 h 1101969"/>
              <a:gd name="connsiteX3" fmla="*/ 2481384 w 2590800"/>
              <a:gd name="connsiteY3" fmla="*/ 1101969 h 1101969"/>
              <a:gd name="connsiteX4" fmla="*/ 109416 w 2590800"/>
              <a:gd name="connsiteY4" fmla="*/ 1101969 h 1101969"/>
              <a:gd name="connsiteX5" fmla="*/ 0 w 2590800"/>
              <a:gd name="connsiteY5" fmla="*/ 992553 h 1101969"/>
              <a:gd name="connsiteX6" fmla="*/ 0 w 2590800"/>
              <a:gd name="connsiteY6" fmla="*/ 0 h 1101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90800" h="1101969">
                <a:moveTo>
                  <a:pt x="0" y="0"/>
                </a:moveTo>
                <a:lnTo>
                  <a:pt x="2590800" y="0"/>
                </a:lnTo>
                <a:lnTo>
                  <a:pt x="2590800" y="992553"/>
                </a:lnTo>
                <a:cubicBezTo>
                  <a:pt x="2590800" y="1052982"/>
                  <a:pt x="2541813" y="1101969"/>
                  <a:pt x="2481384" y="1101969"/>
                </a:cubicBezTo>
                <a:lnTo>
                  <a:pt x="109416" y="1101969"/>
                </a:lnTo>
                <a:cubicBezTo>
                  <a:pt x="48987" y="1101969"/>
                  <a:pt x="0" y="1052982"/>
                  <a:pt x="0" y="992553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93700" dist="50800" dir="5400000" algn="ctr" rotWithShape="0">
              <a:srgbClr val="000000">
                <a:alpha val="2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EBF63175-CED5-4ACB-B425-9E4D3C83A3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66426" y="281333"/>
            <a:ext cx="1025839" cy="312255"/>
          </a:xfrm>
          <a:prstGeom prst="rect">
            <a:avLst/>
          </a:prstGeom>
        </p:spPr>
      </p:pic>
      <p:pic>
        <p:nvPicPr>
          <p:cNvPr id="15" name="Graphic 3">
            <a:extLst>
              <a:ext uri="{FF2B5EF4-FFF2-40B4-BE49-F238E27FC236}">
                <a16:creationId xmlns:a16="http://schemas.microsoft.com/office/drawing/2014/main" id="{1D78CEA7-5B17-4FDC-B485-393B5A3F8DD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754198" y="-2253"/>
            <a:ext cx="1850291" cy="283586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47647B38-11F0-498E-89D6-F8EA8D40C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775" y="325369"/>
            <a:ext cx="10254886" cy="1325563"/>
          </a:xfrm>
        </p:spPr>
        <p:txBody>
          <a:bodyPr anchor="ctr">
            <a:normAutofit/>
          </a:bodyPr>
          <a:lstStyle>
            <a:lvl1pPr>
              <a:defRPr lang="en-US" sz="40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n-US" dirty="0"/>
              <a:t>Click to edit Master title sty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6880758-31E8-48E1-99DC-AC162FA0E3AA}"/>
              </a:ext>
            </a:extLst>
          </p:cNvPr>
          <p:cNvSpPr/>
          <p:nvPr userDrawn="1"/>
        </p:nvSpPr>
        <p:spPr>
          <a:xfrm rot="5400000" flipH="1">
            <a:off x="10537551" y="-785609"/>
            <a:ext cx="283585" cy="1850293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FC09C13-C951-496A-AFDC-74FC86B982E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947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113794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0215E7D2-B56A-40DC-98F8-61678B4278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-2526632" y="2526630"/>
            <a:ext cx="6858001" cy="180473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F161730-CFCD-4D28-8C09-09BC14770DCC}"/>
              </a:ext>
            </a:extLst>
          </p:cNvPr>
          <p:cNvSpPr/>
          <p:nvPr userDrawn="1"/>
        </p:nvSpPr>
        <p:spPr>
          <a:xfrm>
            <a:off x="0" y="0"/>
            <a:ext cx="1804737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AC9FE1C-5EB6-4667-B391-BAEA1FCFCCA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6200000">
            <a:off x="8107550" y="2828739"/>
            <a:ext cx="6933664" cy="123524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C43CBDF-7F59-41EF-B665-F9E0B8685FEA}"/>
              </a:ext>
            </a:extLst>
          </p:cNvPr>
          <p:cNvSpPr/>
          <p:nvPr userDrawn="1"/>
        </p:nvSpPr>
        <p:spPr>
          <a:xfrm>
            <a:off x="10945104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628F593-C836-44C4-BBD9-5FE387848C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43590" y="442346"/>
            <a:ext cx="3360799" cy="1022993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6C7D304B-09D5-45E0-BBD2-78890A20E1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37522" y="3681547"/>
            <a:ext cx="8607287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F0669A-2E53-4FA4-9D9B-3F6F817F2E9A}"/>
              </a:ext>
            </a:extLst>
          </p:cNvPr>
          <p:cNvCxnSpPr>
            <a:cxnSpLocks/>
          </p:cNvCxnSpPr>
          <p:nvPr userDrawn="1"/>
        </p:nvCxnSpPr>
        <p:spPr>
          <a:xfrm>
            <a:off x="2610710" y="1524973"/>
            <a:ext cx="7606677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33B1DECE-E749-45F7-A87A-FC603ABBDF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37522" y="1162114"/>
            <a:ext cx="8607287" cy="2387600"/>
          </a:xfrm>
        </p:spPr>
        <p:txBody>
          <a:bodyPr anchor="b"/>
          <a:lstStyle>
            <a:lvl1pPr algn="ctr">
              <a:defRPr sz="6000"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40ABDFD-46CF-4B54-8D04-B44D3EB6260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6476" y="5634223"/>
            <a:ext cx="4700544" cy="1049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2380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EDEB988-F7BD-432B-B3D0-4A56B797603A}"/>
              </a:ext>
            </a:extLst>
          </p:cNvPr>
          <p:cNvSpPr/>
          <p:nvPr userDrawn="1"/>
        </p:nvSpPr>
        <p:spPr>
          <a:xfrm>
            <a:off x="0" y="-3"/>
            <a:ext cx="6095998" cy="6858003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B1EADCB-401C-4C0F-9BD4-0CB9AE7E249F}"/>
              </a:ext>
            </a:extLst>
          </p:cNvPr>
          <p:cNvSpPr/>
          <p:nvPr userDrawn="1"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1A26618-EF74-4C9B-AFF9-2F47098ECA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429668" y="2526630"/>
            <a:ext cx="6858001" cy="180473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A349064-D5A0-49AF-B759-BD6E9E0F9A5F}"/>
              </a:ext>
            </a:extLst>
          </p:cNvPr>
          <p:cNvSpPr/>
          <p:nvPr userDrawn="1"/>
        </p:nvSpPr>
        <p:spPr>
          <a:xfrm flipH="1">
            <a:off x="6278126" y="0"/>
            <a:ext cx="1565945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1DD3E3C-988F-4E01-9C54-15DDDDC9F0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6836" y="540782"/>
            <a:ext cx="5439461" cy="5770952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C7DAA6BB-5630-467F-907E-AFA5E41307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4103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993056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3B83DB93-234F-4A14-8F5B-E2C78538C3A1}"/>
              </a:ext>
            </a:extLst>
          </p:cNvPr>
          <p:cNvSpPr/>
          <p:nvPr userDrawn="1"/>
        </p:nvSpPr>
        <p:spPr>
          <a:xfrm>
            <a:off x="9754200" y="0"/>
            <a:ext cx="1850292" cy="658816"/>
          </a:xfrm>
          <a:custGeom>
            <a:avLst/>
            <a:gdLst>
              <a:gd name="connsiteX0" fmla="*/ 0 w 2590800"/>
              <a:gd name="connsiteY0" fmla="*/ 0 h 1101969"/>
              <a:gd name="connsiteX1" fmla="*/ 2590800 w 2590800"/>
              <a:gd name="connsiteY1" fmla="*/ 0 h 1101969"/>
              <a:gd name="connsiteX2" fmla="*/ 2590800 w 2590800"/>
              <a:gd name="connsiteY2" fmla="*/ 992553 h 1101969"/>
              <a:gd name="connsiteX3" fmla="*/ 2481384 w 2590800"/>
              <a:gd name="connsiteY3" fmla="*/ 1101969 h 1101969"/>
              <a:gd name="connsiteX4" fmla="*/ 109416 w 2590800"/>
              <a:gd name="connsiteY4" fmla="*/ 1101969 h 1101969"/>
              <a:gd name="connsiteX5" fmla="*/ 0 w 2590800"/>
              <a:gd name="connsiteY5" fmla="*/ 992553 h 1101969"/>
              <a:gd name="connsiteX6" fmla="*/ 0 w 2590800"/>
              <a:gd name="connsiteY6" fmla="*/ 0 h 1101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90800" h="1101969">
                <a:moveTo>
                  <a:pt x="0" y="0"/>
                </a:moveTo>
                <a:lnTo>
                  <a:pt x="2590800" y="0"/>
                </a:lnTo>
                <a:lnTo>
                  <a:pt x="2590800" y="992553"/>
                </a:lnTo>
                <a:cubicBezTo>
                  <a:pt x="2590800" y="1052982"/>
                  <a:pt x="2541813" y="1101969"/>
                  <a:pt x="2481384" y="1101969"/>
                </a:cubicBezTo>
                <a:lnTo>
                  <a:pt x="109416" y="1101969"/>
                </a:lnTo>
                <a:cubicBezTo>
                  <a:pt x="48987" y="1101969"/>
                  <a:pt x="0" y="1052982"/>
                  <a:pt x="0" y="992553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93700" dist="50800" dir="5400000" algn="ctr" rotWithShape="0">
              <a:srgbClr val="000000">
                <a:alpha val="2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EBF63175-CED5-4ACB-B425-9E4D3C83A3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66426" y="281333"/>
            <a:ext cx="1025839" cy="312255"/>
          </a:xfrm>
          <a:prstGeom prst="rect">
            <a:avLst/>
          </a:prstGeom>
        </p:spPr>
      </p:pic>
      <p:pic>
        <p:nvPicPr>
          <p:cNvPr id="15" name="Graphic 3">
            <a:extLst>
              <a:ext uri="{FF2B5EF4-FFF2-40B4-BE49-F238E27FC236}">
                <a16:creationId xmlns:a16="http://schemas.microsoft.com/office/drawing/2014/main" id="{1D78CEA7-5B17-4FDC-B485-393B5A3F8DD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754198" y="-2253"/>
            <a:ext cx="1850291" cy="283586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47647B38-11F0-498E-89D6-F8EA8D40C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775" y="325369"/>
            <a:ext cx="10254886" cy="1325563"/>
          </a:xfrm>
        </p:spPr>
        <p:txBody>
          <a:bodyPr anchor="ctr">
            <a:normAutofit/>
          </a:bodyPr>
          <a:lstStyle>
            <a:lvl1pPr>
              <a:defRPr lang="en-US" sz="40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n-US" dirty="0"/>
              <a:t>Click to edit Master title sty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6880758-31E8-48E1-99DC-AC162FA0E3AA}"/>
              </a:ext>
            </a:extLst>
          </p:cNvPr>
          <p:cNvSpPr/>
          <p:nvPr userDrawn="1"/>
        </p:nvSpPr>
        <p:spPr>
          <a:xfrm rot="5400000" flipH="1">
            <a:off x="10537551" y="-785609"/>
            <a:ext cx="283585" cy="1850293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FC09C13-C951-496A-AFDC-74FC86B982E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947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36143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EDEB988-F7BD-432B-B3D0-4A56B797603A}"/>
              </a:ext>
            </a:extLst>
          </p:cNvPr>
          <p:cNvSpPr/>
          <p:nvPr userDrawn="1"/>
        </p:nvSpPr>
        <p:spPr>
          <a:xfrm>
            <a:off x="0" y="-3"/>
            <a:ext cx="6095998" cy="6858003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B1EADCB-401C-4C0F-9BD4-0CB9AE7E249F}"/>
              </a:ext>
            </a:extLst>
          </p:cNvPr>
          <p:cNvSpPr/>
          <p:nvPr userDrawn="1"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1A26618-EF74-4C9B-AFF9-2F47098ECA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429668" y="2526630"/>
            <a:ext cx="6858001" cy="180473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A349064-D5A0-49AF-B759-BD6E9E0F9A5F}"/>
              </a:ext>
            </a:extLst>
          </p:cNvPr>
          <p:cNvSpPr/>
          <p:nvPr userDrawn="1"/>
        </p:nvSpPr>
        <p:spPr>
          <a:xfrm flipH="1">
            <a:off x="6278126" y="0"/>
            <a:ext cx="1565945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1DD3E3C-988F-4E01-9C54-15DDDDC9F0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6836" y="540782"/>
            <a:ext cx="5439461" cy="5770952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C7DAA6BB-5630-467F-907E-AFA5E41307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4103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04177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3B83DB93-234F-4A14-8F5B-E2C78538C3A1}"/>
              </a:ext>
            </a:extLst>
          </p:cNvPr>
          <p:cNvSpPr/>
          <p:nvPr userDrawn="1"/>
        </p:nvSpPr>
        <p:spPr>
          <a:xfrm>
            <a:off x="9754200" y="0"/>
            <a:ext cx="1850292" cy="658816"/>
          </a:xfrm>
          <a:custGeom>
            <a:avLst/>
            <a:gdLst>
              <a:gd name="connsiteX0" fmla="*/ 0 w 2590800"/>
              <a:gd name="connsiteY0" fmla="*/ 0 h 1101969"/>
              <a:gd name="connsiteX1" fmla="*/ 2590800 w 2590800"/>
              <a:gd name="connsiteY1" fmla="*/ 0 h 1101969"/>
              <a:gd name="connsiteX2" fmla="*/ 2590800 w 2590800"/>
              <a:gd name="connsiteY2" fmla="*/ 992553 h 1101969"/>
              <a:gd name="connsiteX3" fmla="*/ 2481384 w 2590800"/>
              <a:gd name="connsiteY3" fmla="*/ 1101969 h 1101969"/>
              <a:gd name="connsiteX4" fmla="*/ 109416 w 2590800"/>
              <a:gd name="connsiteY4" fmla="*/ 1101969 h 1101969"/>
              <a:gd name="connsiteX5" fmla="*/ 0 w 2590800"/>
              <a:gd name="connsiteY5" fmla="*/ 992553 h 1101969"/>
              <a:gd name="connsiteX6" fmla="*/ 0 w 2590800"/>
              <a:gd name="connsiteY6" fmla="*/ 0 h 1101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90800" h="1101969">
                <a:moveTo>
                  <a:pt x="0" y="0"/>
                </a:moveTo>
                <a:lnTo>
                  <a:pt x="2590800" y="0"/>
                </a:lnTo>
                <a:lnTo>
                  <a:pt x="2590800" y="992553"/>
                </a:lnTo>
                <a:cubicBezTo>
                  <a:pt x="2590800" y="1052982"/>
                  <a:pt x="2541813" y="1101969"/>
                  <a:pt x="2481384" y="1101969"/>
                </a:cubicBezTo>
                <a:lnTo>
                  <a:pt x="109416" y="1101969"/>
                </a:lnTo>
                <a:cubicBezTo>
                  <a:pt x="48987" y="1101969"/>
                  <a:pt x="0" y="1052982"/>
                  <a:pt x="0" y="992553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93700" dist="50800" dir="5400000" algn="ctr" rotWithShape="0">
              <a:srgbClr val="000000">
                <a:alpha val="2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pic>
        <p:nvPicPr>
          <p:cNvPr id="15" name="Graphic 3">
            <a:extLst>
              <a:ext uri="{FF2B5EF4-FFF2-40B4-BE49-F238E27FC236}">
                <a16:creationId xmlns:a16="http://schemas.microsoft.com/office/drawing/2014/main" id="{1D78CEA7-5B17-4FDC-B485-393B5A3F8D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54198" y="-2253"/>
            <a:ext cx="1850291" cy="283586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47647B38-11F0-498E-89D6-F8EA8D40C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775" y="325369"/>
            <a:ext cx="10254886" cy="1325563"/>
          </a:xfrm>
        </p:spPr>
        <p:txBody>
          <a:bodyPr anchor="ctr">
            <a:normAutofit/>
          </a:bodyPr>
          <a:lstStyle>
            <a:lvl1pPr>
              <a:defRPr lang="en-US" sz="40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n-US" dirty="0"/>
              <a:t>Click to edit Master title sty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6880758-31E8-48E1-99DC-AC162FA0E3AA}"/>
              </a:ext>
            </a:extLst>
          </p:cNvPr>
          <p:cNvSpPr/>
          <p:nvPr userDrawn="1"/>
        </p:nvSpPr>
        <p:spPr>
          <a:xfrm rot="5400000" flipH="1">
            <a:off x="10537551" y="-785609"/>
            <a:ext cx="283585" cy="1850293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FC09C13-C951-496A-AFDC-74FC86B982E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947" y="6137848"/>
            <a:ext cx="2412123" cy="538707"/>
          </a:xfrm>
          <a:prstGeom prst="rect">
            <a:avLst/>
          </a:prstGeom>
        </p:spPr>
      </p:pic>
      <p:pic>
        <p:nvPicPr>
          <p:cNvPr id="4" name="Picture 3" descr="A picture containing text&#10;&#10;Description automatically generated">
            <a:extLst>
              <a:ext uri="{FF2B5EF4-FFF2-40B4-BE49-F238E27FC236}">
                <a16:creationId xmlns:a16="http://schemas.microsoft.com/office/drawing/2014/main" id="{724E0394-1FB6-4198-8100-44F73B3228F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4484" y="259205"/>
            <a:ext cx="969723" cy="318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51791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0215E7D2-B56A-40DC-98F8-61678B4278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-2526632" y="2526630"/>
            <a:ext cx="6858001" cy="180473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F161730-CFCD-4D28-8C09-09BC14770DCC}"/>
              </a:ext>
            </a:extLst>
          </p:cNvPr>
          <p:cNvSpPr/>
          <p:nvPr userDrawn="1"/>
        </p:nvSpPr>
        <p:spPr>
          <a:xfrm>
            <a:off x="0" y="0"/>
            <a:ext cx="1804737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AC9FE1C-5EB6-4667-B391-BAEA1FCFCCA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6200000">
            <a:off x="8107550" y="2828739"/>
            <a:ext cx="6933664" cy="123524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C43CBDF-7F59-41EF-B665-F9E0B8685FEA}"/>
              </a:ext>
            </a:extLst>
          </p:cNvPr>
          <p:cNvSpPr/>
          <p:nvPr userDrawn="1"/>
        </p:nvSpPr>
        <p:spPr>
          <a:xfrm>
            <a:off x="10945104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628F593-C836-44C4-BBD9-5FE387848C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43590" y="442346"/>
            <a:ext cx="3360799" cy="1022993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6C7D304B-09D5-45E0-BBD2-78890A20E1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37522" y="3681547"/>
            <a:ext cx="8607287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F0669A-2E53-4FA4-9D9B-3F6F817F2E9A}"/>
              </a:ext>
            </a:extLst>
          </p:cNvPr>
          <p:cNvCxnSpPr>
            <a:cxnSpLocks/>
          </p:cNvCxnSpPr>
          <p:nvPr userDrawn="1"/>
        </p:nvCxnSpPr>
        <p:spPr>
          <a:xfrm>
            <a:off x="2610710" y="1524973"/>
            <a:ext cx="7606677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33B1DECE-E749-45F7-A87A-FC603ABBDF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37522" y="1162114"/>
            <a:ext cx="8607287" cy="2387600"/>
          </a:xfrm>
        </p:spPr>
        <p:txBody>
          <a:bodyPr anchor="b"/>
          <a:lstStyle>
            <a:lvl1pPr algn="ctr">
              <a:defRPr sz="6000"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40ABDFD-46CF-4B54-8D04-B44D3EB6260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6476" y="5634223"/>
            <a:ext cx="4700544" cy="1049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1076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EDEB988-F7BD-432B-B3D0-4A56B797603A}"/>
              </a:ext>
            </a:extLst>
          </p:cNvPr>
          <p:cNvSpPr/>
          <p:nvPr userDrawn="1"/>
        </p:nvSpPr>
        <p:spPr>
          <a:xfrm>
            <a:off x="0" y="-3"/>
            <a:ext cx="6095998" cy="6858003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B1EADCB-401C-4C0F-9BD4-0CB9AE7E249F}"/>
              </a:ext>
            </a:extLst>
          </p:cNvPr>
          <p:cNvSpPr/>
          <p:nvPr userDrawn="1"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1A26618-EF74-4C9B-AFF9-2F47098ECA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429668" y="2526630"/>
            <a:ext cx="6858001" cy="180473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A349064-D5A0-49AF-B759-BD6E9E0F9A5F}"/>
              </a:ext>
            </a:extLst>
          </p:cNvPr>
          <p:cNvSpPr/>
          <p:nvPr userDrawn="1"/>
        </p:nvSpPr>
        <p:spPr>
          <a:xfrm flipH="1">
            <a:off x="6278126" y="0"/>
            <a:ext cx="1565945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1DD3E3C-988F-4E01-9C54-15DDDDC9F0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6836" y="540782"/>
            <a:ext cx="5439461" cy="5770952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C7DAA6BB-5630-467F-907E-AFA5E41307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4103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87594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3B83DB93-234F-4A14-8F5B-E2C78538C3A1}"/>
              </a:ext>
            </a:extLst>
          </p:cNvPr>
          <p:cNvSpPr/>
          <p:nvPr userDrawn="1"/>
        </p:nvSpPr>
        <p:spPr>
          <a:xfrm>
            <a:off x="9754200" y="0"/>
            <a:ext cx="1850292" cy="658816"/>
          </a:xfrm>
          <a:custGeom>
            <a:avLst/>
            <a:gdLst>
              <a:gd name="connsiteX0" fmla="*/ 0 w 2590800"/>
              <a:gd name="connsiteY0" fmla="*/ 0 h 1101969"/>
              <a:gd name="connsiteX1" fmla="*/ 2590800 w 2590800"/>
              <a:gd name="connsiteY1" fmla="*/ 0 h 1101969"/>
              <a:gd name="connsiteX2" fmla="*/ 2590800 w 2590800"/>
              <a:gd name="connsiteY2" fmla="*/ 992553 h 1101969"/>
              <a:gd name="connsiteX3" fmla="*/ 2481384 w 2590800"/>
              <a:gd name="connsiteY3" fmla="*/ 1101969 h 1101969"/>
              <a:gd name="connsiteX4" fmla="*/ 109416 w 2590800"/>
              <a:gd name="connsiteY4" fmla="*/ 1101969 h 1101969"/>
              <a:gd name="connsiteX5" fmla="*/ 0 w 2590800"/>
              <a:gd name="connsiteY5" fmla="*/ 992553 h 1101969"/>
              <a:gd name="connsiteX6" fmla="*/ 0 w 2590800"/>
              <a:gd name="connsiteY6" fmla="*/ 0 h 1101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90800" h="1101969">
                <a:moveTo>
                  <a:pt x="0" y="0"/>
                </a:moveTo>
                <a:lnTo>
                  <a:pt x="2590800" y="0"/>
                </a:lnTo>
                <a:lnTo>
                  <a:pt x="2590800" y="992553"/>
                </a:lnTo>
                <a:cubicBezTo>
                  <a:pt x="2590800" y="1052982"/>
                  <a:pt x="2541813" y="1101969"/>
                  <a:pt x="2481384" y="1101969"/>
                </a:cubicBezTo>
                <a:lnTo>
                  <a:pt x="109416" y="1101969"/>
                </a:lnTo>
                <a:cubicBezTo>
                  <a:pt x="48987" y="1101969"/>
                  <a:pt x="0" y="1052982"/>
                  <a:pt x="0" y="992553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93700" dist="50800" dir="5400000" algn="ctr" rotWithShape="0">
              <a:srgbClr val="000000">
                <a:alpha val="2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EBF63175-CED5-4ACB-B425-9E4D3C83A3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66426" y="281333"/>
            <a:ext cx="1025839" cy="312255"/>
          </a:xfrm>
          <a:prstGeom prst="rect">
            <a:avLst/>
          </a:prstGeom>
        </p:spPr>
      </p:pic>
      <p:pic>
        <p:nvPicPr>
          <p:cNvPr id="15" name="Graphic 3">
            <a:extLst>
              <a:ext uri="{FF2B5EF4-FFF2-40B4-BE49-F238E27FC236}">
                <a16:creationId xmlns:a16="http://schemas.microsoft.com/office/drawing/2014/main" id="{1D78CEA7-5B17-4FDC-B485-393B5A3F8DD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754198" y="-2253"/>
            <a:ext cx="1850291" cy="283586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47647B38-11F0-498E-89D6-F8EA8D40C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775" y="325369"/>
            <a:ext cx="10254886" cy="1325563"/>
          </a:xfrm>
        </p:spPr>
        <p:txBody>
          <a:bodyPr anchor="ctr">
            <a:normAutofit/>
          </a:bodyPr>
          <a:lstStyle>
            <a:lvl1pPr>
              <a:defRPr lang="en-US" sz="40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n-US" dirty="0"/>
              <a:t>Click to edit Master title sty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6880758-31E8-48E1-99DC-AC162FA0E3AA}"/>
              </a:ext>
            </a:extLst>
          </p:cNvPr>
          <p:cNvSpPr/>
          <p:nvPr userDrawn="1"/>
        </p:nvSpPr>
        <p:spPr>
          <a:xfrm rot="5400000" flipH="1">
            <a:off x="10537551" y="-785609"/>
            <a:ext cx="283585" cy="1850293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FC09C13-C951-496A-AFDC-74FC86B982E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947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63834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0215E7D2-B56A-40DC-98F8-61678B4278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-2526632" y="2526630"/>
            <a:ext cx="6858001" cy="180473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F161730-CFCD-4D28-8C09-09BC14770DCC}"/>
              </a:ext>
            </a:extLst>
          </p:cNvPr>
          <p:cNvSpPr/>
          <p:nvPr userDrawn="1"/>
        </p:nvSpPr>
        <p:spPr>
          <a:xfrm>
            <a:off x="0" y="0"/>
            <a:ext cx="1804737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AC9FE1C-5EB6-4667-B391-BAEA1FCFCCA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16200000">
            <a:off x="8107550" y="2828739"/>
            <a:ext cx="6933664" cy="123524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C43CBDF-7F59-41EF-B665-F9E0B8685FEA}"/>
              </a:ext>
            </a:extLst>
          </p:cNvPr>
          <p:cNvSpPr/>
          <p:nvPr userDrawn="1"/>
        </p:nvSpPr>
        <p:spPr>
          <a:xfrm>
            <a:off x="10945104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628F593-C836-44C4-BBD9-5FE387848C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43590" y="442346"/>
            <a:ext cx="3360799" cy="1022993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6C7D304B-09D5-45E0-BBD2-78890A20E1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37522" y="3681547"/>
            <a:ext cx="8607287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E4F0669A-2E53-4FA4-9D9B-3F6F817F2E9A}"/>
              </a:ext>
            </a:extLst>
          </p:cNvPr>
          <p:cNvCxnSpPr>
            <a:cxnSpLocks/>
          </p:cNvCxnSpPr>
          <p:nvPr userDrawn="1"/>
        </p:nvCxnSpPr>
        <p:spPr>
          <a:xfrm>
            <a:off x="2610710" y="1524973"/>
            <a:ext cx="7606677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itle 1">
            <a:extLst>
              <a:ext uri="{FF2B5EF4-FFF2-40B4-BE49-F238E27FC236}">
                <a16:creationId xmlns:a16="http://schemas.microsoft.com/office/drawing/2014/main" id="{33B1DECE-E749-45F7-A87A-FC603ABBDF1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37522" y="1162114"/>
            <a:ext cx="8607287" cy="2387600"/>
          </a:xfrm>
        </p:spPr>
        <p:txBody>
          <a:bodyPr anchor="b"/>
          <a:lstStyle>
            <a:lvl1pPr algn="ctr">
              <a:defRPr sz="6000" b="1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40ABDFD-46CF-4B54-8D04-B44D3EB6260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6476" y="5634223"/>
            <a:ext cx="4700544" cy="1049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63696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AEDEB988-F7BD-432B-B3D0-4A56B797603A}"/>
              </a:ext>
            </a:extLst>
          </p:cNvPr>
          <p:cNvSpPr/>
          <p:nvPr userDrawn="1"/>
        </p:nvSpPr>
        <p:spPr>
          <a:xfrm>
            <a:off x="0" y="-3"/>
            <a:ext cx="6095998" cy="6858003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B1EADCB-401C-4C0F-9BD4-0CB9AE7E249F}"/>
              </a:ext>
            </a:extLst>
          </p:cNvPr>
          <p:cNvSpPr/>
          <p:nvPr userDrawn="1"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E1A26618-EF74-4C9B-AFF9-2F47098ECA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429668" y="2526630"/>
            <a:ext cx="6858001" cy="180473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1A349064-D5A0-49AF-B759-BD6E9E0F9A5F}"/>
              </a:ext>
            </a:extLst>
          </p:cNvPr>
          <p:cNvSpPr/>
          <p:nvPr userDrawn="1"/>
        </p:nvSpPr>
        <p:spPr>
          <a:xfrm flipH="1">
            <a:off x="6278126" y="0"/>
            <a:ext cx="1565945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1DD3E3C-988F-4E01-9C54-15DDDDC9F0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6836" y="540782"/>
            <a:ext cx="5439461" cy="5770952"/>
          </a:xfrm>
        </p:spPr>
        <p:txBody>
          <a:bodyPr>
            <a:normAutofit/>
          </a:bodyPr>
          <a:lstStyle>
            <a:lvl1pPr marL="342900" indent="-342900" algn="l">
              <a:buFont typeface="Arial" panose="020B0604020202020204" pitchFamily="34" charset="0"/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C7DAA6BB-5630-467F-907E-AFA5E413073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4103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9813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3B83DB93-234F-4A14-8F5B-E2C78538C3A1}"/>
              </a:ext>
            </a:extLst>
          </p:cNvPr>
          <p:cNvSpPr/>
          <p:nvPr userDrawn="1"/>
        </p:nvSpPr>
        <p:spPr>
          <a:xfrm>
            <a:off x="9754200" y="0"/>
            <a:ext cx="1850292" cy="658816"/>
          </a:xfrm>
          <a:custGeom>
            <a:avLst/>
            <a:gdLst>
              <a:gd name="connsiteX0" fmla="*/ 0 w 2590800"/>
              <a:gd name="connsiteY0" fmla="*/ 0 h 1101969"/>
              <a:gd name="connsiteX1" fmla="*/ 2590800 w 2590800"/>
              <a:gd name="connsiteY1" fmla="*/ 0 h 1101969"/>
              <a:gd name="connsiteX2" fmla="*/ 2590800 w 2590800"/>
              <a:gd name="connsiteY2" fmla="*/ 992553 h 1101969"/>
              <a:gd name="connsiteX3" fmla="*/ 2481384 w 2590800"/>
              <a:gd name="connsiteY3" fmla="*/ 1101969 h 1101969"/>
              <a:gd name="connsiteX4" fmla="*/ 109416 w 2590800"/>
              <a:gd name="connsiteY4" fmla="*/ 1101969 h 1101969"/>
              <a:gd name="connsiteX5" fmla="*/ 0 w 2590800"/>
              <a:gd name="connsiteY5" fmla="*/ 992553 h 1101969"/>
              <a:gd name="connsiteX6" fmla="*/ 0 w 2590800"/>
              <a:gd name="connsiteY6" fmla="*/ 0 h 1101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590800" h="1101969">
                <a:moveTo>
                  <a:pt x="0" y="0"/>
                </a:moveTo>
                <a:lnTo>
                  <a:pt x="2590800" y="0"/>
                </a:lnTo>
                <a:lnTo>
                  <a:pt x="2590800" y="992553"/>
                </a:lnTo>
                <a:cubicBezTo>
                  <a:pt x="2590800" y="1052982"/>
                  <a:pt x="2541813" y="1101969"/>
                  <a:pt x="2481384" y="1101969"/>
                </a:cubicBezTo>
                <a:lnTo>
                  <a:pt x="109416" y="1101969"/>
                </a:lnTo>
                <a:cubicBezTo>
                  <a:pt x="48987" y="1101969"/>
                  <a:pt x="0" y="1052982"/>
                  <a:pt x="0" y="992553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393700" dist="50800" dir="5400000" algn="ctr" rotWithShape="0">
              <a:srgbClr val="000000">
                <a:alpha val="2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dirty="0"/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EBF63175-CED5-4ACB-B425-9E4D3C83A3E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66426" y="281333"/>
            <a:ext cx="1025839" cy="312255"/>
          </a:xfrm>
          <a:prstGeom prst="rect">
            <a:avLst/>
          </a:prstGeom>
        </p:spPr>
      </p:pic>
      <p:pic>
        <p:nvPicPr>
          <p:cNvPr id="15" name="Graphic 3">
            <a:extLst>
              <a:ext uri="{FF2B5EF4-FFF2-40B4-BE49-F238E27FC236}">
                <a16:creationId xmlns:a16="http://schemas.microsoft.com/office/drawing/2014/main" id="{1D78CEA7-5B17-4FDC-B485-393B5A3F8DD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754198" y="-2253"/>
            <a:ext cx="1850291" cy="283586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47647B38-11F0-498E-89D6-F8EA8D40C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775" y="325369"/>
            <a:ext cx="10254886" cy="1325563"/>
          </a:xfrm>
        </p:spPr>
        <p:txBody>
          <a:bodyPr anchor="ctr">
            <a:normAutofit/>
          </a:bodyPr>
          <a:lstStyle>
            <a:lvl1pPr>
              <a:defRPr lang="en-US" sz="40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/>
            </a:pPr>
            <a:r>
              <a:rPr lang="en-US" dirty="0"/>
              <a:t>Click to edit Master title sty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6880758-31E8-48E1-99DC-AC162FA0E3AA}"/>
              </a:ext>
            </a:extLst>
          </p:cNvPr>
          <p:cNvSpPr/>
          <p:nvPr userDrawn="1"/>
        </p:nvSpPr>
        <p:spPr>
          <a:xfrm rot="5400000" flipH="1">
            <a:off x="10537551" y="-785609"/>
            <a:ext cx="283585" cy="1850293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6FC09C13-C951-496A-AFDC-74FC86B982E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947" y="6137848"/>
            <a:ext cx="2412123" cy="538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17379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oleObject" Target="../embeddings/oleObject2.bin"/><Relationship Id="rId5" Type="http://schemas.openxmlformats.org/officeDocument/2006/relationships/tags" Target="../tags/tag2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oleObject" Target="../embeddings/oleObject2.bin"/><Relationship Id="rId5" Type="http://schemas.openxmlformats.org/officeDocument/2006/relationships/tags" Target="../tags/tag3.xml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oleObject" Target="../embeddings/oleObject2.bin"/><Relationship Id="rId5" Type="http://schemas.openxmlformats.org/officeDocument/2006/relationships/tags" Target="../tags/tag4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oleObject" Target="../embeddings/oleObject3.bin"/><Relationship Id="rId5" Type="http://schemas.openxmlformats.org/officeDocument/2006/relationships/tags" Target="../tags/tag5.xml"/><Relationship Id="rId4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280094931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4" name="Ogget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1786" y="451575"/>
            <a:ext cx="10976300" cy="72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1788" y="1422400"/>
            <a:ext cx="10976297" cy="460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1507721" y="6585163"/>
            <a:ext cx="480061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US" sz="831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63658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</p:sldLayoutIdLst>
  <p:hf hdr="0" ftr="0" dt="0"/>
  <p:txStyles>
    <p:titleStyle>
      <a:lvl1pPr algn="l" defTabSz="844083" rtl="0" eaLnBrk="1" latinLnBrk="0" hangingPunct="1">
        <a:lnSpc>
          <a:spcPct val="70000"/>
        </a:lnSpc>
        <a:spcBef>
          <a:spcPct val="0"/>
        </a:spcBef>
        <a:buNone/>
        <a:defRPr sz="3508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kern="1200">
          <a:solidFill>
            <a:schemeClr val="tx2"/>
          </a:solidFill>
          <a:latin typeface="+mn-lt"/>
          <a:ea typeface="+mn-ea"/>
          <a:cs typeface="+mn-cs"/>
        </a:defRPr>
      </a:lvl2pPr>
      <a:lvl3pPr marL="199390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3pPr>
      <a:lvl4pPr marL="332316" indent="-132926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4pPr>
      <a:lvl5pPr marL="531706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013564" indent="-212682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6pPr>
      <a:lvl7pPr marL="1266124" indent="-26253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7pPr>
      <a:lvl8pPr marL="1518684" indent="-211021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2" pos="379">
          <p15:clr>
            <a:srgbClr val="F26B43"/>
          </p15:clr>
        </p15:guide>
        <p15:guide id="3" pos="7301">
          <p15:clr>
            <a:srgbClr val="F26B43"/>
          </p15:clr>
        </p15:guide>
        <p15:guide id="4" orient="horz" pos="742">
          <p15:clr>
            <a:srgbClr val="F26B43"/>
          </p15:clr>
        </p15:guide>
        <p15:guide id="6" orient="horz" pos="279">
          <p15:clr>
            <a:srgbClr val="F26B43"/>
          </p15:clr>
        </p15:guide>
        <p15:guide id="7" orient="horz" pos="896">
          <p15:clr>
            <a:srgbClr val="F26B43"/>
          </p15:clr>
        </p15:guide>
        <p15:guide id="8" pos="3768">
          <p15:clr>
            <a:srgbClr val="F26B43"/>
          </p15:clr>
        </p15:guide>
        <p15:guide id="9" pos="391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197129148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4" name="Ogget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1786" y="451575"/>
            <a:ext cx="10976300" cy="72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1788" y="1422400"/>
            <a:ext cx="10976297" cy="460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1507721" y="6585163"/>
            <a:ext cx="480061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US" sz="831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233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</p:sldLayoutIdLst>
  <p:hf hdr="0" ftr="0" dt="0"/>
  <p:txStyles>
    <p:titleStyle>
      <a:lvl1pPr algn="l" defTabSz="844083" rtl="0" eaLnBrk="1" latinLnBrk="0" hangingPunct="1">
        <a:lnSpc>
          <a:spcPct val="70000"/>
        </a:lnSpc>
        <a:spcBef>
          <a:spcPct val="0"/>
        </a:spcBef>
        <a:buNone/>
        <a:defRPr sz="3508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kern="1200">
          <a:solidFill>
            <a:schemeClr val="tx2"/>
          </a:solidFill>
          <a:latin typeface="+mn-lt"/>
          <a:ea typeface="+mn-ea"/>
          <a:cs typeface="+mn-cs"/>
        </a:defRPr>
      </a:lvl2pPr>
      <a:lvl3pPr marL="199390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3pPr>
      <a:lvl4pPr marL="332316" indent="-132926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4pPr>
      <a:lvl5pPr marL="531706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013564" indent="-212682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6pPr>
      <a:lvl7pPr marL="1266124" indent="-26253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7pPr>
      <a:lvl8pPr marL="1518684" indent="-211021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2" pos="379">
          <p15:clr>
            <a:srgbClr val="F26B43"/>
          </p15:clr>
        </p15:guide>
        <p15:guide id="3" pos="7301">
          <p15:clr>
            <a:srgbClr val="F26B43"/>
          </p15:clr>
        </p15:guide>
        <p15:guide id="4" orient="horz" pos="742">
          <p15:clr>
            <a:srgbClr val="F26B43"/>
          </p15:clr>
        </p15:guide>
        <p15:guide id="6" orient="horz" pos="279">
          <p15:clr>
            <a:srgbClr val="F26B43"/>
          </p15:clr>
        </p15:guide>
        <p15:guide id="7" orient="horz" pos="896">
          <p15:clr>
            <a:srgbClr val="F26B43"/>
          </p15:clr>
        </p15:guide>
        <p15:guide id="8" pos="3768">
          <p15:clr>
            <a:srgbClr val="F26B43"/>
          </p15:clr>
        </p15:guide>
        <p15:guide id="9" pos="391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178339950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4" name="Ogget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1786" y="451575"/>
            <a:ext cx="10976300" cy="72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1788" y="1422400"/>
            <a:ext cx="10976297" cy="460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1507721" y="6585163"/>
            <a:ext cx="480061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US" sz="831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99753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</p:sldLayoutIdLst>
  <p:hf hdr="0" ftr="0" dt="0"/>
  <p:txStyles>
    <p:titleStyle>
      <a:lvl1pPr algn="l" defTabSz="844083" rtl="0" eaLnBrk="1" latinLnBrk="0" hangingPunct="1">
        <a:lnSpc>
          <a:spcPct val="70000"/>
        </a:lnSpc>
        <a:spcBef>
          <a:spcPct val="0"/>
        </a:spcBef>
        <a:buNone/>
        <a:defRPr sz="3508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kern="1200">
          <a:solidFill>
            <a:schemeClr val="tx2"/>
          </a:solidFill>
          <a:latin typeface="+mn-lt"/>
          <a:ea typeface="+mn-ea"/>
          <a:cs typeface="+mn-cs"/>
        </a:defRPr>
      </a:lvl2pPr>
      <a:lvl3pPr marL="199390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3pPr>
      <a:lvl4pPr marL="332316" indent="-132926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4pPr>
      <a:lvl5pPr marL="531706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013564" indent="-212682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6pPr>
      <a:lvl7pPr marL="1266124" indent="-26253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7pPr>
      <a:lvl8pPr marL="1518684" indent="-211021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2" pos="379">
          <p15:clr>
            <a:srgbClr val="F26B43"/>
          </p15:clr>
        </p15:guide>
        <p15:guide id="3" pos="7301">
          <p15:clr>
            <a:srgbClr val="F26B43"/>
          </p15:clr>
        </p15:guide>
        <p15:guide id="4" orient="horz" pos="742">
          <p15:clr>
            <a:srgbClr val="F26B43"/>
          </p15:clr>
        </p15:guide>
        <p15:guide id="6" orient="horz" pos="279">
          <p15:clr>
            <a:srgbClr val="F26B43"/>
          </p15:clr>
        </p15:guide>
        <p15:guide id="7" orient="horz" pos="896">
          <p15:clr>
            <a:srgbClr val="F26B43"/>
          </p15:clr>
        </p15:guide>
        <p15:guide id="8" pos="3768">
          <p15:clr>
            <a:srgbClr val="F26B43"/>
          </p15:clr>
        </p15:guide>
        <p15:guide id="9" pos="391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338122877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4" name="Ogget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1786" y="451575"/>
            <a:ext cx="10976300" cy="72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1788" y="1422400"/>
            <a:ext cx="10976297" cy="460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1507721" y="6585163"/>
            <a:ext cx="480061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US" sz="831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5565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</p:sldLayoutIdLst>
  <p:hf hdr="0" ftr="0" dt="0"/>
  <p:txStyles>
    <p:titleStyle>
      <a:lvl1pPr algn="l" defTabSz="844083" rtl="0" eaLnBrk="1" latinLnBrk="0" hangingPunct="1">
        <a:lnSpc>
          <a:spcPct val="70000"/>
        </a:lnSpc>
        <a:spcBef>
          <a:spcPct val="0"/>
        </a:spcBef>
        <a:buNone/>
        <a:defRPr sz="3508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kern="1200">
          <a:solidFill>
            <a:schemeClr val="tx2"/>
          </a:solidFill>
          <a:latin typeface="+mn-lt"/>
          <a:ea typeface="+mn-ea"/>
          <a:cs typeface="+mn-cs"/>
        </a:defRPr>
      </a:lvl2pPr>
      <a:lvl3pPr marL="199390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3pPr>
      <a:lvl4pPr marL="332316" indent="-132926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4pPr>
      <a:lvl5pPr marL="531706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013564" indent="-212682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6pPr>
      <a:lvl7pPr marL="1266124" indent="-26253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7pPr>
      <a:lvl8pPr marL="1518684" indent="-211021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2" pos="379">
          <p15:clr>
            <a:srgbClr val="F26B43"/>
          </p15:clr>
        </p15:guide>
        <p15:guide id="3" pos="7301">
          <p15:clr>
            <a:srgbClr val="F26B43"/>
          </p15:clr>
        </p15:guide>
        <p15:guide id="4" orient="horz" pos="742">
          <p15:clr>
            <a:srgbClr val="F26B43"/>
          </p15:clr>
        </p15:guide>
        <p15:guide id="6" orient="horz" pos="279">
          <p15:clr>
            <a:srgbClr val="F26B43"/>
          </p15:clr>
        </p15:guide>
        <p15:guide id="7" orient="horz" pos="896">
          <p15:clr>
            <a:srgbClr val="F26B43"/>
          </p15:clr>
        </p15:guide>
        <p15:guide id="8" pos="3768">
          <p15:clr>
            <a:srgbClr val="F26B43"/>
          </p15:clr>
        </p15:guide>
        <p15:guide id="9" pos="391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343969939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6" imgW="270" imgH="270" progId="TCLayout.ActiveDocument.1">
                  <p:embed/>
                </p:oleObj>
              </mc:Choice>
              <mc:Fallback>
                <p:oleObj name="Diapositiva think-cell" r:id="rId6" imgW="270" imgH="270" progId="TCLayout.ActiveDocument.1">
                  <p:embed/>
                  <p:pic>
                    <p:nvPicPr>
                      <p:cNvPr id="4" name="Oggetto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1786" y="451575"/>
            <a:ext cx="10976300" cy="72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it-IT"/>
              <a:t>Fare clic per modificare lo stile del titolo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1788" y="1422400"/>
            <a:ext cx="10976297" cy="460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en-US" dirty="0"/>
          </a:p>
        </p:txBody>
      </p:sp>
      <p:sp>
        <p:nvSpPr>
          <p:cNvPr id="29" name="Shape 8"/>
          <p:cNvSpPr txBox="1">
            <a:spLocks/>
          </p:cNvSpPr>
          <p:nvPr userDrawn="1"/>
        </p:nvSpPr>
        <p:spPr>
          <a:xfrm>
            <a:off x="11507721" y="6585163"/>
            <a:ext cx="480061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1000" smtClean="0">
                <a:solidFill>
                  <a:schemeClr val="bg1"/>
                </a:solidFill>
                <a:latin typeface="+mn-lt"/>
                <a:ea typeface="Arial"/>
                <a:cs typeface="Arial" panose="020B0604020202020204" pitchFamily="34" charset="0"/>
              </a:rPr>
              <a:pPr algn="r"/>
              <a:t>‹N›</a:t>
            </a:fld>
            <a:endParaRPr lang="en-US" sz="831" dirty="0">
              <a:solidFill>
                <a:schemeClr val="bg1"/>
              </a:solidFill>
              <a:latin typeface="+mn-lt"/>
              <a:ea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24998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</p:sldLayoutIdLst>
  <p:hf hdr="0" ftr="0" dt="0"/>
  <p:txStyles>
    <p:titleStyle>
      <a:lvl1pPr algn="l" defTabSz="844083" rtl="0" eaLnBrk="1" latinLnBrk="0" hangingPunct="1">
        <a:lnSpc>
          <a:spcPct val="70000"/>
        </a:lnSpc>
        <a:spcBef>
          <a:spcPct val="0"/>
        </a:spcBef>
        <a:buNone/>
        <a:defRPr sz="3508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FontTx/>
        <a:buNone/>
        <a:defRPr sz="831" kern="1200">
          <a:solidFill>
            <a:schemeClr val="tx2"/>
          </a:solidFill>
          <a:latin typeface="+mn-lt"/>
          <a:ea typeface="+mn-ea"/>
          <a:cs typeface="+mn-cs"/>
        </a:defRPr>
      </a:lvl2pPr>
      <a:lvl3pPr marL="199390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3pPr>
      <a:lvl4pPr marL="332316" indent="-132926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4pPr>
      <a:lvl5pPr marL="531706" indent="-19939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013564" indent="-212682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6pPr>
      <a:lvl7pPr marL="1266124" indent="-262530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—"/>
        <a:defRPr sz="831" kern="1200">
          <a:solidFill>
            <a:schemeClr val="tx2"/>
          </a:solidFill>
          <a:latin typeface="+mn-lt"/>
          <a:ea typeface="+mn-ea"/>
          <a:cs typeface="+mn-cs"/>
        </a:defRPr>
      </a:lvl7pPr>
      <a:lvl8pPr marL="1518684" indent="-211021" algn="l" defTabSz="844083" rtl="0" eaLnBrk="1" latinLnBrk="0" hangingPunct="1">
        <a:lnSpc>
          <a:spcPct val="100000"/>
        </a:lnSpc>
        <a:spcBef>
          <a:spcPts val="0"/>
        </a:spcBef>
        <a:spcAft>
          <a:spcPts val="554"/>
        </a:spcAft>
        <a:buClr>
          <a:schemeClr val="tx2"/>
        </a:buClr>
        <a:buFont typeface="Arial" panose="020B0604020202020204" pitchFamily="34" charset="0"/>
        <a:buChar char="-"/>
        <a:defRPr sz="831" kern="1200">
          <a:solidFill>
            <a:schemeClr val="tx2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lnSpc>
          <a:spcPct val="90000"/>
        </a:lnSpc>
        <a:spcBef>
          <a:spcPts val="462"/>
        </a:spcBef>
        <a:buFont typeface="Arial" panose="020B0604020202020204" pitchFamily="34" charset="0"/>
        <a:buChar char="•"/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2" pos="379">
          <p15:clr>
            <a:srgbClr val="F26B43"/>
          </p15:clr>
        </p15:guide>
        <p15:guide id="3" pos="7301">
          <p15:clr>
            <a:srgbClr val="F26B43"/>
          </p15:clr>
        </p15:guide>
        <p15:guide id="4" orient="horz" pos="742">
          <p15:clr>
            <a:srgbClr val="F26B43"/>
          </p15:clr>
        </p15:guide>
        <p15:guide id="6" orient="horz" pos="279">
          <p15:clr>
            <a:srgbClr val="F26B43"/>
          </p15:clr>
        </p15:guide>
        <p15:guide id="7" orient="horz" pos="896">
          <p15:clr>
            <a:srgbClr val="F26B43"/>
          </p15:clr>
        </p15:guide>
        <p15:guide id="8" pos="3768">
          <p15:clr>
            <a:srgbClr val="F26B43"/>
          </p15:clr>
        </p15:guide>
        <p15:guide id="9" pos="391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2.png"/><Relationship Id="rId5" Type="http://schemas.openxmlformats.org/officeDocument/2006/relationships/image" Target="../media/image15.png"/><Relationship Id="rId4" Type="http://schemas.openxmlformats.org/officeDocument/2006/relationships/image" Target="../media/image3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2.png"/><Relationship Id="rId5" Type="http://schemas.openxmlformats.org/officeDocument/2006/relationships/image" Target="../media/image15.png"/><Relationship Id="rId4" Type="http://schemas.openxmlformats.org/officeDocument/2006/relationships/image" Target="../media/image3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2.png"/><Relationship Id="rId5" Type="http://schemas.openxmlformats.org/officeDocument/2006/relationships/image" Target="../media/image15.png"/><Relationship Id="rId4" Type="http://schemas.openxmlformats.org/officeDocument/2006/relationships/image" Target="../media/image31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34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2.png"/><Relationship Id="rId5" Type="http://schemas.openxmlformats.org/officeDocument/2006/relationships/image" Target="../media/image40.png"/><Relationship Id="rId4" Type="http://schemas.openxmlformats.org/officeDocument/2006/relationships/image" Target="../media/image1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7" Type="http://schemas.openxmlformats.org/officeDocument/2006/relationships/image" Target="../media/image46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5.sv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7" Type="http://schemas.openxmlformats.org/officeDocument/2006/relationships/image" Target="../media/image47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5.sv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42.png"/><Relationship Id="rId4" Type="http://schemas.openxmlformats.org/officeDocument/2006/relationships/image" Target="../media/image49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4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7.emf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svg"/><Relationship Id="rId13" Type="http://schemas.openxmlformats.org/officeDocument/2006/relationships/image" Target="../media/image66.png"/><Relationship Id="rId18" Type="http://schemas.openxmlformats.org/officeDocument/2006/relationships/image" Target="../media/image71.svg"/><Relationship Id="rId3" Type="http://schemas.openxmlformats.org/officeDocument/2006/relationships/image" Target="../media/image58.png"/><Relationship Id="rId21" Type="http://schemas.openxmlformats.org/officeDocument/2006/relationships/image" Target="../media/image74.png"/><Relationship Id="rId7" Type="http://schemas.openxmlformats.org/officeDocument/2006/relationships/image" Target="../media/image62.png"/><Relationship Id="rId12" Type="http://schemas.openxmlformats.org/officeDocument/2006/relationships/image" Target="../media/image65.svg"/><Relationship Id="rId17" Type="http://schemas.openxmlformats.org/officeDocument/2006/relationships/image" Target="../media/image70.png"/><Relationship Id="rId2" Type="http://schemas.openxmlformats.org/officeDocument/2006/relationships/notesSlide" Target="../notesSlides/notesSlide21.xml"/><Relationship Id="rId16" Type="http://schemas.openxmlformats.org/officeDocument/2006/relationships/image" Target="../media/image69.svg"/><Relationship Id="rId20" Type="http://schemas.openxmlformats.org/officeDocument/2006/relationships/image" Target="../media/image73.sv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61.svg"/><Relationship Id="rId11" Type="http://schemas.openxmlformats.org/officeDocument/2006/relationships/image" Target="../media/image64.png"/><Relationship Id="rId5" Type="http://schemas.openxmlformats.org/officeDocument/2006/relationships/image" Target="../media/image60.png"/><Relationship Id="rId15" Type="http://schemas.openxmlformats.org/officeDocument/2006/relationships/image" Target="../media/image68.png"/><Relationship Id="rId10" Type="http://schemas.openxmlformats.org/officeDocument/2006/relationships/image" Target="../media/image15.png"/><Relationship Id="rId19" Type="http://schemas.openxmlformats.org/officeDocument/2006/relationships/image" Target="../media/image72.png"/><Relationship Id="rId4" Type="http://schemas.openxmlformats.org/officeDocument/2006/relationships/image" Target="../media/image59.svg"/><Relationship Id="rId9" Type="http://schemas.openxmlformats.org/officeDocument/2006/relationships/image" Target="../media/image31.png"/><Relationship Id="rId14" Type="http://schemas.openxmlformats.org/officeDocument/2006/relationships/image" Target="../media/image67.sv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3.png"/><Relationship Id="rId11" Type="http://schemas.openxmlformats.org/officeDocument/2006/relationships/image" Target="../media/image28.png"/><Relationship Id="rId5" Type="http://schemas.openxmlformats.org/officeDocument/2006/relationships/image" Target="../media/image22.png"/><Relationship Id="rId10" Type="http://schemas.openxmlformats.org/officeDocument/2006/relationships/image" Target="../media/image27.png"/><Relationship Id="rId4" Type="http://schemas.openxmlformats.org/officeDocument/2006/relationships/image" Target="../media/image21.png"/><Relationship Id="rId9" Type="http://schemas.openxmlformats.org/officeDocument/2006/relationships/image" Target="../media/image2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5.png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FD52B4F-9A6A-42D8-8E19-E6F791913B9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/>
              <a:t>Il Curriculum dello studente</a:t>
            </a:r>
          </a:p>
        </p:txBody>
      </p:sp>
    </p:spTree>
    <p:extLst>
      <p:ext uri="{BB962C8B-B14F-4D97-AF65-F5344CB8AC3E}">
        <p14:creationId xmlns:p14="http://schemas.microsoft.com/office/powerpoint/2010/main" val="11838416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>
                <a:sym typeface="Dosis Light"/>
              </a:rPr>
              <a:t>I riferimenti normativi</a:t>
            </a:r>
            <a:endParaRPr lang="it-IT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93FF493C-4A9C-4474-A1B1-B7483BA3D312}"/>
              </a:ext>
            </a:extLst>
          </p:cNvPr>
          <p:cNvSpPr/>
          <p:nvPr/>
        </p:nvSpPr>
        <p:spPr>
          <a:xfrm>
            <a:off x="631775" y="1356395"/>
            <a:ext cx="972000" cy="972000"/>
          </a:xfrm>
          <a:prstGeom prst="ellipse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2015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2220343" y="4064712"/>
            <a:ext cx="3495675" cy="643839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b="1" dirty="0"/>
              <a:t>Decreto ministeriale 6 agosto 2020, n. 88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6224587" y="3810631"/>
            <a:ext cx="5380038" cy="1152000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sz="1400" i="1" dirty="0"/>
              <a:t>Adozione del modello del Curriculum dello studente (allegato al decreto). Introduzione del Curriculum a partire </a:t>
            </a:r>
            <a:r>
              <a:rPr lang="it-IT" sz="1400" i="1" dirty="0" err="1"/>
              <a:t>dall’a.s.</a:t>
            </a:r>
            <a:r>
              <a:rPr lang="it-IT" sz="1400" i="1" dirty="0"/>
              <a:t> 2020/21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220343" y="2792594"/>
            <a:ext cx="3495675" cy="643839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b="1" dirty="0"/>
              <a:t>D. </a:t>
            </a:r>
            <a:r>
              <a:rPr lang="it-IT" b="1" dirty="0" err="1"/>
              <a:t>lgs</a:t>
            </a:r>
            <a:r>
              <a:rPr lang="it-IT" b="1" dirty="0"/>
              <a:t>. 13 aprile 2017, n. 62 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6224587" y="2538513"/>
            <a:ext cx="5380038" cy="1152000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sz="1400" i="1" dirty="0"/>
              <a:t>Inserimento del Curriculum dello studente come allegato al Diploma dell’esame di Stato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220343" y="1520476"/>
            <a:ext cx="3495675" cy="643839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b="1" dirty="0"/>
              <a:t>Legge 13 luglio 2015, n. 107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224587" y="1266395"/>
            <a:ext cx="5380038" cy="1152000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sz="1400" i="1" dirty="0"/>
              <a:t>Istituzione del Curriculum dello studente come strumento che individua il profilo dello studente e ne raccoglie tutti  i  dati  utili,  anche  ai  fini dell’orientamento e dell’accesso al mondo del lavoro. Prevista inoltre l’associazione a un’identità digitale 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93FF493C-4A9C-4474-A1B1-B7483BA3D312}"/>
              </a:ext>
            </a:extLst>
          </p:cNvPr>
          <p:cNvSpPr/>
          <p:nvPr/>
        </p:nvSpPr>
        <p:spPr>
          <a:xfrm>
            <a:off x="631775" y="3900631"/>
            <a:ext cx="972000" cy="972000"/>
          </a:xfrm>
          <a:prstGeom prst="ellipse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2020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93FF493C-4A9C-4474-A1B1-B7483BA3D312}"/>
              </a:ext>
            </a:extLst>
          </p:cNvPr>
          <p:cNvSpPr/>
          <p:nvPr/>
        </p:nvSpPr>
        <p:spPr>
          <a:xfrm>
            <a:off x="631775" y="2628513"/>
            <a:ext cx="972000" cy="972000"/>
          </a:xfrm>
          <a:prstGeom prst="ellipse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2017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CFF8876E-4029-44DD-AF74-32D146493D8C}"/>
              </a:ext>
            </a:extLst>
          </p:cNvPr>
          <p:cNvSpPr/>
          <p:nvPr/>
        </p:nvSpPr>
        <p:spPr>
          <a:xfrm>
            <a:off x="631775" y="1349090"/>
            <a:ext cx="972000" cy="972000"/>
          </a:xfrm>
          <a:prstGeom prst="ellipse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2015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93FF493C-4A9C-4474-A1B1-B7483BA3D312}"/>
              </a:ext>
            </a:extLst>
          </p:cNvPr>
          <p:cNvSpPr/>
          <p:nvPr/>
        </p:nvSpPr>
        <p:spPr>
          <a:xfrm>
            <a:off x="631775" y="5172748"/>
            <a:ext cx="972000" cy="972000"/>
          </a:xfrm>
          <a:prstGeom prst="ellipse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2021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2220343" y="5336829"/>
            <a:ext cx="3495675" cy="643839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b="1" dirty="0"/>
              <a:t>Ordinanza 3 marzo 2021, n. 53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6224587" y="5082748"/>
            <a:ext cx="5380038" cy="1152000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algn="just">
              <a:spcAft>
                <a:spcPts val="600"/>
              </a:spcAft>
            </a:pPr>
            <a:r>
              <a:rPr lang="it-IT" sz="1400" i="1" dirty="0"/>
              <a:t>Svolgimento dell’esame di Stato del secondo ciclo di istruzione per </a:t>
            </a:r>
            <a:r>
              <a:rPr lang="it-IT" sz="1400" i="1" dirty="0" err="1"/>
              <a:t>l’a.s.</a:t>
            </a:r>
            <a:r>
              <a:rPr lang="it-IT" sz="1400" i="1" dirty="0"/>
              <a:t> 2020/21, con riferimento  anche al Curriculum dello studente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1045775" y="2323541"/>
            <a:ext cx="144000" cy="297666"/>
            <a:chOff x="1045775" y="2323541"/>
            <a:chExt cx="144000" cy="297666"/>
          </a:xfrm>
        </p:grpSpPr>
        <p:sp>
          <p:nvSpPr>
            <p:cNvPr id="10" name="Oval 9"/>
            <p:cNvSpPr/>
            <p:nvPr/>
          </p:nvSpPr>
          <p:spPr>
            <a:xfrm>
              <a:off x="1045775" y="2477207"/>
              <a:ext cx="144000" cy="144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57" name="Oval 56"/>
            <p:cNvSpPr/>
            <p:nvPr/>
          </p:nvSpPr>
          <p:spPr>
            <a:xfrm>
              <a:off x="1045775" y="2323541"/>
              <a:ext cx="144000" cy="144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58" name="Group 57"/>
          <p:cNvGrpSpPr/>
          <p:nvPr/>
        </p:nvGrpSpPr>
        <p:grpSpPr>
          <a:xfrm>
            <a:off x="1045775" y="3601271"/>
            <a:ext cx="144000" cy="297666"/>
            <a:chOff x="1045775" y="2323541"/>
            <a:chExt cx="144000" cy="297666"/>
          </a:xfrm>
        </p:grpSpPr>
        <p:sp>
          <p:nvSpPr>
            <p:cNvPr id="59" name="Oval 58"/>
            <p:cNvSpPr/>
            <p:nvPr/>
          </p:nvSpPr>
          <p:spPr>
            <a:xfrm>
              <a:off x="1045775" y="2477207"/>
              <a:ext cx="144000" cy="144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0" name="Oval 59"/>
            <p:cNvSpPr/>
            <p:nvPr/>
          </p:nvSpPr>
          <p:spPr>
            <a:xfrm>
              <a:off x="1045775" y="2323541"/>
              <a:ext cx="144000" cy="144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61" name="Group 60"/>
          <p:cNvGrpSpPr/>
          <p:nvPr/>
        </p:nvGrpSpPr>
        <p:grpSpPr>
          <a:xfrm>
            <a:off x="1045775" y="4868691"/>
            <a:ext cx="144000" cy="297666"/>
            <a:chOff x="1045775" y="2323541"/>
            <a:chExt cx="144000" cy="297666"/>
          </a:xfrm>
        </p:grpSpPr>
        <p:sp>
          <p:nvSpPr>
            <p:cNvPr id="62" name="Oval 61"/>
            <p:cNvSpPr/>
            <p:nvPr/>
          </p:nvSpPr>
          <p:spPr>
            <a:xfrm>
              <a:off x="1045775" y="2477207"/>
              <a:ext cx="144000" cy="144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 err="1">
                <a:solidFill>
                  <a:schemeClr val="tx1"/>
                </a:solidFill>
              </a:endParaRPr>
            </a:p>
          </p:txBody>
        </p:sp>
        <p:sp>
          <p:nvSpPr>
            <p:cNvPr id="63" name="Oval 62"/>
            <p:cNvSpPr/>
            <p:nvPr/>
          </p:nvSpPr>
          <p:spPr>
            <a:xfrm>
              <a:off x="1045775" y="2323541"/>
              <a:ext cx="144000" cy="144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 err="1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33744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" name="Group 37"/>
          <p:cNvGrpSpPr/>
          <p:nvPr/>
        </p:nvGrpSpPr>
        <p:grpSpPr>
          <a:xfrm>
            <a:off x="1009775" y="2590965"/>
            <a:ext cx="216000" cy="2349008"/>
            <a:chOff x="1895600" y="2590965"/>
            <a:chExt cx="216000" cy="2349008"/>
          </a:xfrm>
        </p:grpSpPr>
        <p:sp>
          <p:nvSpPr>
            <p:cNvPr id="11" name="Oval 10"/>
            <p:cNvSpPr/>
            <p:nvPr/>
          </p:nvSpPr>
          <p:spPr>
            <a:xfrm>
              <a:off x="1895600" y="2895680"/>
              <a:ext cx="216000" cy="216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Oval 9"/>
            <p:cNvSpPr/>
            <p:nvPr/>
          </p:nvSpPr>
          <p:spPr>
            <a:xfrm>
              <a:off x="1895600" y="2590965"/>
              <a:ext cx="216000" cy="216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Oval 11"/>
            <p:cNvSpPr/>
            <p:nvPr/>
          </p:nvSpPr>
          <p:spPr>
            <a:xfrm>
              <a:off x="1895600" y="3200395"/>
              <a:ext cx="216000" cy="216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Oval 12"/>
            <p:cNvSpPr/>
            <p:nvPr/>
          </p:nvSpPr>
          <p:spPr>
            <a:xfrm>
              <a:off x="1895600" y="3505110"/>
              <a:ext cx="216000" cy="216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Oval 13"/>
            <p:cNvSpPr/>
            <p:nvPr/>
          </p:nvSpPr>
          <p:spPr>
            <a:xfrm>
              <a:off x="1895600" y="3809825"/>
              <a:ext cx="216000" cy="216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" name="Oval 14"/>
            <p:cNvSpPr/>
            <p:nvPr/>
          </p:nvSpPr>
          <p:spPr>
            <a:xfrm>
              <a:off x="1895600" y="4723973"/>
              <a:ext cx="216000" cy="216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Oval 15"/>
            <p:cNvSpPr/>
            <p:nvPr/>
          </p:nvSpPr>
          <p:spPr>
            <a:xfrm>
              <a:off x="1895600" y="4114540"/>
              <a:ext cx="216000" cy="216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Oval 36"/>
            <p:cNvSpPr/>
            <p:nvPr/>
          </p:nvSpPr>
          <p:spPr>
            <a:xfrm>
              <a:off x="1895600" y="4419255"/>
              <a:ext cx="216000" cy="216000"/>
            </a:xfrm>
            <a:prstGeom prst="ellipse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6" name="Shape 3915">
            <a:extLst>
              <a:ext uri="{FF2B5EF4-FFF2-40B4-BE49-F238E27FC236}">
                <a16:creationId xmlns:a16="http://schemas.microsoft.com/office/drawing/2014/main" id="{78AED8CB-4EE7-41B4-A784-2E5C49DA4E7B}"/>
              </a:ext>
            </a:extLst>
          </p:cNvPr>
          <p:cNvSpPr txBox="1">
            <a:spLocks/>
          </p:cNvSpPr>
          <p:nvPr/>
        </p:nvSpPr>
        <p:spPr>
          <a:xfrm>
            <a:off x="523797" y="1107513"/>
            <a:ext cx="11152266" cy="497779"/>
          </a:xfrm>
          <a:prstGeom prst="rect">
            <a:avLst/>
          </a:prstGeom>
        </p:spPr>
        <p:txBody>
          <a:bodyPr vert="horz" wrap="square" lIns="121900" tIns="121900" rIns="121900" bIns="12190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it-IT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>
                <a:sym typeface="Dosis Light"/>
              </a:rPr>
              <a:t>Gli sviluppi futuri secondo la normativa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260FBFB8-342E-4D99-8F6F-2510C8A720D8}"/>
              </a:ext>
            </a:extLst>
          </p:cNvPr>
          <p:cNvCxnSpPr/>
          <p:nvPr/>
        </p:nvCxnSpPr>
        <p:spPr>
          <a:xfrm>
            <a:off x="1883630" y="3147788"/>
            <a:ext cx="9648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BD500C5-6197-4E7F-B1C8-6025FA5EEEF2}"/>
              </a:ext>
            </a:extLst>
          </p:cNvPr>
          <p:cNvCxnSpPr/>
          <p:nvPr/>
        </p:nvCxnSpPr>
        <p:spPr>
          <a:xfrm>
            <a:off x="3855820" y="4424900"/>
            <a:ext cx="767581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5556281" y="1507695"/>
            <a:ext cx="5975350" cy="1152000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gge 107/2015, art. 1, comma 138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«Il Portale </a:t>
            </a: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	</a:t>
            </a: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stito dal Ministero dell'istruzione, dell'università e della ricerca, sentito il Garante per la protezione dei dati personali,</a:t>
            </a:r>
            <a:r>
              <a:rPr kumimoji="0" lang="it-IT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rende accessibili i dati del curriculum dello studente …»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631775" y="1597695"/>
            <a:ext cx="972000" cy="972000"/>
            <a:chOff x="631775" y="1864395"/>
            <a:chExt cx="972000" cy="972000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93FF493C-4A9C-4474-A1B1-B7483BA3D312}"/>
                </a:ext>
              </a:extLst>
            </p:cNvPr>
            <p:cNvSpPr/>
            <p:nvPr/>
          </p:nvSpPr>
          <p:spPr>
            <a:xfrm>
              <a:off x="631775" y="1864395"/>
              <a:ext cx="972000" cy="972000"/>
            </a:xfrm>
            <a:prstGeom prst="ellipse">
              <a:avLst/>
            </a:prstGeom>
            <a:solidFill>
              <a:srgbClr val="B7E0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5" name="Picture 4" descr="Icon&#10;&#10;Description automatically generated">
              <a:extLst>
                <a:ext uri="{FF2B5EF4-FFF2-40B4-BE49-F238E27FC236}">
                  <a16:creationId xmlns:a16="http://schemas.microsoft.com/office/drawing/2014/main" id="{F3145056-A554-4AE9-8EFC-8D00EDAE97C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3744" y="1975382"/>
              <a:ext cx="737316" cy="737316"/>
            </a:xfrm>
            <a:prstGeom prst="rect">
              <a:avLst/>
            </a:prstGeom>
          </p:spPr>
        </p:pic>
      </p:grpSp>
      <p:sp>
        <p:nvSpPr>
          <p:cNvPr id="31" name="Rectangle 30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2298472" y="1752959"/>
            <a:ext cx="2469875" cy="661473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CESSO AI DATI DEL CURRICULUM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556281" y="3062129"/>
            <a:ext cx="5975350" cy="1152000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sng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.lgs</a:t>
            </a:r>
            <a:r>
              <a:rPr kumimoji="0" lang="en-US" sz="16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. 62/2017 art. 21, comma 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«Al diploma è allegato il curriculum … </a:t>
            </a:r>
            <a:r>
              <a:rPr kumimoji="0" lang="it-IT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che ai fini dell’orientamento e dell’accesso al mondo del lavoro</a:t>
            </a: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»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631775" y="3233989"/>
            <a:ext cx="972000" cy="972000"/>
            <a:chOff x="631775" y="3366698"/>
            <a:chExt cx="972000" cy="972000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93FF493C-4A9C-4474-A1B1-B7483BA3D312}"/>
                </a:ext>
              </a:extLst>
            </p:cNvPr>
            <p:cNvSpPr/>
            <p:nvPr/>
          </p:nvSpPr>
          <p:spPr>
            <a:xfrm>
              <a:off x="631775" y="3366698"/>
              <a:ext cx="972000" cy="972000"/>
            </a:xfrm>
            <a:prstGeom prst="ellipse">
              <a:avLst/>
            </a:prstGeom>
            <a:solidFill>
              <a:srgbClr val="B7E0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8" name="Picture 27" descr="Icon&#10;&#10;Description automatically generated">
              <a:extLst>
                <a:ext uri="{FF2B5EF4-FFF2-40B4-BE49-F238E27FC236}">
                  <a16:creationId xmlns:a16="http://schemas.microsoft.com/office/drawing/2014/main" id="{06F257E5-8E6D-4D14-A6D9-BAA2F2677C5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2086" y="3494095"/>
              <a:ext cx="737316" cy="737316"/>
            </a:xfrm>
            <a:prstGeom prst="rect">
              <a:avLst/>
            </a:prstGeom>
          </p:spPr>
        </p:pic>
      </p:grpSp>
      <p:sp>
        <p:nvSpPr>
          <p:cNvPr id="35" name="Rectangle 34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2357427" y="3389253"/>
            <a:ext cx="2469875" cy="661473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CESSO AL MONDO DEL LAVORO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5556281" y="4616564"/>
            <a:ext cx="5975350" cy="1479436"/>
          </a:xfrm>
          <a:prstGeom prst="rect">
            <a:avLst/>
          </a:prstGeom>
          <a:noFill/>
        </p:spPr>
        <p:txBody>
          <a:bodyPr wrap="square" lIns="54610" tIns="54610" rIns="54610" bIns="5461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creto del Ministro 6 agosto 2020, n. 88, comma 3</a:t>
            </a:r>
            <a:endParaRPr kumimoji="0" lang="it-IT" sz="1600" b="0" i="1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«Con decreto del Ministro dell’Istruzione sono disposte eventuali modifiche e implementazioni dei modelli di cui agli articoli 1 e 2, anche </a:t>
            </a:r>
            <a:r>
              <a:rPr kumimoji="0" lang="it-IT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considerazione dell’adozione del regolamento di cui all’articolo 1, comma 28, della legge n. 107 del 2015 </a:t>
            </a:r>
            <a:r>
              <a:rPr kumimoji="0" lang="it-IT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 con riferimento all’attuazione di quanto previsto all’articolo 1 comma 138 della predetta legge»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31775" y="4870282"/>
            <a:ext cx="972000" cy="972000"/>
            <a:chOff x="631775" y="4869001"/>
            <a:chExt cx="972000" cy="972000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93FF493C-4A9C-4474-A1B1-B7483BA3D312}"/>
                </a:ext>
              </a:extLst>
            </p:cNvPr>
            <p:cNvSpPr/>
            <p:nvPr/>
          </p:nvSpPr>
          <p:spPr>
            <a:xfrm>
              <a:off x="631775" y="4869001"/>
              <a:ext cx="972000" cy="972000"/>
            </a:xfrm>
            <a:prstGeom prst="ellipse">
              <a:avLst/>
            </a:prstGeom>
            <a:solidFill>
              <a:srgbClr val="B7E0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32" name="Picture 31" descr="Icon&#10;&#10;Description automatically generated">
              <a:extLst>
                <a:ext uri="{FF2B5EF4-FFF2-40B4-BE49-F238E27FC236}">
                  <a16:creationId xmlns:a16="http://schemas.microsoft.com/office/drawing/2014/main" id="{56AFD9E5-8358-478B-82B3-A02FD05E0FB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3744" y="4986343"/>
              <a:ext cx="737316" cy="737316"/>
            </a:xfrm>
            <a:prstGeom prst="rect">
              <a:avLst/>
            </a:prstGeom>
          </p:spPr>
        </p:pic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2357427" y="5025546"/>
            <a:ext cx="2469875" cy="661473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OFILO DELLO STUDENTE E IDENTITÀ DIGITALE</a:t>
            </a:r>
          </a:p>
        </p:txBody>
      </p:sp>
    </p:spTree>
    <p:extLst>
      <p:ext uri="{BB962C8B-B14F-4D97-AF65-F5344CB8AC3E}">
        <p14:creationId xmlns:p14="http://schemas.microsoft.com/office/powerpoint/2010/main" val="285557613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37597E-228D-4789-A62F-80F07E1E04FA}"/>
              </a:ext>
            </a:extLst>
          </p:cNvPr>
          <p:cNvSpPr/>
          <p:nvPr/>
        </p:nvSpPr>
        <p:spPr>
          <a:xfrm>
            <a:off x="0" y="0"/>
            <a:ext cx="6095998" cy="6895021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6F35BB9-EF1C-40A4-B712-C382C3941380}"/>
              </a:ext>
            </a:extLst>
          </p:cNvPr>
          <p:cNvSpPr/>
          <p:nvPr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D9A6D697-F3B8-46B4-BB1D-DD080399DF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550858" y="2530461"/>
            <a:ext cx="6895020" cy="1804737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8A8CCE68-CEB1-4DBD-B64A-05F58866373D}"/>
              </a:ext>
            </a:extLst>
          </p:cNvPr>
          <p:cNvSpPr/>
          <p:nvPr/>
        </p:nvSpPr>
        <p:spPr>
          <a:xfrm flipH="1">
            <a:off x="6318982" y="-35749"/>
            <a:ext cx="1565945" cy="6966518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9B8B768F-4202-4EBB-9ADC-D437EEF4816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33071" y="934915"/>
            <a:ext cx="2453489" cy="89307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AAB629E7-3D90-4130-BB5D-916C74E26078}"/>
              </a:ext>
            </a:extLst>
          </p:cNvPr>
          <p:cNvSpPr txBox="1"/>
          <p:nvPr/>
        </p:nvSpPr>
        <p:spPr>
          <a:xfrm>
            <a:off x="8048380" y="2079376"/>
            <a:ext cx="381975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3600" b="1" dirty="0">
                <a:solidFill>
                  <a:srgbClr val="179DC2"/>
                </a:solidFill>
                <a:latin typeface="Comfortaa" pitchFamily="2" charset="0"/>
                <a:sym typeface="Dosis Light"/>
              </a:rPr>
              <a:t>Agenda</a:t>
            </a:r>
          </a:p>
          <a:p>
            <a:pPr algn="r"/>
            <a:endParaRPr lang="en-US" sz="3600" b="1" dirty="0">
              <a:solidFill>
                <a:srgbClr val="179DC2"/>
              </a:solidFill>
              <a:latin typeface="Comfortaa" pitchFamily="2" charset="0"/>
              <a:sym typeface="Dosis Light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649EB0D-30E0-4254-92D5-CA0391CD20A3}"/>
              </a:ext>
            </a:extLst>
          </p:cNvPr>
          <p:cNvCxnSpPr>
            <a:cxnSpLocks/>
          </p:cNvCxnSpPr>
          <p:nvPr/>
        </p:nvCxnSpPr>
        <p:spPr>
          <a:xfrm>
            <a:off x="8237989" y="1943501"/>
            <a:ext cx="3548571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D253483-0DD0-4C97-A1F3-1A53DBDDB47A}"/>
              </a:ext>
            </a:extLst>
          </p:cNvPr>
          <p:cNvCxnSpPr/>
          <p:nvPr/>
        </p:nvCxnSpPr>
        <p:spPr>
          <a:xfrm>
            <a:off x="1115630" y="0"/>
            <a:ext cx="0" cy="6840000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id="{6FDB52C2-7E92-42C3-8F28-6AB3B6D9A565}"/>
              </a:ext>
            </a:extLst>
          </p:cNvPr>
          <p:cNvSpPr/>
          <p:nvPr/>
        </p:nvSpPr>
        <p:spPr>
          <a:xfrm>
            <a:off x="767726" y="1031171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</a:rPr>
              <a:t>01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CC0F13CB-0E49-4DDD-B2B1-52E48A435425}"/>
              </a:ext>
            </a:extLst>
          </p:cNvPr>
          <p:cNvSpPr/>
          <p:nvPr/>
        </p:nvSpPr>
        <p:spPr>
          <a:xfrm>
            <a:off x="767726" y="2750088"/>
            <a:ext cx="684000" cy="684000"/>
          </a:xfrm>
          <a:prstGeom prst="ellipse">
            <a:avLst/>
          </a:prstGeom>
          <a:solidFill>
            <a:srgbClr val="AB244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DC658E9-C935-45D4-9FA4-5F4F47F66463}"/>
              </a:ext>
            </a:extLst>
          </p:cNvPr>
          <p:cNvSpPr/>
          <p:nvPr/>
        </p:nvSpPr>
        <p:spPr>
          <a:xfrm>
            <a:off x="767726" y="4469004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84E30F9-4F92-4B34-8893-462FF23256A8}"/>
              </a:ext>
            </a:extLst>
          </p:cNvPr>
          <p:cNvSpPr txBox="1"/>
          <p:nvPr/>
        </p:nvSpPr>
        <p:spPr>
          <a:xfrm>
            <a:off x="1592061" y="1096172"/>
            <a:ext cx="39888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tx2"/>
                </a:solidFill>
              </a:rPr>
              <a:t>Il Curriculum dello studente</a:t>
            </a:r>
          </a:p>
          <a:p>
            <a:r>
              <a:rPr lang="it-IT" sz="1200" dirty="0">
                <a:solidFill>
                  <a:schemeClr val="tx2"/>
                </a:solidFill>
              </a:rPr>
              <a:t>Valore, struttura e riferimenti normativi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1F6BAE7-68BB-4399-BA0B-B1A35B6735D3}"/>
              </a:ext>
            </a:extLst>
          </p:cNvPr>
          <p:cNvSpPr txBox="1"/>
          <p:nvPr/>
        </p:nvSpPr>
        <p:spPr>
          <a:xfrm>
            <a:off x="1592061" y="2815089"/>
            <a:ext cx="39888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bg1"/>
                </a:solidFill>
              </a:rPr>
              <a:t>Il processo di realizzazione</a:t>
            </a:r>
          </a:p>
          <a:p>
            <a:r>
              <a:rPr lang="it-IT" sz="1200" dirty="0">
                <a:solidFill>
                  <a:schemeClr val="bg1"/>
                </a:solidFill>
              </a:rPr>
              <a:t>Le attività previst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98FBB9B-1226-4C09-9AFC-ED406DFADFEB}"/>
              </a:ext>
            </a:extLst>
          </p:cNvPr>
          <p:cNvSpPr txBox="1"/>
          <p:nvPr/>
        </p:nvSpPr>
        <p:spPr>
          <a:xfrm>
            <a:off x="1592060" y="4307465"/>
            <a:ext cx="450393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tx2"/>
                </a:solidFill>
              </a:rPr>
              <a:t>L’introduzione del Curriculum nell’anno scolastico 2020/21</a:t>
            </a:r>
          </a:p>
          <a:p>
            <a:r>
              <a:rPr lang="it-IT" sz="1200" dirty="0">
                <a:solidFill>
                  <a:schemeClr val="tx2"/>
                </a:solidFill>
              </a:rPr>
              <a:t>Le operazioni da svolgere e gli strumenti di accompagnamento </a:t>
            </a:r>
          </a:p>
        </p:txBody>
      </p:sp>
    </p:spTree>
    <p:extLst>
      <p:ext uri="{BB962C8B-B14F-4D97-AF65-F5344CB8AC3E}">
        <p14:creationId xmlns:p14="http://schemas.microsoft.com/office/powerpoint/2010/main" val="395477417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545135F8-D4BB-4860-ADCF-B6669FF493AE}"/>
              </a:ext>
            </a:extLst>
          </p:cNvPr>
          <p:cNvSpPr/>
          <p:nvPr/>
        </p:nvSpPr>
        <p:spPr>
          <a:xfrm>
            <a:off x="10117066" y="2145350"/>
            <a:ext cx="1626750" cy="353829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25073636-1F89-40F5-A906-6DCB1AF16119}"/>
              </a:ext>
            </a:extLst>
          </p:cNvPr>
          <p:cNvCxnSpPr>
            <a:cxnSpLocks/>
            <a:stCxn id="47" idx="6"/>
          </p:cNvCxnSpPr>
          <p:nvPr/>
        </p:nvCxnSpPr>
        <p:spPr>
          <a:xfrm>
            <a:off x="1728769" y="2622983"/>
            <a:ext cx="8392205" cy="0"/>
          </a:xfrm>
          <a:prstGeom prst="straightConnector1">
            <a:avLst/>
          </a:prstGeom>
          <a:ln w="28575">
            <a:solidFill>
              <a:srgbClr val="0083B8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133" y="522222"/>
            <a:ext cx="10254886" cy="1325563"/>
          </a:xfrm>
        </p:spPr>
        <p:txBody>
          <a:bodyPr>
            <a:normAutofit/>
          </a:bodyPr>
          <a:lstStyle/>
          <a:p>
            <a:r>
              <a:rPr lang="it-IT" dirty="0">
                <a:sym typeface="Dosis Light"/>
              </a:rPr>
              <a:t>Le attività previste - le scuol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66CB66A-5998-4EB6-AD56-6F12A741DBBF}"/>
              </a:ext>
            </a:extLst>
          </p:cNvPr>
          <p:cNvSpPr txBox="1"/>
          <p:nvPr/>
        </p:nvSpPr>
        <p:spPr>
          <a:xfrm>
            <a:off x="693103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B65014D-6B90-4C9D-A4F6-8F81A7C970E8}"/>
              </a:ext>
            </a:extLst>
          </p:cNvPr>
          <p:cNvSpPr/>
          <p:nvPr/>
        </p:nvSpPr>
        <p:spPr>
          <a:xfrm>
            <a:off x="693103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ultazione e integrazione</a:t>
            </a:r>
            <a:endParaRPr lang="it-IT" sz="1400" b="1" i="0" dirty="0">
              <a:effectLst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8ECF953-A5B9-4DC6-A09E-3CDBCF6DD61D}"/>
              </a:ext>
            </a:extLst>
          </p:cNvPr>
          <p:cNvSpPr/>
          <p:nvPr/>
        </p:nvSpPr>
        <p:spPr>
          <a:xfrm>
            <a:off x="693104" y="4121901"/>
            <a:ext cx="1773238" cy="1892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segreterie scolastiche accedono al Curriculum dello studente, visualizzano le informazioni precaricate a sistema e possono apportare eventuali integrazioni</a:t>
            </a:r>
            <a:endParaRPr lang="en-US" sz="1300" dirty="0"/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33D728CD-108F-4DBE-B99B-5C93434D0272}"/>
              </a:ext>
            </a:extLst>
          </p:cNvPr>
          <p:cNvSpPr txBox="1"/>
          <p:nvPr/>
        </p:nvSpPr>
        <p:spPr>
          <a:xfrm>
            <a:off x="2579558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tudenti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1211A4B1-C385-4089-96C0-BBBD01AEB960}"/>
              </a:ext>
            </a:extLst>
          </p:cNvPr>
          <p:cNvSpPr/>
          <p:nvPr/>
        </p:nvSpPr>
        <p:spPr>
          <a:xfrm>
            <a:off x="2579558" y="3516559"/>
            <a:ext cx="192563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mpilazione</a:t>
            </a:r>
            <a:endParaRPr lang="it-IT" sz="1400" b="1" i="0" dirty="0">
              <a:effectLst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37A81E08-9253-4742-B4EA-744E1FC582C6}"/>
              </a:ext>
            </a:extLst>
          </p:cNvPr>
          <p:cNvSpPr/>
          <p:nvPr/>
        </p:nvSpPr>
        <p:spPr>
          <a:xfrm>
            <a:off x="2579559" y="4121901"/>
            <a:ext cx="1823588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Gli studenti accedono al Curriculum e compilano le parti di propria competenza, inserendo le informazioni sulle certificazioni conseguite e le attività extrascolastiche svolte</a:t>
            </a:r>
            <a:endParaRPr lang="en-US" sz="1300" dirty="0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981E4DF7-E057-45F1-9708-A32DA58EFC76}"/>
              </a:ext>
            </a:extLst>
          </p:cNvPr>
          <p:cNvSpPr txBox="1"/>
          <p:nvPr/>
        </p:nvSpPr>
        <p:spPr>
          <a:xfrm>
            <a:off x="4503664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34C3740F-565F-4E03-A671-4E779FB1C90C}"/>
              </a:ext>
            </a:extLst>
          </p:cNvPr>
          <p:cNvSpPr/>
          <p:nvPr/>
        </p:nvSpPr>
        <p:spPr>
          <a:xfrm>
            <a:off x="4503664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olidamento </a:t>
            </a:r>
            <a:r>
              <a:rPr lang="it-IT" sz="1400" b="1" dirty="0" err="1"/>
              <a:t>pre</a:t>
            </a:r>
            <a:r>
              <a:rPr lang="it-IT" sz="1400" b="1" dirty="0"/>
              <a:t>-esame</a:t>
            </a:r>
            <a:endParaRPr lang="it-IT" sz="1400" b="1" i="0" dirty="0">
              <a:effectLst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572C5FF2-631E-4D9A-8621-6C8AAFFC37DC}"/>
              </a:ext>
            </a:extLst>
          </p:cNvPr>
          <p:cNvSpPr/>
          <p:nvPr/>
        </p:nvSpPr>
        <p:spPr>
          <a:xfrm>
            <a:off x="4503665" y="4121901"/>
            <a:ext cx="1663142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scuole, prima dello svolgimento dell’esame di Stato, integrano il Curriculum con i dati relativi al credito scolastico</a:t>
            </a:r>
            <a:endParaRPr lang="en-US" sz="1300" dirty="0"/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E08F87C4-3FE9-4521-A99C-415DA110780B}"/>
              </a:ext>
            </a:extLst>
          </p:cNvPr>
          <p:cNvSpPr txBox="1"/>
          <p:nvPr/>
        </p:nvSpPr>
        <p:spPr>
          <a:xfrm>
            <a:off x="6445182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Commissioni d'esame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38430605-E51B-401C-959F-231A8857D0D2}"/>
              </a:ext>
            </a:extLst>
          </p:cNvPr>
          <p:cNvSpPr/>
          <p:nvPr/>
        </p:nvSpPr>
        <p:spPr>
          <a:xfrm>
            <a:off x="6445182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Visualizzazione durante l'esame</a:t>
            </a:r>
            <a:endParaRPr lang="it-IT" sz="1400" b="1" i="0" dirty="0">
              <a:effectLst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CFE7CB47-4E9D-46E6-B057-DBA7F03FEE81}"/>
              </a:ext>
            </a:extLst>
          </p:cNvPr>
          <p:cNvSpPr/>
          <p:nvPr/>
        </p:nvSpPr>
        <p:spPr>
          <a:xfrm>
            <a:off x="6445183" y="4121901"/>
            <a:ext cx="1578599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commissioni d’esame tengono conto del Curriculum di ogni studente, in particolare in vista del colloquio</a:t>
            </a:r>
            <a:endParaRPr lang="en-US" sz="1300" dirty="0"/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148DFBBE-ABFD-4C16-9C89-5FC1FC54D262}"/>
              </a:ext>
            </a:extLst>
          </p:cNvPr>
          <p:cNvSpPr txBox="1"/>
          <p:nvPr/>
        </p:nvSpPr>
        <p:spPr>
          <a:xfrm>
            <a:off x="8318937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92318292-361E-4FE7-A7FB-77B0C39D82D6}"/>
              </a:ext>
            </a:extLst>
          </p:cNvPr>
          <p:cNvSpPr/>
          <p:nvPr/>
        </p:nvSpPr>
        <p:spPr>
          <a:xfrm>
            <a:off x="8318937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olidamento post-esame</a:t>
            </a:r>
            <a:endParaRPr lang="it-IT" sz="1400" b="1" i="0" dirty="0">
              <a:effectLst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AAB4D4DC-E837-4841-B86E-C265B6B2BCC7}"/>
              </a:ext>
            </a:extLst>
          </p:cNvPr>
          <p:cNvSpPr/>
          <p:nvPr/>
        </p:nvSpPr>
        <p:spPr>
          <a:xfrm>
            <a:off x="8318938" y="4121901"/>
            <a:ext cx="1609732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Dopo l’esame di Stato il Curriculum viene arricchito con l’esito conseguito e collegato al diploma tramite il riferimento al suo numero</a:t>
            </a:r>
            <a:endParaRPr lang="en-US" sz="1300" dirty="0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2620AEF-CC2D-409F-AA2B-BA8A0750FB55}"/>
              </a:ext>
            </a:extLst>
          </p:cNvPr>
          <p:cNvGrpSpPr/>
          <p:nvPr/>
        </p:nvGrpSpPr>
        <p:grpSpPr>
          <a:xfrm>
            <a:off x="10313058" y="2245083"/>
            <a:ext cx="710860" cy="747909"/>
            <a:chOff x="10879478" y="2245083"/>
            <a:chExt cx="710860" cy="747909"/>
          </a:xfrm>
        </p:grpSpPr>
        <p:pic>
          <p:nvPicPr>
            <p:cNvPr id="100" name="Picture 99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3C456324-616B-418E-975E-ABA70CE8E68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207"/>
            <a:stretch/>
          </p:blipFill>
          <p:spPr>
            <a:xfrm>
              <a:off x="10879478" y="2245083"/>
              <a:ext cx="656548" cy="747909"/>
            </a:xfrm>
            <a:prstGeom prst="rect">
              <a:avLst/>
            </a:prstGeom>
          </p:spPr>
        </p:pic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23A8333B-96DD-41E1-AB32-897C0BBB71A6}"/>
                </a:ext>
              </a:extLst>
            </p:cNvPr>
            <p:cNvSpPr/>
            <p:nvPr/>
          </p:nvSpPr>
          <p:spPr>
            <a:xfrm>
              <a:off x="11288396" y="2406296"/>
              <a:ext cx="301942" cy="28462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 sz="9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04" name="TextBox 103">
            <a:extLst>
              <a:ext uri="{FF2B5EF4-FFF2-40B4-BE49-F238E27FC236}">
                <a16:creationId xmlns:a16="http://schemas.microsoft.com/office/drawing/2014/main" id="{C3DF64C3-27D4-472E-99CF-228E3AB6FBB1}"/>
              </a:ext>
            </a:extLst>
          </p:cNvPr>
          <p:cNvSpPr txBox="1"/>
          <p:nvPr/>
        </p:nvSpPr>
        <p:spPr>
          <a:xfrm>
            <a:off x="10183019" y="3206812"/>
            <a:ext cx="1368000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tudenti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EC914D3D-8530-4F61-A083-57D96825CAB3}"/>
              </a:ext>
            </a:extLst>
          </p:cNvPr>
          <p:cNvSpPr/>
          <p:nvPr/>
        </p:nvSpPr>
        <p:spPr>
          <a:xfrm>
            <a:off x="10183020" y="3516559"/>
            <a:ext cx="148097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Acquisizione Curriculum</a:t>
            </a:r>
            <a:endParaRPr lang="it-IT" sz="1400" b="1" i="0" dirty="0">
              <a:effectLst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64728FCA-C8C1-40AE-9446-D6D2A31B962D}"/>
              </a:ext>
            </a:extLst>
          </p:cNvPr>
          <p:cNvSpPr/>
          <p:nvPr/>
        </p:nvSpPr>
        <p:spPr>
          <a:xfrm>
            <a:off x="10183019" y="4121901"/>
            <a:ext cx="1480978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Ogni studente diplomato ritrova il Curriculum definitivo all’interno della piattaforma</a:t>
            </a:r>
            <a:endParaRPr lang="en-US" sz="1300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92E556F-6D03-45BD-BEFE-DCE2FF63885D}"/>
              </a:ext>
            </a:extLst>
          </p:cNvPr>
          <p:cNvGrpSpPr/>
          <p:nvPr/>
        </p:nvGrpSpPr>
        <p:grpSpPr>
          <a:xfrm>
            <a:off x="792769" y="2154983"/>
            <a:ext cx="936000" cy="936000"/>
            <a:chOff x="752129" y="2154983"/>
            <a:chExt cx="936000" cy="936000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B823D12A-A18D-4946-8C72-38C5662FF92A}"/>
                </a:ext>
              </a:extLst>
            </p:cNvPr>
            <p:cNvSpPr/>
            <p:nvPr/>
          </p:nvSpPr>
          <p:spPr>
            <a:xfrm>
              <a:off x="81317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Donut 35">
              <a:extLst>
                <a:ext uri="{FF2B5EF4-FFF2-40B4-BE49-F238E27FC236}">
                  <a16:creationId xmlns:a16="http://schemas.microsoft.com/office/drawing/2014/main" id="{40341E75-9926-4E0F-B74A-3D8307DF9D99}"/>
                </a:ext>
              </a:extLst>
            </p:cNvPr>
            <p:cNvSpPr/>
            <p:nvPr/>
          </p:nvSpPr>
          <p:spPr>
            <a:xfrm>
              <a:off x="79282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Donut 36">
              <a:extLst>
                <a:ext uri="{FF2B5EF4-FFF2-40B4-BE49-F238E27FC236}">
                  <a16:creationId xmlns:a16="http://schemas.microsoft.com/office/drawing/2014/main" id="{5F0DC69F-6687-4873-9552-B2308E19FEE3}"/>
                </a:ext>
              </a:extLst>
            </p:cNvPr>
            <p:cNvSpPr/>
            <p:nvPr/>
          </p:nvSpPr>
          <p:spPr>
            <a:xfrm>
              <a:off x="75212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5" name="Picture 64" descr="A clock on a yellow building&#10;&#10;Description automatically generated">
              <a:extLst>
                <a:ext uri="{FF2B5EF4-FFF2-40B4-BE49-F238E27FC236}">
                  <a16:creationId xmlns:a16="http://schemas.microsoft.com/office/drawing/2014/main" id="{68FBC46C-BA0E-4732-881F-0796E268D5D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0128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753176E8-8B47-4A54-AE90-A6BB560E423C}"/>
              </a:ext>
            </a:extLst>
          </p:cNvPr>
          <p:cNvGrpSpPr/>
          <p:nvPr/>
        </p:nvGrpSpPr>
        <p:grpSpPr>
          <a:xfrm>
            <a:off x="4563521" y="2154983"/>
            <a:ext cx="936000" cy="936000"/>
            <a:chOff x="4122299" y="2154983"/>
            <a:chExt cx="936000" cy="936000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B43937C7-8881-4BCF-A3C2-D4BE337D414E}"/>
                </a:ext>
              </a:extLst>
            </p:cNvPr>
            <p:cNvSpPr/>
            <p:nvPr/>
          </p:nvSpPr>
          <p:spPr>
            <a:xfrm>
              <a:off x="418334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Donut 143">
              <a:extLst>
                <a:ext uri="{FF2B5EF4-FFF2-40B4-BE49-F238E27FC236}">
                  <a16:creationId xmlns:a16="http://schemas.microsoft.com/office/drawing/2014/main" id="{0CDB8357-1119-4456-9A0B-28D415101691}"/>
                </a:ext>
              </a:extLst>
            </p:cNvPr>
            <p:cNvSpPr/>
            <p:nvPr/>
          </p:nvSpPr>
          <p:spPr>
            <a:xfrm>
              <a:off x="416299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Donut 144">
              <a:extLst>
                <a:ext uri="{FF2B5EF4-FFF2-40B4-BE49-F238E27FC236}">
                  <a16:creationId xmlns:a16="http://schemas.microsoft.com/office/drawing/2014/main" id="{5710313C-9689-4CBB-B798-7D717D2FBFB2}"/>
                </a:ext>
              </a:extLst>
            </p:cNvPr>
            <p:cNvSpPr/>
            <p:nvPr/>
          </p:nvSpPr>
          <p:spPr>
            <a:xfrm>
              <a:off x="412229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6" name="Picture 65" descr="A clock on a yellow building&#10;&#10;Description automatically generated">
              <a:extLst>
                <a:ext uri="{FF2B5EF4-FFF2-40B4-BE49-F238E27FC236}">
                  <a16:creationId xmlns:a16="http://schemas.microsoft.com/office/drawing/2014/main" id="{55314571-AFDC-4322-9E9B-0FAE87B8005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20299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6F7402BC-259D-42B5-BF70-139D1C6D67FF}"/>
              </a:ext>
            </a:extLst>
          </p:cNvPr>
          <p:cNvGrpSpPr/>
          <p:nvPr/>
        </p:nvGrpSpPr>
        <p:grpSpPr>
          <a:xfrm>
            <a:off x="8334274" y="2154983"/>
            <a:ext cx="936000" cy="936000"/>
            <a:chOff x="9177554" y="2154983"/>
            <a:chExt cx="936000" cy="936000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D1E82573-AEB7-42C7-8E7D-F46339788496}"/>
                </a:ext>
              </a:extLst>
            </p:cNvPr>
            <p:cNvSpPr/>
            <p:nvPr/>
          </p:nvSpPr>
          <p:spPr>
            <a:xfrm>
              <a:off x="9238597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Donut 167">
              <a:extLst>
                <a:ext uri="{FF2B5EF4-FFF2-40B4-BE49-F238E27FC236}">
                  <a16:creationId xmlns:a16="http://schemas.microsoft.com/office/drawing/2014/main" id="{1E518443-9DB0-4F2F-B744-2CACD0B83BAD}"/>
                </a:ext>
              </a:extLst>
            </p:cNvPr>
            <p:cNvSpPr/>
            <p:nvPr/>
          </p:nvSpPr>
          <p:spPr>
            <a:xfrm>
              <a:off x="9218250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Donut 168">
              <a:extLst>
                <a:ext uri="{FF2B5EF4-FFF2-40B4-BE49-F238E27FC236}">
                  <a16:creationId xmlns:a16="http://schemas.microsoft.com/office/drawing/2014/main" id="{3E9BCBE3-D938-4E42-B9EF-B76419ADF16F}"/>
                </a:ext>
              </a:extLst>
            </p:cNvPr>
            <p:cNvSpPr/>
            <p:nvPr/>
          </p:nvSpPr>
          <p:spPr>
            <a:xfrm>
              <a:off x="9177554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72" name="Picture 71" descr="A clock on a yellow building&#10;&#10;Description automatically generated">
              <a:extLst>
                <a:ext uri="{FF2B5EF4-FFF2-40B4-BE49-F238E27FC236}">
                  <a16:creationId xmlns:a16="http://schemas.microsoft.com/office/drawing/2014/main" id="{F68F2EF0-5F94-4124-AC8F-0D6F605D70D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75554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417AA789-B257-4BE1-AC7C-D16B63FD320A}"/>
              </a:ext>
            </a:extLst>
          </p:cNvPr>
          <p:cNvGrpSpPr/>
          <p:nvPr/>
        </p:nvGrpSpPr>
        <p:grpSpPr>
          <a:xfrm>
            <a:off x="2678145" y="2154982"/>
            <a:ext cx="936000" cy="943545"/>
            <a:chOff x="2437214" y="2154982"/>
            <a:chExt cx="936000" cy="943545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7AE3AE5B-FFAE-488B-96E8-E9FE4D143630}"/>
                </a:ext>
              </a:extLst>
            </p:cNvPr>
            <p:cNvSpPr/>
            <p:nvPr/>
          </p:nvSpPr>
          <p:spPr>
            <a:xfrm>
              <a:off x="2498257" y="2216518"/>
              <a:ext cx="813913" cy="820474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Donut 149">
              <a:extLst>
                <a:ext uri="{FF2B5EF4-FFF2-40B4-BE49-F238E27FC236}">
                  <a16:creationId xmlns:a16="http://schemas.microsoft.com/office/drawing/2014/main" id="{977752B8-3DFF-4704-BD27-EBCBE51056E7}"/>
                </a:ext>
              </a:extLst>
            </p:cNvPr>
            <p:cNvSpPr/>
            <p:nvPr/>
          </p:nvSpPr>
          <p:spPr>
            <a:xfrm>
              <a:off x="2477910" y="2196006"/>
              <a:ext cx="854609" cy="861498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Donut 150">
              <a:extLst>
                <a:ext uri="{FF2B5EF4-FFF2-40B4-BE49-F238E27FC236}">
                  <a16:creationId xmlns:a16="http://schemas.microsoft.com/office/drawing/2014/main" id="{1402688E-B5A9-4FD8-A12E-12F43D89DCC3}"/>
                </a:ext>
              </a:extLst>
            </p:cNvPr>
            <p:cNvSpPr/>
            <p:nvPr/>
          </p:nvSpPr>
          <p:spPr>
            <a:xfrm>
              <a:off x="2437214" y="2154982"/>
              <a:ext cx="936000" cy="943545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19056FC0-B19B-451F-A197-34F2541DD22F}"/>
                </a:ext>
              </a:extLst>
            </p:cNvPr>
            <p:cNvGrpSpPr/>
            <p:nvPr/>
          </p:nvGrpSpPr>
          <p:grpSpPr>
            <a:xfrm>
              <a:off x="2725810" y="2346180"/>
              <a:ext cx="358806" cy="539744"/>
              <a:chOff x="4148419" y="1868128"/>
              <a:chExt cx="358806" cy="539744"/>
            </a:xfrm>
          </p:grpSpPr>
          <p:pic>
            <p:nvPicPr>
              <p:cNvPr id="74" name="Picture 73">
                <a:extLst>
                  <a:ext uri="{FF2B5EF4-FFF2-40B4-BE49-F238E27FC236}">
                    <a16:creationId xmlns:a16="http://schemas.microsoft.com/office/drawing/2014/main" id="{436CDFB2-35E8-4A26-948F-1200C275E88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l="21406" t="58006" r="16225"/>
              <a:stretch/>
            </p:blipFill>
            <p:spPr>
              <a:xfrm>
                <a:off x="4148419" y="2166374"/>
                <a:ext cx="358669" cy="241498"/>
              </a:xfrm>
              <a:prstGeom prst="rect">
                <a:avLst/>
              </a:prstGeom>
            </p:spPr>
          </p:pic>
          <p:pic>
            <p:nvPicPr>
              <p:cNvPr id="75" name="Picture 74">
                <a:extLst>
                  <a:ext uri="{FF2B5EF4-FFF2-40B4-BE49-F238E27FC236}">
                    <a16:creationId xmlns:a16="http://schemas.microsoft.com/office/drawing/2014/main" id="{E970A611-6658-4041-982D-A997475DBD3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l="29906" t="6144" r="16225" b="41709"/>
              <a:stretch/>
            </p:blipFill>
            <p:spPr>
              <a:xfrm>
                <a:off x="4197439" y="1868128"/>
                <a:ext cx="309786" cy="299885"/>
              </a:xfrm>
              <a:prstGeom prst="rect">
                <a:avLst/>
              </a:prstGeom>
            </p:spPr>
          </p:pic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2F23A6AE-9272-4233-AC8F-2A75B4D5F413}"/>
              </a:ext>
            </a:extLst>
          </p:cNvPr>
          <p:cNvGrpSpPr/>
          <p:nvPr/>
        </p:nvGrpSpPr>
        <p:grpSpPr>
          <a:xfrm>
            <a:off x="6448897" y="2154983"/>
            <a:ext cx="936000" cy="936000"/>
            <a:chOff x="6608549" y="2154983"/>
            <a:chExt cx="936000" cy="936000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58B414E2-A075-436D-ABE7-5F9637B6034E}"/>
                </a:ext>
              </a:extLst>
            </p:cNvPr>
            <p:cNvSpPr/>
            <p:nvPr/>
          </p:nvSpPr>
          <p:spPr>
            <a:xfrm>
              <a:off x="666959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Donut 161">
              <a:extLst>
                <a:ext uri="{FF2B5EF4-FFF2-40B4-BE49-F238E27FC236}">
                  <a16:creationId xmlns:a16="http://schemas.microsoft.com/office/drawing/2014/main" id="{ACCEF2FF-A2DD-4CC8-925A-F8F2D005292A}"/>
                </a:ext>
              </a:extLst>
            </p:cNvPr>
            <p:cNvSpPr/>
            <p:nvPr/>
          </p:nvSpPr>
          <p:spPr>
            <a:xfrm>
              <a:off x="664924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Donut 162">
              <a:extLst>
                <a:ext uri="{FF2B5EF4-FFF2-40B4-BE49-F238E27FC236}">
                  <a16:creationId xmlns:a16="http://schemas.microsoft.com/office/drawing/2014/main" id="{C4F122CF-A85A-4C1C-9721-16ECF7206BF1}"/>
                </a:ext>
              </a:extLst>
            </p:cNvPr>
            <p:cNvSpPr/>
            <p:nvPr/>
          </p:nvSpPr>
          <p:spPr>
            <a:xfrm>
              <a:off x="660854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82" name="Picture 81" descr="Icon&#10;&#10;Description automatically generated">
              <a:extLst>
                <a:ext uri="{FF2B5EF4-FFF2-40B4-BE49-F238E27FC236}">
                  <a16:creationId xmlns:a16="http://schemas.microsoft.com/office/drawing/2014/main" id="{2A8DA1B1-6D01-4F44-BAD1-1AC01CAB583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06549" y="2352983"/>
              <a:ext cx="540000" cy="540000"/>
            </a:xfrm>
            <a:prstGeom prst="rect">
              <a:avLst/>
            </a:prstGeom>
          </p:spPr>
        </p:pic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87DB7B61-FE12-4C6E-9458-C6B52D5F7849}"/>
              </a:ext>
            </a:extLst>
          </p:cNvPr>
          <p:cNvSpPr/>
          <p:nvPr/>
        </p:nvSpPr>
        <p:spPr>
          <a:xfrm>
            <a:off x="2514518" y="3225652"/>
            <a:ext cx="1917250" cy="3134508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F6383DCF-04E4-41C8-9FCF-58F0B5F67CEA}"/>
              </a:ext>
            </a:extLst>
          </p:cNvPr>
          <p:cNvSpPr/>
          <p:nvPr/>
        </p:nvSpPr>
        <p:spPr>
          <a:xfrm>
            <a:off x="6284247" y="3149980"/>
            <a:ext cx="1917250" cy="3134508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B2ED1F81-56C1-4C72-9B48-DBE374B14637}"/>
              </a:ext>
            </a:extLst>
          </p:cNvPr>
          <p:cNvSpPr/>
          <p:nvPr/>
        </p:nvSpPr>
        <p:spPr>
          <a:xfrm>
            <a:off x="10118231" y="2033832"/>
            <a:ext cx="1676051" cy="3780829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6877D9B-9638-445A-924C-79F722CACA8E}"/>
              </a:ext>
            </a:extLst>
          </p:cNvPr>
          <p:cNvSpPr/>
          <p:nvPr/>
        </p:nvSpPr>
        <p:spPr>
          <a:xfrm>
            <a:off x="2678145" y="2145350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97" name="Oval 96">
            <a:extLst>
              <a:ext uri="{FF2B5EF4-FFF2-40B4-BE49-F238E27FC236}">
                <a16:creationId xmlns:a16="http://schemas.microsoft.com/office/drawing/2014/main" id="{DC3FDCB3-DBCF-42B2-A122-466490F5CBE2}"/>
              </a:ext>
            </a:extLst>
          </p:cNvPr>
          <p:cNvSpPr/>
          <p:nvPr/>
        </p:nvSpPr>
        <p:spPr>
          <a:xfrm>
            <a:off x="6418524" y="2155698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80580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545135F8-D4BB-4860-ADCF-B6669FF493AE}"/>
              </a:ext>
            </a:extLst>
          </p:cNvPr>
          <p:cNvSpPr/>
          <p:nvPr/>
        </p:nvSpPr>
        <p:spPr>
          <a:xfrm>
            <a:off x="10117066" y="2145350"/>
            <a:ext cx="1626750" cy="353829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25073636-1F89-40F5-A906-6DCB1AF16119}"/>
              </a:ext>
            </a:extLst>
          </p:cNvPr>
          <p:cNvCxnSpPr>
            <a:cxnSpLocks/>
            <a:stCxn id="47" idx="6"/>
          </p:cNvCxnSpPr>
          <p:nvPr/>
        </p:nvCxnSpPr>
        <p:spPr>
          <a:xfrm>
            <a:off x="1728769" y="2622983"/>
            <a:ext cx="8392205" cy="0"/>
          </a:xfrm>
          <a:prstGeom prst="straightConnector1">
            <a:avLst/>
          </a:prstGeom>
          <a:ln w="28575">
            <a:solidFill>
              <a:srgbClr val="0083B8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>
                <a:sym typeface="Dosis Light"/>
              </a:rPr>
              <a:t>Le attività previste - gli studenti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66CB66A-5998-4EB6-AD56-6F12A741DBBF}"/>
              </a:ext>
            </a:extLst>
          </p:cNvPr>
          <p:cNvSpPr txBox="1"/>
          <p:nvPr/>
        </p:nvSpPr>
        <p:spPr>
          <a:xfrm>
            <a:off x="693103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B65014D-6B90-4C9D-A4F6-8F81A7C970E8}"/>
              </a:ext>
            </a:extLst>
          </p:cNvPr>
          <p:cNvSpPr/>
          <p:nvPr/>
        </p:nvSpPr>
        <p:spPr>
          <a:xfrm>
            <a:off x="693103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ultazione e integrazione</a:t>
            </a:r>
            <a:endParaRPr lang="it-IT" sz="1400" b="1" i="0" dirty="0">
              <a:effectLst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8ECF953-A5B9-4DC6-A09E-3CDBCF6DD61D}"/>
              </a:ext>
            </a:extLst>
          </p:cNvPr>
          <p:cNvSpPr/>
          <p:nvPr/>
        </p:nvSpPr>
        <p:spPr>
          <a:xfrm>
            <a:off x="693104" y="4121901"/>
            <a:ext cx="1773238" cy="1892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segreterie scolastiche accedono al Curriculum dello studente, visualizzano le informazioni precaricate a sistema e possono apportare eventuali integrazioni</a:t>
            </a:r>
            <a:endParaRPr lang="en-US" sz="1300" dirty="0"/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33D728CD-108F-4DBE-B99B-5C93434D0272}"/>
              </a:ext>
            </a:extLst>
          </p:cNvPr>
          <p:cNvSpPr txBox="1"/>
          <p:nvPr/>
        </p:nvSpPr>
        <p:spPr>
          <a:xfrm>
            <a:off x="2579558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tudenti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1211A4B1-C385-4089-96C0-BBBD01AEB960}"/>
              </a:ext>
            </a:extLst>
          </p:cNvPr>
          <p:cNvSpPr/>
          <p:nvPr/>
        </p:nvSpPr>
        <p:spPr>
          <a:xfrm>
            <a:off x="2579558" y="3516559"/>
            <a:ext cx="192563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mpilazione</a:t>
            </a:r>
            <a:endParaRPr lang="it-IT" sz="1400" b="1" i="0" dirty="0">
              <a:effectLst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37A81E08-9253-4742-B4EA-744E1FC582C6}"/>
              </a:ext>
            </a:extLst>
          </p:cNvPr>
          <p:cNvSpPr/>
          <p:nvPr/>
        </p:nvSpPr>
        <p:spPr>
          <a:xfrm>
            <a:off x="2579559" y="4121901"/>
            <a:ext cx="1823588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Gli studenti accedono al Curriculum e compilano le parti di propria competenza, inserendo le informazioni sulle certificazioni conseguite e le attività extrascolastiche svolte</a:t>
            </a:r>
            <a:endParaRPr lang="en-US" sz="1300" dirty="0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981E4DF7-E057-45F1-9708-A32DA58EFC76}"/>
              </a:ext>
            </a:extLst>
          </p:cNvPr>
          <p:cNvSpPr txBox="1"/>
          <p:nvPr/>
        </p:nvSpPr>
        <p:spPr>
          <a:xfrm>
            <a:off x="4503664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34C3740F-565F-4E03-A671-4E779FB1C90C}"/>
              </a:ext>
            </a:extLst>
          </p:cNvPr>
          <p:cNvSpPr/>
          <p:nvPr/>
        </p:nvSpPr>
        <p:spPr>
          <a:xfrm>
            <a:off x="4503664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olidamento </a:t>
            </a:r>
            <a:r>
              <a:rPr lang="it-IT" sz="1400" b="1" dirty="0" err="1"/>
              <a:t>pre</a:t>
            </a:r>
            <a:r>
              <a:rPr lang="it-IT" sz="1400" b="1" dirty="0"/>
              <a:t>-esame</a:t>
            </a:r>
            <a:endParaRPr lang="it-IT" sz="1400" b="1" i="0" dirty="0">
              <a:effectLst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572C5FF2-631E-4D9A-8621-6C8AAFFC37DC}"/>
              </a:ext>
            </a:extLst>
          </p:cNvPr>
          <p:cNvSpPr/>
          <p:nvPr/>
        </p:nvSpPr>
        <p:spPr>
          <a:xfrm>
            <a:off x="4503665" y="4121901"/>
            <a:ext cx="1663142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scuole, prima dello svolgimento dell’esame di Stato, integrano il Curriculum con i dati relativi al credito scolastico</a:t>
            </a:r>
            <a:endParaRPr lang="en-US" sz="1300" dirty="0"/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E08F87C4-3FE9-4521-A99C-415DA110780B}"/>
              </a:ext>
            </a:extLst>
          </p:cNvPr>
          <p:cNvSpPr txBox="1"/>
          <p:nvPr/>
        </p:nvSpPr>
        <p:spPr>
          <a:xfrm>
            <a:off x="6445182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Commissioni d'esame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38430605-E51B-401C-959F-231A8857D0D2}"/>
              </a:ext>
            </a:extLst>
          </p:cNvPr>
          <p:cNvSpPr/>
          <p:nvPr/>
        </p:nvSpPr>
        <p:spPr>
          <a:xfrm>
            <a:off x="6445182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Visualizzazione durante l'esame</a:t>
            </a:r>
            <a:endParaRPr lang="it-IT" sz="1400" b="1" i="0" dirty="0">
              <a:effectLst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CFE7CB47-4E9D-46E6-B057-DBA7F03FEE81}"/>
              </a:ext>
            </a:extLst>
          </p:cNvPr>
          <p:cNvSpPr/>
          <p:nvPr/>
        </p:nvSpPr>
        <p:spPr>
          <a:xfrm>
            <a:off x="6445183" y="4121901"/>
            <a:ext cx="1578599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commissioni d’esame tengono conto del Curriculum di ogni studente, in particolare in vista del colloquio</a:t>
            </a:r>
            <a:endParaRPr lang="en-US" sz="1300" dirty="0"/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148DFBBE-ABFD-4C16-9C89-5FC1FC54D262}"/>
              </a:ext>
            </a:extLst>
          </p:cNvPr>
          <p:cNvSpPr txBox="1"/>
          <p:nvPr/>
        </p:nvSpPr>
        <p:spPr>
          <a:xfrm>
            <a:off x="8318937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92318292-361E-4FE7-A7FB-77B0C39D82D6}"/>
              </a:ext>
            </a:extLst>
          </p:cNvPr>
          <p:cNvSpPr/>
          <p:nvPr/>
        </p:nvSpPr>
        <p:spPr>
          <a:xfrm>
            <a:off x="8318937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olidamento post-esame</a:t>
            </a:r>
            <a:endParaRPr lang="it-IT" sz="1400" b="1" i="0" dirty="0">
              <a:effectLst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AAB4D4DC-E837-4841-B86E-C265B6B2BCC7}"/>
              </a:ext>
            </a:extLst>
          </p:cNvPr>
          <p:cNvSpPr/>
          <p:nvPr/>
        </p:nvSpPr>
        <p:spPr>
          <a:xfrm>
            <a:off x="8318938" y="4121901"/>
            <a:ext cx="1609732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Dopo l’esame di Stato il Curriculum viene arricchito con l’esito conseguito e collegato al diploma tramite il riferimento al suo numero</a:t>
            </a:r>
            <a:endParaRPr lang="en-US" sz="1300" dirty="0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2620AEF-CC2D-409F-AA2B-BA8A0750FB55}"/>
              </a:ext>
            </a:extLst>
          </p:cNvPr>
          <p:cNvGrpSpPr/>
          <p:nvPr/>
        </p:nvGrpSpPr>
        <p:grpSpPr>
          <a:xfrm>
            <a:off x="10313058" y="2245083"/>
            <a:ext cx="710860" cy="747909"/>
            <a:chOff x="10879478" y="2245083"/>
            <a:chExt cx="710860" cy="747909"/>
          </a:xfrm>
        </p:grpSpPr>
        <p:pic>
          <p:nvPicPr>
            <p:cNvPr id="100" name="Picture 99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3C456324-616B-418E-975E-ABA70CE8E68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207"/>
            <a:stretch/>
          </p:blipFill>
          <p:spPr>
            <a:xfrm>
              <a:off x="10879478" y="2245083"/>
              <a:ext cx="656548" cy="747909"/>
            </a:xfrm>
            <a:prstGeom prst="rect">
              <a:avLst/>
            </a:prstGeom>
          </p:spPr>
        </p:pic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23A8333B-96DD-41E1-AB32-897C0BBB71A6}"/>
                </a:ext>
              </a:extLst>
            </p:cNvPr>
            <p:cNvSpPr/>
            <p:nvPr/>
          </p:nvSpPr>
          <p:spPr>
            <a:xfrm>
              <a:off x="11288396" y="2406296"/>
              <a:ext cx="301942" cy="28462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 sz="9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04" name="TextBox 103">
            <a:extLst>
              <a:ext uri="{FF2B5EF4-FFF2-40B4-BE49-F238E27FC236}">
                <a16:creationId xmlns:a16="http://schemas.microsoft.com/office/drawing/2014/main" id="{C3DF64C3-27D4-472E-99CF-228E3AB6FBB1}"/>
              </a:ext>
            </a:extLst>
          </p:cNvPr>
          <p:cNvSpPr txBox="1"/>
          <p:nvPr/>
        </p:nvSpPr>
        <p:spPr>
          <a:xfrm>
            <a:off x="10183019" y="3206812"/>
            <a:ext cx="1368000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tudenti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EC914D3D-8530-4F61-A083-57D96825CAB3}"/>
              </a:ext>
            </a:extLst>
          </p:cNvPr>
          <p:cNvSpPr/>
          <p:nvPr/>
        </p:nvSpPr>
        <p:spPr>
          <a:xfrm>
            <a:off x="10183020" y="3516559"/>
            <a:ext cx="148097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Acquisizione Curriculum</a:t>
            </a:r>
            <a:endParaRPr lang="it-IT" sz="1400" b="1" i="0" dirty="0">
              <a:effectLst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64728FCA-C8C1-40AE-9446-D6D2A31B962D}"/>
              </a:ext>
            </a:extLst>
          </p:cNvPr>
          <p:cNvSpPr/>
          <p:nvPr/>
        </p:nvSpPr>
        <p:spPr>
          <a:xfrm>
            <a:off x="10183019" y="4121901"/>
            <a:ext cx="1480978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Ogni studente diplomato ritrova il Curriculum definitivo all’interno della piattaforma</a:t>
            </a:r>
            <a:endParaRPr lang="en-US" sz="1300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92E556F-6D03-45BD-BEFE-DCE2FF63885D}"/>
              </a:ext>
            </a:extLst>
          </p:cNvPr>
          <p:cNvGrpSpPr/>
          <p:nvPr/>
        </p:nvGrpSpPr>
        <p:grpSpPr>
          <a:xfrm>
            <a:off x="792769" y="2154983"/>
            <a:ext cx="936000" cy="936000"/>
            <a:chOff x="752129" y="2154983"/>
            <a:chExt cx="936000" cy="936000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B823D12A-A18D-4946-8C72-38C5662FF92A}"/>
                </a:ext>
              </a:extLst>
            </p:cNvPr>
            <p:cNvSpPr/>
            <p:nvPr/>
          </p:nvSpPr>
          <p:spPr>
            <a:xfrm>
              <a:off x="81317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Donut 35">
              <a:extLst>
                <a:ext uri="{FF2B5EF4-FFF2-40B4-BE49-F238E27FC236}">
                  <a16:creationId xmlns:a16="http://schemas.microsoft.com/office/drawing/2014/main" id="{40341E75-9926-4E0F-B74A-3D8307DF9D99}"/>
                </a:ext>
              </a:extLst>
            </p:cNvPr>
            <p:cNvSpPr/>
            <p:nvPr/>
          </p:nvSpPr>
          <p:spPr>
            <a:xfrm>
              <a:off x="79282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Donut 36">
              <a:extLst>
                <a:ext uri="{FF2B5EF4-FFF2-40B4-BE49-F238E27FC236}">
                  <a16:creationId xmlns:a16="http://schemas.microsoft.com/office/drawing/2014/main" id="{5F0DC69F-6687-4873-9552-B2308E19FEE3}"/>
                </a:ext>
              </a:extLst>
            </p:cNvPr>
            <p:cNvSpPr/>
            <p:nvPr/>
          </p:nvSpPr>
          <p:spPr>
            <a:xfrm>
              <a:off x="75212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5" name="Picture 64" descr="A clock on a yellow building&#10;&#10;Description automatically generated">
              <a:extLst>
                <a:ext uri="{FF2B5EF4-FFF2-40B4-BE49-F238E27FC236}">
                  <a16:creationId xmlns:a16="http://schemas.microsoft.com/office/drawing/2014/main" id="{68FBC46C-BA0E-4732-881F-0796E268D5D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0128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753176E8-8B47-4A54-AE90-A6BB560E423C}"/>
              </a:ext>
            </a:extLst>
          </p:cNvPr>
          <p:cNvGrpSpPr/>
          <p:nvPr/>
        </p:nvGrpSpPr>
        <p:grpSpPr>
          <a:xfrm>
            <a:off x="4563521" y="2154983"/>
            <a:ext cx="936000" cy="936000"/>
            <a:chOff x="4122299" y="2154983"/>
            <a:chExt cx="936000" cy="936000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B43937C7-8881-4BCF-A3C2-D4BE337D414E}"/>
                </a:ext>
              </a:extLst>
            </p:cNvPr>
            <p:cNvSpPr/>
            <p:nvPr/>
          </p:nvSpPr>
          <p:spPr>
            <a:xfrm>
              <a:off x="418334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Donut 143">
              <a:extLst>
                <a:ext uri="{FF2B5EF4-FFF2-40B4-BE49-F238E27FC236}">
                  <a16:creationId xmlns:a16="http://schemas.microsoft.com/office/drawing/2014/main" id="{0CDB8357-1119-4456-9A0B-28D415101691}"/>
                </a:ext>
              </a:extLst>
            </p:cNvPr>
            <p:cNvSpPr/>
            <p:nvPr/>
          </p:nvSpPr>
          <p:spPr>
            <a:xfrm>
              <a:off x="416299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Donut 144">
              <a:extLst>
                <a:ext uri="{FF2B5EF4-FFF2-40B4-BE49-F238E27FC236}">
                  <a16:creationId xmlns:a16="http://schemas.microsoft.com/office/drawing/2014/main" id="{5710313C-9689-4CBB-B798-7D717D2FBFB2}"/>
                </a:ext>
              </a:extLst>
            </p:cNvPr>
            <p:cNvSpPr/>
            <p:nvPr/>
          </p:nvSpPr>
          <p:spPr>
            <a:xfrm>
              <a:off x="412229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6" name="Picture 65" descr="A clock on a yellow building&#10;&#10;Description automatically generated">
              <a:extLst>
                <a:ext uri="{FF2B5EF4-FFF2-40B4-BE49-F238E27FC236}">
                  <a16:creationId xmlns:a16="http://schemas.microsoft.com/office/drawing/2014/main" id="{55314571-AFDC-4322-9E9B-0FAE87B8005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20299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6F7402BC-259D-42B5-BF70-139D1C6D67FF}"/>
              </a:ext>
            </a:extLst>
          </p:cNvPr>
          <p:cNvGrpSpPr/>
          <p:nvPr/>
        </p:nvGrpSpPr>
        <p:grpSpPr>
          <a:xfrm>
            <a:off x="8334274" y="2154983"/>
            <a:ext cx="936000" cy="936000"/>
            <a:chOff x="9177554" y="2154983"/>
            <a:chExt cx="936000" cy="936000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D1E82573-AEB7-42C7-8E7D-F46339788496}"/>
                </a:ext>
              </a:extLst>
            </p:cNvPr>
            <p:cNvSpPr/>
            <p:nvPr/>
          </p:nvSpPr>
          <p:spPr>
            <a:xfrm>
              <a:off x="9238597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Donut 167">
              <a:extLst>
                <a:ext uri="{FF2B5EF4-FFF2-40B4-BE49-F238E27FC236}">
                  <a16:creationId xmlns:a16="http://schemas.microsoft.com/office/drawing/2014/main" id="{1E518443-9DB0-4F2F-B744-2CACD0B83BAD}"/>
                </a:ext>
              </a:extLst>
            </p:cNvPr>
            <p:cNvSpPr/>
            <p:nvPr/>
          </p:nvSpPr>
          <p:spPr>
            <a:xfrm>
              <a:off x="9218250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Donut 168">
              <a:extLst>
                <a:ext uri="{FF2B5EF4-FFF2-40B4-BE49-F238E27FC236}">
                  <a16:creationId xmlns:a16="http://schemas.microsoft.com/office/drawing/2014/main" id="{3E9BCBE3-D938-4E42-B9EF-B76419ADF16F}"/>
                </a:ext>
              </a:extLst>
            </p:cNvPr>
            <p:cNvSpPr/>
            <p:nvPr/>
          </p:nvSpPr>
          <p:spPr>
            <a:xfrm>
              <a:off x="9177554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72" name="Picture 71" descr="A clock on a yellow building&#10;&#10;Description automatically generated">
              <a:extLst>
                <a:ext uri="{FF2B5EF4-FFF2-40B4-BE49-F238E27FC236}">
                  <a16:creationId xmlns:a16="http://schemas.microsoft.com/office/drawing/2014/main" id="{F68F2EF0-5F94-4124-AC8F-0D6F605D70D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75554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417AA789-B257-4BE1-AC7C-D16B63FD320A}"/>
              </a:ext>
            </a:extLst>
          </p:cNvPr>
          <p:cNvGrpSpPr/>
          <p:nvPr/>
        </p:nvGrpSpPr>
        <p:grpSpPr>
          <a:xfrm>
            <a:off x="2678145" y="2154982"/>
            <a:ext cx="936000" cy="943545"/>
            <a:chOff x="2437214" y="2154982"/>
            <a:chExt cx="936000" cy="943545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7AE3AE5B-FFAE-488B-96E8-E9FE4D143630}"/>
                </a:ext>
              </a:extLst>
            </p:cNvPr>
            <p:cNvSpPr/>
            <p:nvPr/>
          </p:nvSpPr>
          <p:spPr>
            <a:xfrm>
              <a:off x="2498257" y="2216518"/>
              <a:ext cx="813913" cy="820474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Donut 149">
              <a:extLst>
                <a:ext uri="{FF2B5EF4-FFF2-40B4-BE49-F238E27FC236}">
                  <a16:creationId xmlns:a16="http://schemas.microsoft.com/office/drawing/2014/main" id="{977752B8-3DFF-4704-BD27-EBCBE51056E7}"/>
                </a:ext>
              </a:extLst>
            </p:cNvPr>
            <p:cNvSpPr/>
            <p:nvPr/>
          </p:nvSpPr>
          <p:spPr>
            <a:xfrm>
              <a:off x="2477910" y="2196006"/>
              <a:ext cx="854609" cy="861498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Donut 150">
              <a:extLst>
                <a:ext uri="{FF2B5EF4-FFF2-40B4-BE49-F238E27FC236}">
                  <a16:creationId xmlns:a16="http://schemas.microsoft.com/office/drawing/2014/main" id="{1402688E-B5A9-4FD8-A12E-12F43D89DCC3}"/>
                </a:ext>
              </a:extLst>
            </p:cNvPr>
            <p:cNvSpPr/>
            <p:nvPr/>
          </p:nvSpPr>
          <p:spPr>
            <a:xfrm>
              <a:off x="2437214" y="2154982"/>
              <a:ext cx="936000" cy="943545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19056FC0-B19B-451F-A197-34F2541DD22F}"/>
                </a:ext>
              </a:extLst>
            </p:cNvPr>
            <p:cNvGrpSpPr/>
            <p:nvPr/>
          </p:nvGrpSpPr>
          <p:grpSpPr>
            <a:xfrm>
              <a:off x="2725810" y="2346180"/>
              <a:ext cx="358806" cy="539744"/>
              <a:chOff x="4148419" y="1868128"/>
              <a:chExt cx="358806" cy="539744"/>
            </a:xfrm>
          </p:grpSpPr>
          <p:pic>
            <p:nvPicPr>
              <p:cNvPr id="74" name="Picture 73">
                <a:extLst>
                  <a:ext uri="{FF2B5EF4-FFF2-40B4-BE49-F238E27FC236}">
                    <a16:creationId xmlns:a16="http://schemas.microsoft.com/office/drawing/2014/main" id="{436CDFB2-35E8-4A26-948F-1200C275E88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l="21406" t="58006" r="16225"/>
              <a:stretch/>
            </p:blipFill>
            <p:spPr>
              <a:xfrm>
                <a:off x="4148419" y="2166374"/>
                <a:ext cx="358669" cy="241498"/>
              </a:xfrm>
              <a:prstGeom prst="rect">
                <a:avLst/>
              </a:prstGeom>
            </p:spPr>
          </p:pic>
          <p:pic>
            <p:nvPicPr>
              <p:cNvPr id="75" name="Picture 74">
                <a:extLst>
                  <a:ext uri="{FF2B5EF4-FFF2-40B4-BE49-F238E27FC236}">
                    <a16:creationId xmlns:a16="http://schemas.microsoft.com/office/drawing/2014/main" id="{E970A611-6658-4041-982D-A997475DBD3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l="29906" t="6144" r="16225" b="41709"/>
              <a:stretch/>
            </p:blipFill>
            <p:spPr>
              <a:xfrm>
                <a:off x="4197439" y="1868128"/>
                <a:ext cx="309786" cy="299885"/>
              </a:xfrm>
              <a:prstGeom prst="rect">
                <a:avLst/>
              </a:prstGeom>
            </p:spPr>
          </p:pic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2F23A6AE-9272-4233-AC8F-2A75B4D5F413}"/>
              </a:ext>
            </a:extLst>
          </p:cNvPr>
          <p:cNvGrpSpPr/>
          <p:nvPr/>
        </p:nvGrpSpPr>
        <p:grpSpPr>
          <a:xfrm>
            <a:off x="6448897" y="2154983"/>
            <a:ext cx="936000" cy="936000"/>
            <a:chOff x="6608549" y="2154983"/>
            <a:chExt cx="936000" cy="936000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58B414E2-A075-436D-ABE7-5F9637B6034E}"/>
                </a:ext>
              </a:extLst>
            </p:cNvPr>
            <p:cNvSpPr/>
            <p:nvPr/>
          </p:nvSpPr>
          <p:spPr>
            <a:xfrm>
              <a:off x="666959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Donut 161">
              <a:extLst>
                <a:ext uri="{FF2B5EF4-FFF2-40B4-BE49-F238E27FC236}">
                  <a16:creationId xmlns:a16="http://schemas.microsoft.com/office/drawing/2014/main" id="{ACCEF2FF-A2DD-4CC8-925A-F8F2D005292A}"/>
                </a:ext>
              </a:extLst>
            </p:cNvPr>
            <p:cNvSpPr/>
            <p:nvPr/>
          </p:nvSpPr>
          <p:spPr>
            <a:xfrm>
              <a:off x="664924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Donut 162">
              <a:extLst>
                <a:ext uri="{FF2B5EF4-FFF2-40B4-BE49-F238E27FC236}">
                  <a16:creationId xmlns:a16="http://schemas.microsoft.com/office/drawing/2014/main" id="{C4F122CF-A85A-4C1C-9721-16ECF7206BF1}"/>
                </a:ext>
              </a:extLst>
            </p:cNvPr>
            <p:cNvSpPr/>
            <p:nvPr/>
          </p:nvSpPr>
          <p:spPr>
            <a:xfrm>
              <a:off x="660854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82" name="Picture 81" descr="Icon&#10;&#10;Description automatically generated">
              <a:extLst>
                <a:ext uri="{FF2B5EF4-FFF2-40B4-BE49-F238E27FC236}">
                  <a16:creationId xmlns:a16="http://schemas.microsoft.com/office/drawing/2014/main" id="{2A8DA1B1-6D01-4F44-BAD1-1AC01CAB583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06549" y="2352983"/>
              <a:ext cx="540000" cy="540000"/>
            </a:xfrm>
            <a:prstGeom prst="rect">
              <a:avLst/>
            </a:prstGeom>
          </p:spPr>
        </p:pic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87DB7B61-FE12-4C6E-9458-C6B52D5F7849}"/>
              </a:ext>
            </a:extLst>
          </p:cNvPr>
          <p:cNvSpPr/>
          <p:nvPr/>
        </p:nvSpPr>
        <p:spPr>
          <a:xfrm>
            <a:off x="594278" y="3225652"/>
            <a:ext cx="1917250" cy="2870348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F6383DCF-04E4-41C8-9FCF-58F0B5F67CEA}"/>
              </a:ext>
            </a:extLst>
          </p:cNvPr>
          <p:cNvSpPr/>
          <p:nvPr/>
        </p:nvSpPr>
        <p:spPr>
          <a:xfrm>
            <a:off x="4492494" y="3149980"/>
            <a:ext cx="5517359" cy="3134508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97" name="Oval 96">
            <a:extLst>
              <a:ext uri="{FF2B5EF4-FFF2-40B4-BE49-F238E27FC236}">
                <a16:creationId xmlns:a16="http://schemas.microsoft.com/office/drawing/2014/main" id="{DC3FDCB3-DBCF-42B2-A122-466490F5CBE2}"/>
              </a:ext>
            </a:extLst>
          </p:cNvPr>
          <p:cNvSpPr/>
          <p:nvPr/>
        </p:nvSpPr>
        <p:spPr>
          <a:xfrm>
            <a:off x="6418524" y="2155698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97388C7C-0642-47A5-8D19-B182D7837AD3}"/>
              </a:ext>
            </a:extLst>
          </p:cNvPr>
          <p:cNvSpPr/>
          <p:nvPr/>
        </p:nvSpPr>
        <p:spPr>
          <a:xfrm>
            <a:off x="769264" y="2145350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4CA2913E-186E-4F07-99A9-87825D30956B}"/>
              </a:ext>
            </a:extLst>
          </p:cNvPr>
          <p:cNvSpPr/>
          <p:nvPr/>
        </p:nvSpPr>
        <p:spPr>
          <a:xfrm>
            <a:off x="4560484" y="2134827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9D14EDE5-ECC5-4147-943D-6896458D79FD}"/>
              </a:ext>
            </a:extLst>
          </p:cNvPr>
          <p:cNvSpPr/>
          <p:nvPr/>
        </p:nvSpPr>
        <p:spPr>
          <a:xfrm>
            <a:off x="8295158" y="2154982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6700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545135F8-D4BB-4860-ADCF-B6669FF493AE}"/>
              </a:ext>
            </a:extLst>
          </p:cNvPr>
          <p:cNvSpPr/>
          <p:nvPr/>
        </p:nvSpPr>
        <p:spPr>
          <a:xfrm>
            <a:off x="10117066" y="2145350"/>
            <a:ext cx="1626750" cy="353829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25073636-1F89-40F5-A906-6DCB1AF16119}"/>
              </a:ext>
            </a:extLst>
          </p:cNvPr>
          <p:cNvCxnSpPr>
            <a:cxnSpLocks/>
            <a:stCxn id="47" idx="6"/>
          </p:cNvCxnSpPr>
          <p:nvPr/>
        </p:nvCxnSpPr>
        <p:spPr>
          <a:xfrm>
            <a:off x="1728769" y="2622983"/>
            <a:ext cx="8392205" cy="0"/>
          </a:xfrm>
          <a:prstGeom prst="straightConnector1">
            <a:avLst/>
          </a:prstGeom>
          <a:ln w="28575">
            <a:solidFill>
              <a:srgbClr val="0083B8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>
                <a:sym typeface="Dosis Light"/>
              </a:rPr>
              <a:t>Le attività previste - le commissioni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66CB66A-5998-4EB6-AD56-6F12A741DBBF}"/>
              </a:ext>
            </a:extLst>
          </p:cNvPr>
          <p:cNvSpPr txBox="1"/>
          <p:nvPr/>
        </p:nvSpPr>
        <p:spPr>
          <a:xfrm>
            <a:off x="693103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B65014D-6B90-4C9D-A4F6-8F81A7C970E8}"/>
              </a:ext>
            </a:extLst>
          </p:cNvPr>
          <p:cNvSpPr/>
          <p:nvPr/>
        </p:nvSpPr>
        <p:spPr>
          <a:xfrm>
            <a:off x="693103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ultazione e integrazione</a:t>
            </a:r>
            <a:endParaRPr lang="it-IT" sz="1400" b="1" i="0" dirty="0">
              <a:effectLst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8ECF953-A5B9-4DC6-A09E-3CDBCF6DD61D}"/>
              </a:ext>
            </a:extLst>
          </p:cNvPr>
          <p:cNvSpPr/>
          <p:nvPr/>
        </p:nvSpPr>
        <p:spPr>
          <a:xfrm>
            <a:off x="693104" y="4121901"/>
            <a:ext cx="1773238" cy="1892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segreterie scolastiche accedono al Curriculum dello studente, visualizzano le informazioni precaricate a sistema e possono apportare eventuali integrazioni</a:t>
            </a:r>
            <a:endParaRPr lang="en-US" sz="1300" dirty="0"/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33D728CD-108F-4DBE-B99B-5C93434D0272}"/>
              </a:ext>
            </a:extLst>
          </p:cNvPr>
          <p:cNvSpPr txBox="1"/>
          <p:nvPr/>
        </p:nvSpPr>
        <p:spPr>
          <a:xfrm>
            <a:off x="2579558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tudenti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1211A4B1-C385-4089-96C0-BBBD01AEB960}"/>
              </a:ext>
            </a:extLst>
          </p:cNvPr>
          <p:cNvSpPr/>
          <p:nvPr/>
        </p:nvSpPr>
        <p:spPr>
          <a:xfrm>
            <a:off x="2579558" y="3516559"/>
            <a:ext cx="192563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mpilazione</a:t>
            </a:r>
            <a:endParaRPr lang="it-IT" sz="1400" b="1" i="0" dirty="0">
              <a:effectLst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37A81E08-9253-4742-B4EA-744E1FC582C6}"/>
              </a:ext>
            </a:extLst>
          </p:cNvPr>
          <p:cNvSpPr/>
          <p:nvPr/>
        </p:nvSpPr>
        <p:spPr>
          <a:xfrm>
            <a:off x="2579559" y="4121901"/>
            <a:ext cx="1823588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Gli studenti accedono al Curriculum e compilano le parti di propria competenza, inserendo le informazioni sulle certificazioni conseguite e le attività extrascolastiche svolte</a:t>
            </a:r>
            <a:endParaRPr lang="en-US" sz="1300" dirty="0"/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981E4DF7-E057-45F1-9708-A32DA58EFC76}"/>
              </a:ext>
            </a:extLst>
          </p:cNvPr>
          <p:cNvSpPr txBox="1"/>
          <p:nvPr/>
        </p:nvSpPr>
        <p:spPr>
          <a:xfrm>
            <a:off x="4503664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34C3740F-565F-4E03-A671-4E779FB1C90C}"/>
              </a:ext>
            </a:extLst>
          </p:cNvPr>
          <p:cNvSpPr/>
          <p:nvPr/>
        </p:nvSpPr>
        <p:spPr>
          <a:xfrm>
            <a:off x="4503664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olidamento </a:t>
            </a:r>
            <a:r>
              <a:rPr lang="it-IT" sz="1400" b="1" dirty="0" err="1"/>
              <a:t>pre</a:t>
            </a:r>
            <a:r>
              <a:rPr lang="it-IT" sz="1400" b="1" dirty="0"/>
              <a:t>-esame</a:t>
            </a:r>
            <a:endParaRPr lang="it-IT" sz="1400" b="1" i="0" dirty="0">
              <a:effectLst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572C5FF2-631E-4D9A-8621-6C8AAFFC37DC}"/>
              </a:ext>
            </a:extLst>
          </p:cNvPr>
          <p:cNvSpPr/>
          <p:nvPr/>
        </p:nvSpPr>
        <p:spPr>
          <a:xfrm>
            <a:off x="4503665" y="4121901"/>
            <a:ext cx="1663142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scuole, prima dello svolgimento dell’esame di Stato, integrano il Curriculum con i dati relativi al credito scolastico</a:t>
            </a:r>
            <a:endParaRPr lang="en-US" sz="1300" dirty="0"/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E08F87C4-3FE9-4521-A99C-415DA110780B}"/>
              </a:ext>
            </a:extLst>
          </p:cNvPr>
          <p:cNvSpPr txBox="1"/>
          <p:nvPr/>
        </p:nvSpPr>
        <p:spPr>
          <a:xfrm>
            <a:off x="6445182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Commissioni d'esame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38430605-E51B-401C-959F-231A8857D0D2}"/>
              </a:ext>
            </a:extLst>
          </p:cNvPr>
          <p:cNvSpPr/>
          <p:nvPr/>
        </p:nvSpPr>
        <p:spPr>
          <a:xfrm>
            <a:off x="6445182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Visualizzazione durante l'esame</a:t>
            </a:r>
            <a:endParaRPr lang="it-IT" sz="1400" b="1" i="0" dirty="0">
              <a:effectLst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CFE7CB47-4E9D-46E6-B057-DBA7F03FEE81}"/>
              </a:ext>
            </a:extLst>
          </p:cNvPr>
          <p:cNvSpPr/>
          <p:nvPr/>
        </p:nvSpPr>
        <p:spPr>
          <a:xfrm>
            <a:off x="6445183" y="4121901"/>
            <a:ext cx="1578599" cy="14927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Le commissioni d’esame tengono conto del Curriculum di ogni studente, in particolare in vista del colloquio</a:t>
            </a:r>
            <a:endParaRPr lang="en-US" sz="1300" dirty="0"/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148DFBBE-ABFD-4C16-9C89-5FC1FC54D262}"/>
              </a:ext>
            </a:extLst>
          </p:cNvPr>
          <p:cNvSpPr txBox="1"/>
          <p:nvPr/>
        </p:nvSpPr>
        <p:spPr>
          <a:xfrm>
            <a:off x="8318937" y="3206812"/>
            <a:ext cx="1925637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egreterie scolastiche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92318292-361E-4FE7-A7FB-77B0C39D82D6}"/>
              </a:ext>
            </a:extLst>
          </p:cNvPr>
          <p:cNvSpPr/>
          <p:nvPr/>
        </p:nvSpPr>
        <p:spPr>
          <a:xfrm>
            <a:off x="8318937" y="3516559"/>
            <a:ext cx="19256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Consolidamento post-esame</a:t>
            </a:r>
            <a:endParaRPr lang="it-IT" sz="1400" b="1" i="0" dirty="0">
              <a:effectLst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AAB4D4DC-E837-4841-B86E-C265B6B2BCC7}"/>
              </a:ext>
            </a:extLst>
          </p:cNvPr>
          <p:cNvSpPr/>
          <p:nvPr/>
        </p:nvSpPr>
        <p:spPr>
          <a:xfrm>
            <a:off x="8318938" y="4121901"/>
            <a:ext cx="1609732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Dopo l’esame di Stato il Curriculum viene arricchito con l’esito conseguito e collegato al diploma tramite il riferimento al suo numero</a:t>
            </a:r>
            <a:endParaRPr lang="en-US" sz="1300" dirty="0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2620AEF-CC2D-409F-AA2B-BA8A0750FB55}"/>
              </a:ext>
            </a:extLst>
          </p:cNvPr>
          <p:cNvGrpSpPr/>
          <p:nvPr/>
        </p:nvGrpSpPr>
        <p:grpSpPr>
          <a:xfrm>
            <a:off x="10313058" y="2245083"/>
            <a:ext cx="710860" cy="747909"/>
            <a:chOff x="10879478" y="2245083"/>
            <a:chExt cx="710860" cy="747909"/>
          </a:xfrm>
        </p:grpSpPr>
        <p:pic>
          <p:nvPicPr>
            <p:cNvPr id="100" name="Picture 99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3C456324-616B-418E-975E-ABA70CE8E68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207"/>
            <a:stretch/>
          </p:blipFill>
          <p:spPr>
            <a:xfrm>
              <a:off x="10879478" y="2245083"/>
              <a:ext cx="656548" cy="747909"/>
            </a:xfrm>
            <a:prstGeom prst="rect">
              <a:avLst/>
            </a:prstGeom>
          </p:spPr>
        </p:pic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23A8333B-96DD-41E1-AB32-897C0BBB71A6}"/>
                </a:ext>
              </a:extLst>
            </p:cNvPr>
            <p:cNvSpPr/>
            <p:nvPr/>
          </p:nvSpPr>
          <p:spPr>
            <a:xfrm>
              <a:off x="11288396" y="2406296"/>
              <a:ext cx="301942" cy="284628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 sz="9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04" name="TextBox 103">
            <a:extLst>
              <a:ext uri="{FF2B5EF4-FFF2-40B4-BE49-F238E27FC236}">
                <a16:creationId xmlns:a16="http://schemas.microsoft.com/office/drawing/2014/main" id="{C3DF64C3-27D4-472E-99CF-228E3AB6FBB1}"/>
              </a:ext>
            </a:extLst>
          </p:cNvPr>
          <p:cNvSpPr txBox="1"/>
          <p:nvPr/>
        </p:nvSpPr>
        <p:spPr>
          <a:xfrm>
            <a:off x="10183019" y="3206812"/>
            <a:ext cx="1368000" cy="28029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it-IT" sz="1200" b="1" dirty="0">
                <a:solidFill>
                  <a:srgbClr val="0083B8"/>
                </a:solidFill>
              </a:rPr>
              <a:t>Studenti</a:t>
            </a: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EC914D3D-8530-4F61-A083-57D96825CAB3}"/>
              </a:ext>
            </a:extLst>
          </p:cNvPr>
          <p:cNvSpPr/>
          <p:nvPr/>
        </p:nvSpPr>
        <p:spPr>
          <a:xfrm>
            <a:off x="10183020" y="3516559"/>
            <a:ext cx="148097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/>
              <a:t>Acquisizione Curriculum</a:t>
            </a:r>
            <a:endParaRPr lang="it-IT" sz="1400" b="1" i="0" dirty="0">
              <a:effectLst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64728FCA-C8C1-40AE-9446-D6D2A31B962D}"/>
              </a:ext>
            </a:extLst>
          </p:cNvPr>
          <p:cNvSpPr/>
          <p:nvPr/>
        </p:nvSpPr>
        <p:spPr>
          <a:xfrm>
            <a:off x="10183019" y="4121901"/>
            <a:ext cx="1480978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300" dirty="0"/>
              <a:t>Ogni studente diplomato ritrova il Curriculum definitivo all’interno della piattaforma</a:t>
            </a:r>
            <a:endParaRPr lang="en-US" sz="1300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92E556F-6D03-45BD-BEFE-DCE2FF63885D}"/>
              </a:ext>
            </a:extLst>
          </p:cNvPr>
          <p:cNvGrpSpPr/>
          <p:nvPr/>
        </p:nvGrpSpPr>
        <p:grpSpPr>
          <a:xfrm>
            <a:off x="792769" y="2154983"/>
            <a:ext cx="936000" cy="936000"/>
            <a:chOff x="752129" y="2154983"/>
            <a:chExt cx="936000" cy="936000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B823D12A-A18D-4946-8C72-38C5662FF92A}"/>
                </a:ext>
              </a:extLst>
            </p:cNvPr>
            <p:cNvSpPr/>
            <p:nvPr/>
          </p:nvSpPr>
          <p:spPr>
            <a:xfrm>
              <a:off x="81317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Donut 35">
              <a:extLst>
                <a:ext uri="{FF2B5EF4-FFF2-40B4-BE49-F238E27FC236}">
                  <a16:creationId xmlns:a16="http://schemas.microsoft.com/office/drawing/2014/main" id="{40341E75-9926-4E0F-B74A-3D8307DF9D99}"/>
                </a:ext>
              </a:extLst>
            </p:cNvPr>
            <p:cNvSpPr/>
            <p:nvPr/>
          </p:nvSpPr>
          <p:spPr>
            <a:xfrm>
              <a:off x="79282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Donut 36">
              <a:extLst>
                <a:ext uri="{FF2B5EF4-FFF2-40B4-BE49-F238E27FC236}">
                  <a16:creationId xmlns:a16="http://schemas.microsoft.com/office/drawing/2014/main" id="{5F0DC69F-6687-4873-9552-B2308E19FEE3}"/>
                </a:ext>
              </a:extLst>
            </p:cNvPr>
            <p:cNvSpPr/>
            <p:nvPr/>
          </p:nvSpPr>
          <p:spPr>
            <a:xfrm>
              <a:off x="75212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5" name="Picture 64" descr="A clock on a yellow building&#10;&#10;Description automatically generated">
              <a:extLst>
                <a:ext uri="{FF2B5EF4-FFF2-40B4-BE49-F238E27FC236}">
                  <a16:creationId xmlns:a16="http://schemas.microsoft.com/office/drawing/2014/main" id="{68FBC46C-BA0E-4732-881F-0796E268D5D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0128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753176E8-8B47-4A54-AE90-A6BB560E423C}"/>
              </a:ext>
            </a:extLst>
          </p:cNvPr>
          <p:cNvGrpSpPr/>
          <p:nvPr/>
        </p:nvGrpSpPr>
        <p:grpSpPr>
          <a:xfrm>
            <a:off x="4563521" y="2154983"/>
            <a:ext cx="936000" cy="936000"/>
            <a:chOff x="4122299" y="2154983"/>
            <a:chExt cx="936000" cy="936000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B43937C7-8881-4BCF-A3C2-D4BE337D414E}"/>
                </a:ext>
              </a:extLst>
            </p:cNvPr>
            <p:cNvSpPr/>
            <p:nvPr/>
          </p:nvSpPr>
          <p:spPr>
            <a:xfrm>
              <a:off x="418334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Donut 143">
              <a:extLst>
                <a:ext uri="{FF2B5EF4-FFF2-40B4-BE49-F238E27FC236}">
                  <a16:creationId xmlns:a16="http://schemas.microsoft.com/office/drawing/2014/main" id="{0CDB8357-1119-4456-9A0B-28D415101691}"/>
                </a:ext>
              </a:extLst>
            </p:cNvPr>
            <p:cNvSpPr/>
            <p:nvPr/>
          </p:nvSpPr>
          <p:spPr>
            <a:xfrm>
              <a:off x="416299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Donut 144">
              <a:extLst>
                <a:ext uri="{FF2B5EF4-FFF2-40B4-BE49-F238E27FC236}">
                  <a16:creationId xmlns:a16="http://schemas.microsoft.com/office/drawing/2014/main" id="{5710313C-9689-4CBB-B798-7D717D2FBFB2}"/>
                </a:ext>
              </a:extLst>
            </p:cNvPr>
            <p:cNvSpPr/>
            <p:nvPr/>
          </p:nvSpPr>
          <p:spPr>
            <a:xfrm>
              <a:off x="412229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6" name="Picture 65" descr="A clock on a yellow building&#10;&#10;Description automatically generated">
              <a:extLst>
                <a:ext uri="{FF2B5EF4-FFF2-40B4-BE49-F238E27FC236}">
                  <a16:creationId xmlns:a16="http://schemas.microsoft.com/office/drawing/2014/main" id="{55314571-AFDC-4322-9E9B-0FAE87B8005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20299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6F7402BC-259D-42B5-BF70-139D1C6D67FF}"/>
              </a:ext>
            </a:extLst>
          </p:cNvPr>
          <p:cNvGrpSpPr/>
          <p:nvPr/>
        </p:nvGrpSpPr>
        <p:grpSpPr>
          <a:xfrm>
            <a:off x="8334274" y="2154983"/>
            <a:ext cx="936000" cy="936000"/>
            <a:chOff x="9177554" y="2154983"/>
            <a:chExt cx="936000" cy="936000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D1E82573-AEB7-42C7-8E7D-F46339788496}"/>
                </a:ext>
              </a:extLst>
            </p:cNvPr>
            <p:cNvSpPr/>
            <p:nvPr/>
          </p:nvSpPr>
          <p:spPr>
            <a:xfrm>
              <a:off x="9238597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Donut 167">
              <a:extLst>
                <a:ext uri="{FF2B5EF4-FFF2-40B4-BE49-F238E27FC236}">
                  <a16:creationId xmlns:a16="http://schemas.microsoft.com/office/drawing/2014/main" id="{1E518443-9DB0-4F2F-B744-2CACD0B83BAD}"/>
                </a:ext>
              </a:extLst>
            </p:cNvPr>
            <p:cNvSpPr/>
            <p:nvPr/>
          </p:nvSpPr>
          <p:spPr>
            <a:xfrm>
              <a:off x="9218250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Donut 168">
              <a:extLst>
                <a:ext uri="{FF2B5EF4-FFF2-40B4-BE49-F238E27FC236}">
                  <a16:creationId xmlns:a16="http://schemas.microsoft.com/office/drawing/2014/main" id="{3E9BCBE3-D938-4E42-B9EF-B76419ADF16F}"/>
                </a:ext>
              </a:extLst>
            </p:cNvPr>
            <p:cNvSpPr/>
            <p:nvPr/>
          </p:nvSpPr>
          <p:spPr>
            <a:xfrm>
              <a:off x="9177554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72" name="Picture 71" descr="A clock on a yellow building&#10;&#10;Description automatically generated">
              <a:extLst>
                <a:ext uri="{FF2B5EF4-FFF2-40B4-BE49-F238E27FC236}">
                  <a16:creationId xmlns:a16="http://schemas.microsoft.com/office/drawing/2014/main" id="{F68F2EF0-5F94-4124-AC8F-0D6F605D70D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75554" y="2289323"/>
              <a:ext cx="540000" cy="54000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417AA789-B257-4BE1-AC7C-D16B63FD320A}"/>
              </a:ext>
            </a:extLst>
          </p:cNvPr>
          <p:cNvGrpSpPr/>
          <p:nvPr/>
        </p:nvGrpSpPr>
        <p:grpSpPr>
          <a:xfrm>
            <a:off x="2678145" y="2154982"/>
            <a:ext cx="936000" cy="943545"/>
            <a:chOff x="2437214" y="2154982"/>
            <a:chExt cx="936000" cy="943545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7AE3AE5B-FFAE-488B-96E8-E9FE4D143630}"/>
                </a:ext>
              </a:extLst>
            </p:cNvPr>
            <p:cNvSpPr/>
            <p:nvPr/>
          </p:nvSpPr>
          <p:spPr>
            <a:xfrm>
              <a:off x="2498257" y="2216518"/>
              <a:ext cx="813913" cy="820474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Donut 149">
              <a:extLst>
                <a:ext uri="{FF2B5EF4-FFF2-40B4-BE49-F238E27FC236}">
                  <a16:creationId xmlns:a16="http://schemas.microsoft.com/office/drawing/2014/main" id="{977752B8-3DFF-4704-BD27-EBCBE51056E7}"/>
                </a:ext>
              </a:extLst>
            </p:cNvPr>
            <p:cNvSpPr/>
            <p:nvPr/>
          </p:nvSpPr>
          <p:spPr>
            <a:xfrm>
              <a:off x="2477910" y="2196006"/>
              <a:ext cx="854609" cy="861498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Donut 150">
              <a:extLst>
                <a:ext uri="{FF2B5EF4-FFF2-40B4-BE49-F238E27FC236}">
                  <a16:creationId xmlns:a16="http://schemas.microsoft.com/office/drawing/2014/main" id="{1402688E-B5A9-4FD8-A12E-12F43D89DCC3}"/>
                </a:ext>
              </a:extLst>
            </p:cNvPr>
            <p:cNvSpPr/>
            <p:nvPr/>
          </p:nvSpPr>
          <p:spPr>
            <a:xfrm>
              <a:off x="2437214" y="2154982"/>
              <a:ext cx="936000" cy="943545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19056FC0-B19B-451F-A197-34F2541DD22F}"/>
                </a:ext>
              </a:extLst>
            </p:cNvPr>
            <p:cNvGrpSpPr/>
            <p:nvPr/>
          </p:nvGrpSpPr>
          <p:grpSpPr>
            <a:xfrm>
              <a:off x="2725810" y="2346180"/>
              <a:ext cx="358806" cy="539744"/>
              <a:chOff x="4148419" y="1868128"/>
              <a:chExt cx="358806" cy="539744"/>
            </a:xfrm>
          </p:grpSpPr>
          <p:pic>
            <p:nvPicPr>
              <p:cNvPr id="74" name="Picture 73">
                <a:extLst>
                  <a:ext uri="{FF2B5EF4-FFF2-40B4-BE49-F238E27FC236}">
                    <a16:creationId xmlns:a16="http://schemas.microsoft.com/office/drawing/2014/main" id="{436CDFB2-35E8-4A26-948F-1200C275E88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l="21406" t="58006" r="16225"/>
              <a:stretch/>
            </p:blipFill>
            <p:spPr>
              <a:xfrm>
                <a:off x="4148419" y="2166374"/>
                <a:ext cx="358669" cy="241498"/>
              </a:xfrm>
              <a:prstGeom prst="rect">
                <a:avLst/>
              </a:prstGeom>
            </p:spPr>
          </p:pic>
          <p:pic>
            <p:nvPicPr>
              <p:cNvPr id="75" name="Picture 74">
                <a:extLst>
                  <a:ext uri="{FF2B5EF4-FFF2-40B4-BE49-F238E27FC236}">
                    <a16:creationId xmlns:a16="http://schemas.microsoft.com/office/drawing/2014/main" id="{E970A611-6658-4041-982D-A997475DBD3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l="29906" t="6144" r="16225" b="41709"/>
              <a:stretch/>
            </p:blipFill>
            <p:spPr>
              <a:xfrm>
                <a:off x="4197439" y="1868128"/>
                <a:ext cx="309786" cy="299885"/>
              </a:xfrm>
              <a:prstGeom prst="rect">
                <a:avLst/>
              </a:prstGeom>
            </p:spPr>
          </p:pic>
        </p:grp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2F23A6AE-9272-4233-AC8F-2A75B4D5F413}"/>
              </a:ext>
            </a:extLst>
          </p:cNvPr>
          <p:cNvGrpSpPr/>
          <p:nvPr/>
        </p:nvGrpSpPr>
        <p:grpSpPr>
          <a:xfrm>
            <a:off x="6448897" y="2154983"/>
            <a:ext cx="936000" cy="936000"/>
            <a:chOff x="6608549" y="2154983"/>
            <a:chExt cx="936000" cy="936000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58B414E2-A075-436D-ABE7-5F9637B6034E}"/>
                </a:ext>
              </a:extLst>
            </p:cNvPr>
            <p:cNvSpPr/>
            <p:nvPr/>
          </p:nvSpPr>
          <p:spPr>
            <a:xfrm>
              <a:off x="6669592" y="2216026"/>
              <a:ext cx="813913" cy="813913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Donut 161">
              <a:extLst>
                <a:ext uri="{FF2B5EF4-FFF2-40B4-BE49-F238E27FC236}">
                  <a16:creationId xmlns:a16="http://schemas.microsoft.com/office/drawing/2014/main" id="{ACCEF2FF-A2DD-4CC8-925A-F8F2D005292A}"/>
                </a:ext>
              </a:extLst>
            </p:cNvPr>
            <p:cNvSpPr/>
            <p:nvPr/>
          </p:nvSpPr>
          <p:spPr>
            <a:xfrm>
              <a:off x="6649245" y="2195679"/>
              <a:ext cx="854609" cy="854609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Donut 162">
              <a:extLst>
                <a:ext uri="{FF2B5EF4-FFF2-40B4-BE49-F238E27FC236}">
                  <a16:creationId xmlns:a16="http://schemas.microsoft.com/office/drawing/2014/main" id="{C4F122CF-A85A-4C1C-9721-16ECF7206BF1}"/>
                </a:ext>
              </a:extLst>
            </p:cNvPr>
            <p:cNvSpPr/>
            <p:nvPr/>
          </p:nvSpPr>
          <p:spPr>
            <a:xfrm>
              <a:off x="6608549" y="2154983"/>
              <a:ext cx="936000" cy="936000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82" name="Picture 81" descr="Icon&#10;&#10;Description automatically generated">
              <a:extLst>
                <a:ext uri="{FF2B5EF4-FFF2-40B4-BE49-F238E27FC236}">
                  <a16:creationId xmlns:a16="http://schemas.microsoft.com/office/drawing/2014/main" id="{2A8DA1B1-6D01-4F44-BAD1-1AC01CAB583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06549" y="2352983"/>
              <a:ext cx="540000" cy="540000"/>
            </a:xfrm>
            <a:prstGeom prst="rect">
              <a:avLst/>
            </a:prstGeom>
          </p:spPr>
        </p:pic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87DB7B61-FE12-4C6E-9458-C6B52D5F7849}"/>
              </a:ext>
            </a:extLst>
          </p:cNvPr>
          <p:cNvSpPr/>
          <p:nvPr/>
        </p:nvSpPr>
        <p:spPr>
          <a:xfrm>
            <a:off x="594278" y="3225652"/>
            <a:ext cx="1917250" cy="2870348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F6383DCF-04E4-41C8-9FCF-58F0B5F67CEA}"/>
              </a:ext>
            </a:extLst>
          </p:cNvPr>
          <p:cNvSpPr/>
          <p:nvPr/>
        </p:nvSpPr>
        <p:spPr>
          <a:xfrm>
            <a:off x="4492495" y="3149980"/>
            <a:ext cx="1784408" cy="3134508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97388C7C-0642-47A5-8D19-B182D7837AD3}"/>
              </a:ext>
            </a:extLst>
          </p:cNvPr>
          <p:cNvSpPr/>
          <p:nvPr/>
        </p:nvSpPr>
        <p:spPr>
          <a:xfrm>
            <a:off x="769264" y="2145350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4CA2913E-186E-4F07-99A9-87825D30956B}"/>
              </a:ext>
            </a:extLst>
          </p:cNvPr>
          <p:cNvSpPr/>
          <p:nvPr/>
        </p:nvSpPr>
        <p:spPr>
          <a:xfrm>
            <a:off x="4560484" y="2134827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9D14EDE5-ECC5-4147-943D-6896458D79FD}"/>
              </a:ext>
            </a:extLst>
          </p:cNvPr>
          <p:cNvSpPr/>
          <p:nvPr/>
        </p:nvSpPr>
        <p:spPr>
          <a:xfrm>
            <a:off x="8295158" y="2154982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90F5DC8F-8190-455A-A201-D065BCDDE6EC}"/>
              </a:ext>
            </a:extLst>
          </p:cNvPr>
          <p:cNvSpPr/>
          <p:nvPr/>
        </p:nvSpPr>
        <p:spPr>
          <a:xfrm>
            <a:off x="8277674" y="3200978"/>
            <a:ext cx="1784408" cy="3134508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74B50975-6D3D-407B-912B-C8A5951DE49A}"/>
              </a:ext>
            </a:extLst>
          </p:cNvPr>
          <p:cNvSpPr/>
          <p:nvPr/>
        </p:nvSpPr>
        <p:spPr>
          <a:xfrm>
            <a:off x="2499273" y="3164117"/>
            <a:ext cx="1903873" cy="3134508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81D497F9-1CF1-4407-987D-4BA1924E4318}"/>
              </a:ext>
            </a:extLst>
          </p:cNvPr>
          <p:cNvSpPr/>
          <p:nvPr/>
        </p:nvSpPr>
        <p:spPr>
          <a:xfrm>
            <a:off x="2678145" y="2145350"/>
            <a:ext cx="966193" cy="979340"/>
          </a:xfrm>
          <a:prstGeom prst="ellipse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4A14F839-CEBD-4DD7-B41E-1D98F09D62FB}"/>
              </a:ext>
            </a:extLst>
          </p:cNvPr>
          <p:cNvSpPr/>
          <p:nvPr/>
        </p:nvSpPr>
        <p:spPr>
          <a:xfrm>
            <a:off x="10118231" y="2033832"/>
            <a:ext cx="1676051" cy="3780829"/>
          </a:xfrm>
          <a:prstGeom prst="rect">
            <a:avLst/>
          </a:prstGeom>
          <a:solidFill>
            <a:schemeClr val="bg1">
              <a:alpha val="8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US" sz="9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26245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8F3848D-F3E5-4215-9CB2-31A8B219F835}"/>
              </a:ext>
            </a:extLst>
          </p:cNvPr>
          <p:cNvSpPr/>
          <p:nvPr/>
        </p:nvSpPr>
        <p:spPr>
          <a:xfrm>
            <a:off x="1775638" y="1626784"/>
            <a:ext cx="9533860" cy="4444409"/>
          </a:xfrm>
          <a:prstGeom prst="rect">
            <a:avLst/>
          </a:prstGeom>
          <a:solidFill>
            <a:srgbClr val="B7E0EC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1200"/>
              </a:spcBef>
              <a:spcAft>
                <a:spcPts val="1200"/>
              </a:spcAft>
            </a:pPr>
            <a:endParaRPr lang="it-IT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2289A1-C2F2-4757-83DA-8BAE80A160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sym typeface="Dosis Light"/>
              </a:rPr>
              <a:t>Candidati esterni</a:t>
            </a:r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17C5BB9-3C22-41E4-8B90-2BB189A767E3}"/>
              </a:ext>
            </a:extLst>
          </p:cNvPr>
          <p:cNvSpPr/>
          <p:nvPr/>
        </p:nvSpPr>
        <p:spPr>
          <a:xfrm>
            <a:off x="3029106" y="1714730"/>
            <a:ext cx="8186290" cy="4263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Aft>
                <a:spcPts val="600"/>
              </a:spcAft>
            </a:pPr>
            <a:r>
              <a:rPr lang="it-IT" sz="1600" dirty="0"/>
              <a:t>I </a:t>
            </a:r>
            <a:r>
              <a:rPr lang="it-IT" sz="1600" b="1" dirty="0"/>
              <a:t>candidati esterni procedono con la compilazione del </a:t>
            </a:r>
            <a:r>
              <a:rPr lang="it-IT" sz="1600" b="1" i="1" dirty="0"/>
              <a:t>Curriculum</a:t>
            </a:r>
            <a:r>
              <a:rPr lang="it-IT" sz="1600" b="1" dirty="0"/>
              <a:t> prima di sostenere l’esame preliminare: </a:t>
            </a:r>
            <a:r>
              <a:rPr lang="it-IT" sz="1600" dirty="0"/>
              <a:t>il Curriculum viene </a:t>
            </a:r>
            <a:r>
              <a:rPr lang="it-IT" sz="1600" b="1" dirty="0"/>
              <a:t>consolidato </a:t>
            </a:r>
            <a:r>
              <a:rPr lang="it-IT" sz="1600" dirty="0"/>
              <a:t>dalle segreterie </a:t>
            </a:r>
            <a:r>
              <a:rPr lang="it-IT" sz="1600" b="1" dirty="0"/>
              <a:t>solo in caso di ammissione all’esame. </a:t>
            </a:r>
          </a:p>
          <a:p>
            <a:pPr algn="just">
              <a:lnSpc>
                <a:spcPct val="150000"/>
              </a:lnSpc>
              <a:spcAft>
                <a:spcPts val="600"/>
              </a:spcAft>
            </a:pPr>
            <a:r>
              <a:rPr lang="it-IT" sz="1600" dirty="0"/>
              <a:t>In considerazione del particolare percorso scolastico seguito, che non permette in alcuni casi di ritrovare tutte le informazioni nel sistema informativo del Ministero, i </a:t>
            </a:r>
            <a:r>
              <a:rPr lang="it-IT" sz="1600" b="1" dirty="0"/>
              <a:t>candidati esterni trovano nella piattaforma delle sezioni aggiuntive rispetto ai candidati interni,</a:t>
            </a:r>
            <a:r>
              <a:rPr lang="it-IT" sz="1600" dirty="0"/>
              <a:t> per integrare le informazioni riguardanti: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600" dirty="0"/>
              <a:t>qualifiche e diplomi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600" dirty="0"/>
              <a:t>esperienze di apprendistato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600" dirty="0"/>
              <a:t>mobilità studentesca</a:t>
            </a:r>
          </a:p>
          <a:p>
            <a:pPr marL="285750" indent="-28575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600" dirty="0"/>
              <a:t>eventuali attività assimilabili ai </a:t>
            </a:r>
            <a:r>
              <a:rPr lang="it-IT" sz="1600" dirty="0" err="1"/>
              <a:t>PCTO</a:t>
            </a:r>
            <a:endParaRPr lang="en-US" sz="1600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D04D70A-813A-475E-8EA2-FEEC90813B2E}"/>
              </a:ext>
            </a:extLst>
          </p:cNvPr>
          <p:cNvGrpSpPr/>
          <p:nvPr/>
        </p:nvGrpSpPr>
        <p:grpSpPr>
          <a:xfrm>
            <a:off x="631775" y="2860321"/>
            <a:ext cx="2063976" cy="2080034"/>
            <a:chOff x="2437214" y="2154982"/>
            <a:chExt cx="936000" cy="943545"/>
          </a:xfrm>
        </p:grpSpPr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E3844739-DB1F-4AEA-9DDC-63C8DBAB0BCD}"/>
                </a:ext>
              </a:extLst>
            </p:cNvPr>
            <p:cNvSpPr/>
            <p:nvPr/>
          </p:nvSpPr>
          <p:spPr>
            <a:xfrm>
              <a:off x="2498257" y="2216518"/>
              <a:ext cx="813913" cy="82047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Donut 149">
              <a:extLst>
                <a:ext uri="{FF2B5EF4-FFF2-40B4-BE49-F238E27FC236}">
                  <a16:creationId xmlns:a16="http://schemas.microsoft.com/office/drawing/2014/main" id="{088295CA-CFEA-400E-8292-2D268AE628B2}"/>
                </a:ext>
              </a:extLst>
            </p:cNvPr>
            <p:cNvSpPr/>
            <p:nvPr/>
          </p:nvSpPr>
          <p:spPr>
            <a:xfrm>
              <a:off x="2477910" y="2196006"/>
              <a:ext cx="854609" cy="861498"/>
            </a:xfrm>
            <a:prstGeom prst="donut">
              <a:avLst>
                <a:gd name="adj" fmla="val 9855"/>
              </a:avLst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Donut 150">
              <a:extLst>
                <a:ext uri="{FF2B5EF4-FFF2-40B4-BE49-F238E27FC236}">
                  <a16:creationId xmlns:a16="http://schemas.microsoft.com/office/drawing/2014/main" id="{D7E3F61B-67D7-4915-8112-D0CD25E1BEA0}"/>
                </a:ext>
              </a:extLst>
            </p:cNvPr>
            <p:cNvSpPr/>
            <p:nvPr/>
          </p:nvSpPr>
          <p:spPr>
            <a:xfrm>
              <a:off x="2437214" y="2154982"/>
              <a:ext cx="936000" cy="943545"/>
            </a:xfrm>
            <a:prstGeom prst="donut">
              <a:avLst>
                <a:gd name="adj" fmla="val 9855"/>
              </a:avLst>
            </a:prstGeom>
            <a:solidFill>
              <a:srgbClr val="FDE69B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15" name="Picture 14" descr="Icon&#10;&#10;Description automatically generated">
            <a:extLst>
              <a:ext uri="{FF2B5EF4-FFF2-40B4-BE49-F238E27FC236}">
                <a16:creationId xmlns:a16="http://schemas.microsoft.com/office/drawing/2014/main" id="{0011D810-6F27-48BB-BF5F-F40767C3BAC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0264" y="3294284"/>
            <a:ext cx="1212108" cy="1212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899832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37597E-228D-4789-A62F-80F07E1E04FA}"/>
              </a:ext>
            </a:extLst>
          </p:cNvPr>
          <p:cNvSpPr/>
          <p:nvPr/>
        </p:nvSpPr>
        <p:spPr>
          <a:xfrm>
            <a:off x="0" y="0"/>
            <a:ext cx="6095998" cy="6895021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6F35BB9-EF1C-40A4-B712-C382C3941380}"/>
              </a:ext>
            </a:extLst>
          </p:cNvPr>
          <p:cNvSpPr/>
          <p:nvPr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D9A6D697-F3B8-46B4-BB1D-DD080399DF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550858" y="2530461"/>
            <a:ext cx="6895020" cy="1804737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8A8CCE68-CEB1-4DBD-B64A-05F58866373D}"/>
              </a:ext>
            </a:extLst>
          </p:cNvPr>
          <p:cNvSpPr/>
          <p:nvPr/>
        </p:nvSpPr>
        <p:spPr>
          <a:xfrm flipH="1">
            <a:off x="6318982" y="-35749"/>
            <a:ext cx="1565945" cy="6966518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9B8B768F-4202-4EBB-9ADC-D437EEF4816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33071" y="934915"/>
            <a:ext cx="2453489" cy="89307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AAB629E7-3D90-4130-BB5D-916C74E26078}"/>
              </a:ext>
            </a:extLst>
          </p:cNvPr>
          <p:cNvSpPr txBox="1"/>
          <p:nvPr/>
        </p:nvSpPr>
        <p:spPr>
          <a:xfrm>
            <a:off x="8048380" y="2079376"/>
            <a:ext cx="381975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3600" b="1" dirty="0">
                <a:solidFill>
                  <a:srgbClr val="179DC2"/>
                </a:solidFill>
                <a:latin typeface="Comfortaa" pitchFamily="2" charset="0"/>
                <a:sym typeface="Dosis Light"/>
              </a:rPr>
              <a:t>Agenda</a:t>
            </a:r>
          </a:p>
          <a:p>
            <a:pPr algn="r"/>
            <a:endParaRPr lang="en-US" sz="3600" b="1" dirty="0">
              <a:solidFill>
                <a:srgbClr val="179DC2"/>
              </a:solidFill>
              <a:latin typeface="Comfortaa" pitchFamily="2" charset="0"/>
              <a:sym typeface="Dosis Light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649EB0D-30E0-4254-92D5-CA0391CD20A3}"/>
              </a:ext>
            </a:extLst>
          </p:cNvPr>
          <p:cNvCxnSpPr>
            <a:cxnSpLocks/>
          </p:cNvCxnSpPr>
          <p:nvPr/>
        </p:nvCxnSpPr>
        <p:spPr>
          <a:xfrm>
            <a:off x="8237989" y="1943501"/>
            <a:ext cx="3548571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D253483-0DD0-4C97-A1F3-1A53DBDDB47A}"/>
              </a:ext>
            </a:extLst>
          </p:cNvPr>
          <p:cNvCxnSpPr/>
          <p:nvPr/>
        </p:nvCxnSpPr>
        <p:spPr>
          <a:xfrm>
            <a:off x="1115630" y="0"/>
            <a:ext cx="0" cy="6840000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id="{6FDB52C2-7E92-42C3-8F28-6AB3B6D9A565}"/>
              </a:ext>
            </a:extLst>
          </p:cNvPr>
          <p:cNvSpPr/>
          <p:nvPr/>
        </p:nvSpPr>
        <p:spPr>
          <a:xfrm>
            <a:off x="767726" y="1031171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</a:rPr>
              <a:t>01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CC0F13CB-0E49-4DDD-B2B1-52E48A435425}"/>
              </a:ext>
            </a:extLst>
          </p:cNvPr>
          <p:cNvSpPr/>
          <p:nvPr/>
        </p:nvSpPr>
        <p:spPr>
          <a:xfrm>
            <a:off x="767726" y="2750088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DC658E9-C935-45D4-9FA4-5F4F47F66463}"/>
              </a:ext>
            </a:extLst>
          </p:cNvPr>
          <p:cNvSpPr/>
          <p:nvPr/>
        </p:nvSpPr>
        <p:spPr>
          <a:xfrm>
            <a:off x="767726" y="4469004"/>
            <a:ext cx="684000" cy="684000"/>
          </a:xfrm>
          <a:prstGeom prst="ellipse">
            <a:avLst/>
          </a:prstGeom>
          <a:solidFill>
            <a:srgbClr val="AB244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84E30F9-4F92-4B34-8893-462FF23256A8}"/>
              </a:ext>
            </a:extLst>
          </p:cNvPr>
          <p:cNvSpPr txBox="1"/>
          <p:nvPr/>
        </p:nvSpPr>
        <p:spPr>
          <a:xfrm>
            <a:off x="1592061" y="1096172"/>
            <a:ext cx="39888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tx2"/>
                </a:solidFill>
              </a:rPr>
              <a:t>Il Curriculum dello studente</a:t>
            </a:r>
          </a:p>
          <a:p>
            <a:r>
              <a:rPr lang="it-IT" sz="1200" dirty="0">
                <a:solidFill>
                  <a:schemeClr val="tx2"/>
                </a:solidFill>
              </a:rPr>
              <a:t>Valore, attori coinvolti, struttura e riferimenti normativi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1F6BAE7-68BB-4399-BA0B-B1A35B6735D3}"/>
              </a:ext>
            </a:extLst>
          </p:cNvPr>
          <p:cNvSpPr txBox="1"/>
          <p:nvPr/>
        </p:nvSpPr>
        <p:spPr>
          <a:xfrm>
            <a:off x="1592061" y="2815089"/>
            <a:ext cx="39888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tx2"/>
                </a:solidFill>
              </a:rPr>
              <a:t>Il processo di realizzazione</a:t>
            </a:r>
          </a:p>
          <a:p>
            <a:r>
              <a:rPr lang="it-IT" sz="1200" dirty="0">
                <a:solidFill>
                  <a:schemeClr val="tx2"/>
                </a:solidFill>
              </a:rPr>
              <a:t>Le attività previst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98FBB9B-1226-4C09-9AFC-ED406DFADFEB}"/>
              </a:ext>
            </a:extLst>
          </p:cNvPr>
          <p:cNvSpPr txBox="1"/>
          <p:nvPr/>
        </p:nvSpPr>
        <p:spPr>
          <a:xfrm>
            <a:off x="1592060" y="4307465"/>
            <a:ext cx="450393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bg1"/>
                </a:solidFill>
              </a:rPr>
              <a:t>L’introduzione del Curriculum nell’anno scolastico 2020/21</a:t>
            </a:r>
          </a:p>
          <a:p>
            <a:r>
              <a:rPr lang="it-IT" sz="1200" dirty="0">
                <a:solidFill>
                  <a:schemeClr val="bg1"/>
                </a:solidFill>
              </a:rPr>
              <a:t>Le operazioni da svolgere e gli strumenti di accompagnamento </a:t>
            </a:r>
          </a:p>
        </p:txBody>
      </p:sp>
    </p:spTree>
    <p:extLst>
      <p:ext uri="{BB962C8B-B14F-4D97-AF65-F5344CB8AC3E}">
        <p14:creationId xmlns:p14="http://schemas.microsoft.com/office/powerpoint/2010/main" val="243164129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>
                <a:sym typeface="Dosis Light"/>
              </a:rPr>
              <a:t>Il contesto di riferimento per l’a.s. 2020/21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1474676" y="1347415"/>
            <a:ext cx="9827782" cy="614199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 l’a.s. 2020/21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no interessate </a:t>
            </a: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 classi finali del percorso di studio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classi V o IV per quadriennali)</a:t>
            </a:r>
          </a:p>
        </p:txBody>
      </p:sp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id="{0E72F072-1449-4C29-9BE1-7DA24B27E6A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775" y="1362975"/>
            <a:ext cx="575913" cy="575913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1474676" y="2357443"/>
            <a:ext cx="9827781" cy="614199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impatto sul lavoro delle scuole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è minimo: si tratta di consolidare la presenza di informazioni già precaricate a sistema con eventuali integrazioni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04B224B6-33B1-431E-9F21-EE7EFA96AF8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85444" y="2412207"/>
            <a:ext cx="518569" cy="51413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1474675" y="3367471"/>
            <a:ext cx="9827781" cy="614199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prima istanza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l’utilizzo del Curriculum è finalizzato all’esame di Stato, in particolare è messo a disposizione della Commissione che ne tiene conto nello svolgimento dei colloqui</a:t>
            </a:r>
          </a:p>
        </p:txBody>
      </p:sp>
      <p:pic>
        <p:nvPicPr>
          <p:cNvPr id="23" name="Picture 22" descr="Icon&#10;&#10;Description automatically generated">
            <a:extLst>
              <a:ext uri="{FF2B5EF4-FFF2-40B4-BE49-F238E27FC236}">
                <a16:creationId xmlns:a16="http://schemas.microsoft.com/office/drawing/2014/main" id="{F93500A2-9195-4D7C-948A-DA701067F70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404" y="3402384"/>
            <a:ext cx="556608" cy="556608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1474675" y="4377499"/>
            <a:ext cx="9827781" cy="614199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 Curriculum è allegato al diploma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art. 21 D.lgs. 62/2017 e Ordinanza 3 marzo 2021, n. 53)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E9E75521-2D6E-4BBE-8D66-D6182D846E29}"/>
              </a:ext>
            </a:extLst>
          </p:cNvPr>
          <p:cNvGrpSpPr/>
          <p:nvPr/>
        </p:nvGrpSpPr>
        <p:grpSpPr>
          <a:xfrm>
            <a:off x="673976" y="4415785"/>
            <a:ext cx="556608" cy="575913"/>
            <a:chOff x="873534" y="5159693"/>
            <a:chExt cx="833838" cy="934920"/>
          </a:xfrm>
        </p:grpSpPr>
        <p:pic>
          <p:nvPicPr>
            <p:cNvPr id="25" name="Picture 24" descr="A picture containing chart&#10;&#10;Description automatically generated">
              <a:extLst>
                <a:ext uri="{FF2B5EF4-FFF2-40B4-BE49-F238E27FC236}">
                  <a16:creationId xmlns:a16="http://schemas.microsoft.com/office/drawing/2014/main" id="{4C5D352A-26D9-4E1C-9082-9D786253D31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3534" y="5159693"/>
              <a:ext cx="811213" cy="811214"/>
            </a:xfrm>
            <a:prstGeom prst="rect">
              <a:avLst/>
            </a:prstGeom>
          </p:spPr>
        </p:pic>
        <p:pic>
          <p:nvPicPr>
            <p:cNvPr id="27" name="Picture 26" descr="Icon&#10;&#10;Description automatically generated">
              <a:extLst>
                <a:ext uri="{FF2B5EF4-FFF2-40B4-BE49-F238E27FC236}">
                  <a16:creationId xmlns:a16="http://schemas.microsoft.com/office/drawing/2014/main" id="{1112A7E7-CCBF-4F5B-917D-89984B0ADE9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17426" y="5604667"/>
              <a:ext cx="489946" cy="489946"/>
            </a:xfrm>
            <a:prstGeom prst="rect">
              <a:avLst/>
            </a:prstGeom>
          </p:spPr>
        </p:pic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F5933533-15DF-4DAE-B641-42B1954F84D0}"/>
              </a:ext>
            </a:extLst>
          </p:cNvPr>
          <p:cNvSpPr/>
          <p:nvPr/>
        </p:nvSpPr>
        <p:spPr>
          <a:xfrm>
            <a:off x="1474675" y="5312859"/>
            <a:ext cx="9827781" cy="614199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ccessivamente saranno valutate eventuali evoluzioni future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pubblicazione del Curriculum, dematerializzazione del diploma, identità digitale) come previsto dall’art 3, DM 6/08/2020, n. 88</a:t>
            </a:r>
          </a:p>
        </p:txBody>
      </p:sp>
      <p:pic>
        <p:nvPicPr>
          <p:cNvPr id="3" name="Picture 2" descr="Icon&#10;&#10;Description automatically generated">
            <a:extLst>
              <a:ext uri="{FF2B5EF4-FFF2-40B4-BE49-F238E27FC236}">
                <a16:creationId xmlns:a16="http://schemas.microsoft.com/office/drawing/2014/main" id="{E4E14B80-7563-4ED3-899B-B99DEA8A4F7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938" y="5312923"/>
            <a:ext cx="614135" cy="614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39780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>
                <a:sym typeface="Dosis Light"/>
              </a:rPr>
              <a:t>La popolazione interessata</a:t>
            </a:r>
            <a:br>
              <a:rPr lang="it-IT" dirty="0">
                <a:sym typeface="Dosis Light"/>
              </a:rPr>
            </a:br>
            <a:endParaRPr lang="it-IT" dirty="0">
              <a:sym typeface="Dosis Light"/>
            </a:endParaRPr>
          </a:p>
        </p:txBody>
      </p:sp>
      <p:sp>
        <p:nvSpPr>
          <p:cNvPr id="5" name="Rounded Rectangle 13"/>
          <p:cNvSpPr/>
          <p:nvPr/>
        </p:nvSpPr>
        <p:spPr>
          <a:xfrm>
            <a:off x="3362325" y="1668949"/>
            <a:ext cx="2160000" cy="720000"/>
          </a:xfrm>
          <a:prstGeom prst="roundRect">
            <a:avLst/>
          </a:prstGeom>
          <a:solidFill>
            <a:srgbClr val="AB24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sz="1600" b="1" dirty="0">
                <a:solidFill>
                  <a:schemeClr val="bg1"/>
                </a:solidFill>
              </a:rPr>
              <a:t>SCUOLE</a:t>
            </a:r>
          </a:p>
        </p:txBody>
      </p:sp>
      <p:sp>
        <p:nvSpPr>
          <p:cNvPr id="7" name="Rounded Rectangle 16"/>
          <p:cNvSpPr/>
          <p:nvPr/>
        </p:nvSpPr>
        <p:spPr>
          <a:xfrm>
            <a:off x="3362325" y="2714340"/>
            <a:ext cx="2160000" cy="720000"/>
          </a:xfrm>
          <a:prstGeom prst="roundRect">
            <a:avLst/>
          </a:prstGeom>
          <a:solidFill>
            <a:srgbClr val="FDE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sz="1600" b="1" dirty="0">
                <a:solidFill>
                  <a:schemeClr val="tx1"/>
                </a:solidFill>
              </a:rPr>
              <a:t>COMMISSIONI</a:t>
            </a:r>
          </a:p>
        </p:txBody>
      </p:sp>
      <p:sp>
        <p:nvSpPr>
          <p:cNvPr id="8" name="Rounded Rectangle 18"/>
          <p:cNvSpPr/>
          <p:nvPr/>
        </p:nvSpPr>
        <p:spPr>
          <a:xfrm>
            <a:off x="3362325" y="3759731"/>
            <a:ext cx="2160000" cy="72000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38100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ctr"/>
          <a:lstStyle/>
          <a:p>
            <a:pPr algn="ctr"/>
            <a:r>
              <a:rPr lang="it-IT" sz="1600" b="1" dirty="0">
                <a:solidFill>
                  <a:schemeClr val="tx1"/>
                </a:solidFill>
              </a:rPr>
              <a:t>CLASSI </a:t>
            </a:r>
          </a:p>
          <a:p>
            <a:pPr algn="ctr"/>
            <a:r>
              <a:rPr lang="it-IT" sz="1600" b="1" dirty="0">
                <a:solidFill>
                  <a:schemeClr val="tx1"/>
                </a:solidFill>
              </a:rPr>
              <a:t>COINVOLTE</a:t>
            </a:r>
          </a:p>
        </p:txBody>
      </p:sp>
      <p:sp>
        <p:nvSpPr>
          <p:cNvPr id="9" name="Rounded Rectangle 19"/>
          <p:cNvSpPr/>
          <p:nvPr/>
        </p:nvSpPr>
        <p:spPr>
          <a:xfrm>
            <a:off x="3362325" y="4805121"/>
            <a:ext cx="2160000" cy="720000"/>
          </a:xfrm>
          <a:prstGeom prst="roundRect">
            <a:avLst/>
          </a:prstGeom>
          <a:solidFill>
            <a:srgbClr val="B7E0EC"/>
          </a:solidFill>
        </p:spPr>
        <p:txBody>
          <a:bodyPr wrap="square" anchor="ctr">
            <a:noAutofit/>
          </a:bodyPr>
          <a:lstStyle/>
          <a:p>
            <a:pPr algn="ctr"/>
            <a:r>
              <a:rPr lang="it-IT" sz="1600" b="1" dirty="0">
                <a:solidFill>
                  <a:schemeClr val="tx1"/>
                </a:solidFill>
              </a:rPr>
              <a:t> STUDENTI</a:t>
            </a:r>
          </a:p>
        </p:txBody>
      </p:sp>
      <p:sp>
        <p:nvSpPr>
          <p:cNvPr id="10" name="TextBox 26"/>
          <p:cNvSpPr txBox="1"/>
          <p:nvPr/>
        </p:nvSpPr>
        <p:spPr>
          <a:xfrm>
            <a:off x="5990739" y="2714340"/>
            <a:ext cx="2160000" cy="720000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txBody>
          <a:bodyPr wrap="square" lIns="72000" tIns="36000" rIns="72000" bIns="36000" rtlCol="0" anchor="ctr">
            <a:noAutofit/>
          </a:bodyPr>
          <a:lstStyle/>
          <a:p>
            <a:pPr algn="ctr"/>
            <a:r>
              <a:rPr lang="it-IT" b="1" dirty="0"/>
              <a:t> circa 13.000 </a:t>
            </a:r>
          </a:p>
        </p:txBody>
      </p:sp>
      <p:sp>
        <p:nvSpPr>
          <p:cNvPr id="11" name="TextBox 29"/>
          <p:cNvSpPr txBox="1"/>
          <p:nvPr/>
        </p:nvSpPr>
        <p:spPr>
          <a:xfrm>
            <a:off x="5990739" y="3759731"/>
            <a:ext cx="2160000" cy="720000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txBody>
          <a:bodyPr wrap="square" lIns="72000" tIns="36000" rIns="72000" bIns="36000" rtlCol="0" anchor="ctr">
            <a:noAutofit/>
          </a:bodyPr>
          <a:lstStyle/>
          <a:p>
            <a:pPr algn="ctr"/>
            <a:r>
              <a:rPr lang="it-IT" b="1" dirty="0"/>
              <a:t> circa 26.000</a:t>
            </a:r>
          </a:p>
        </p:txBody>
      </p:sp>
      <p:sp>
        <p:nvSpPr>
          <p:cNvPr id="12" name="TextBox 30"/>
          <p:cNvSpPr txBox="1"/>
          <p:nvPr/>
        </p:nvSpPr>
        <p:spPr>
          <a:xfrm>
            <a:off x="5990739" y="4805121"/>
            <a:ext cx="2160000" cy="720000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txBody>
          <a:bodyPr wrap="square" lIns="72000" tIns="36000" rIns="72000" bIns="36000" rtlCol="0" anchor="ctr">
            <a:noAutofit/>
          </a:bodyPr>
          <a:lstStyle/>
          <a:p>
            <a:pPr algn="ctr"/>
            <a:r>
              <a:rPr lang="it-IT" b="1" dirty="0"/>
              <a:t> circa 500.000 </a:t>
            </a:r>
          </a:p>
        </p:txBody>
      </p:sp>
      <p:sp>
        <p:nvSpPr>
          <p:cNvPr id="13" name="TextBox 26"/>
          <p:cNvSpPr txBox="1"/>
          <p:nvPr/>
        </p:nvSpPr>
        <p:spPr>
          <a:xfrm>
            <a:off x="5990739" y="1668949"/>
            <a:ext cx="2160000" cy="720000"/>
          </a:xfrm>
          <a:prstGeom prst="rect">
            <a:avLst/>
          </a:prstGeom>
          <a:noFill/>
          <a:ln w="19050">
            <a:solidFill>
              <a:schemeClr val="tx1"/>
            </a:solidFill>
            <a:prstDash val="dash"/>
          </a:ln>
        </p:spPr>
        <p:txBody>
          <a:bodyPr wrap="square" lIns="72000" tIns="36000" rIns="72000" bIns="36000" rtlCol="0" anchor="ctr">
            <a:noAutofit/>
          </a:bodyPr>
          <a:lstStyle/>
          <a:p>
            <a:pPr algn="ctr"/>
            <a:r>
              <a:rPr lang="it-IT" b="1" dirty="0"/>
              <a:t> circa 7.000 </a:t>
            </a:r>
          </a:p>
        </p:txBody>
      </p:sp>
      <p:pic>
        <p:nvPicPr>
          <p:cNvPr id="18" name="Picture 17" descr="A clock on a yellow building&#10;&#10;Description automatically generated">
            <a:extLst>
              <a:ext uri="{FF2B5EF4-FFF2-40B4-BE49-F238E27FC236}">
                <a16:creationId xmlns:a16="http://schemas.microsoft.com/office/drawing/2014/main" id="{81D23BE2-8037-4EE4-A400-CD438832136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5131" y="1544708"/>
            <a:ext cx="809009" cy="809009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C11CA78-EDEF-4E60-8FC6-4B87939724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24568" y="4592627"/>
            <a:ext cx="978901" cy="978901"/>
          </a:xfrm>
          <a:prstGeom prst="rect">
            <a:avLst/>
          </a:prstGeom>
        </p:spPr>
      </p:pic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F720A010-A5C2-492A-BFB3-EF26BA74954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0415" y="3574923"/>
            <a:ext cx="869536" cy="869536"/>
          </a:xfrm>
          <a:prstGeom prst="rect">
            <a:avLst/>
          </a:prstGeom>
        </p:spPr>
      </p:pic>
      <p:pic>
        <p:nvPicPr>
          <p:cNvPr id="16" name="Picture 15" descr="Icon&#10;&#10;Description automatically generated">
            <a:extLst>
              <a:ext uri="{FF2B5EF4-FFF2-40B4-BE49-F238E27FC236}">
                <a16:creationId xmlns:a16="http://schemas.microsoft.com/office/drawing/2014/main" id="{7A80D990-B401-4EAA-ABD0-014F06B8EC7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5861" y="2552407"/>
            <a:ext cx="912905" cy="912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48540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37597E-228D-4789-A62F-80F07E1E04FA}"/>
              </a:ext>
            </a:extLst>
          </p:cNvPr>
          <p:cNvSpPr/>
          <p:nvPr/>
        </p:nvSpPr>
        <p:spPr>
          <a:xfrm>
            <a:off x="0" y="0"/>
            <a:ext cx="6095998" cy="6895021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6F35BB9-EF1C-40A4-B712-C382C3941380}"/>
              </a:ext>
            </a:extLst>
          </p:cNvPr>
          <p:cNvSpPr/>
          <p:nvPr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D9A6D697-F3B8-46B4-BB1D-DD080399DF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550858" y="2530461"/>
            <a:ext cx="6895020" cy="1804737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8A8CCE68-CEB1-4DBD-B64A-05F58866373D}"/>
              </a:ext>
            </a:extLst>
          </p:cNvPr>
          <p:cNvSpPr/>
          <p:nvPr/>
        </p:nvSpPr>
        <p:spPr>
          <a:xfrm flipH="1">
            <a:off x="6318982" y="-35749"/>
            <a:ext cx="1565945" cy="6966518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9B8B768F-4202-4EBB-9ADC-D437EEF4816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33071" y="934915"/>
            <a:ext cx="2453489" cy="89307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AAB629E7-3D90-4130-BB5D-916C74E26078}"/>
              </a:ext>
            </a:extLst>
          </p:cNvPr>
          <p:cNvSpPr txBox="1"/>
          <p:nvPr/>
        </p:nvSpPr>
        <p:spPr>
          <a:xfrm>
            <a:off x="8048380" y="2079376"/>
            <a:ext cx="381975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3600" b="1" dirty="0">
                <a:solidFill>
                  <a:srgbClr val="179DC2"/>
                </a:solidFill>
                <a:latin typeface="Comfortaa" pitchFamily="2" charset="0"/>
                <a:sym typeface="Dosis Light"/>
              </a:rPr>
              <a:t>Agenda</a:t>
            </a:r>
          </a:p>
          <a:p>
            <a:pPr algn="r"/>
            <a:endParaRPr lang="en-US" sz="3600" b="1" dirty="0">
              <a:solidFill>
                <a:srgbClr val="179DC2"/>
              </a:solidFill>
              <a:latin typeface="Comfortaa" pitchFamily="2" charset="0"/>
              <a:sym typeface="Dosis Light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649EB0D-30E0-4254-92D5-CA0391CD20A3}"/>
              </a:ext>
            </a:extLst>
          </p:cNvPr>
          <p:cNvCxnSpPr>
            <a:cxnSpLocks/>
          </p:cNvCxnSpPr>
          <p:nvPr/>
        </p:nvCxnSpPr>
        <p:spPr>
          <a:xfrm>
            <a:off x="8237989" y="1943501"/>
            <a:ext cx="3548571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D253483-0DD0-4C97-A1F3-1A53DBDDB47A}"/>
              </a:ext>
            </a:extLst>
          </p:cNvPr>
          <p:cNvCxnSpPr/>
          <p:nvPr/>
        </p:nvCxnSpPr>
        <p:spPr>
          <a:xfrm>
            <a:off x="1115630" y="0"/>
            <a:ext cx="0" cy="6840000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id="{6FDB52C2-7E92-42C3-8F28-6AB3B6D9A565}"/>
              </a:ext>
            </a:extLst>
          </p:cNvPr>
          <p:cNvSpPr/>
          <p:nvPr/>
        </p:nvSpPr>
        <p:spPr>
          <a:xfrm>
            <a:off x="767726" y="1031171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</a:rPr>
              <a:t>01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CC0F13CB-0E49-4DDD-B2B1-52E48A435425}"/>
              </a:ext>
            </a:extLst>
          </p:cNvPr>
          <p:cNvSpPr/>
          <p:nvPr/>
        </p:nvSpPr>
        <p:spPr>
          <a:xfrm>
            <a:off x="767726" y="2750088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DC658E9-C935-45D4-9FA4-5F4F47F66463}"/>
              </a:ext>
            </a:extLst>
          </p:cNvPr>
          <p:cNvSpPr/>
          <p:nvPr/>
        </p:nvSpPr>
        <p:spPr>
          <a:xfrm>
            <a:off x="767726" y="4469004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84E30F9-4F92-4B34-8893-462FF23256A8}"/>
              </a:ext>
            </a:extLst>
          </p:cNvPr>
          <p:cNvSpPr txBox="1"/>
          <p:nvPr/>
        </p:nvSpPr>
        <p:spPr>
          <a:xfrm>
            <a:off x="1592061" y="1096172"/>
            <a:ext cx="39888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bg1"/>
                </a:solidFill>
              </a:rPr>
              <a:t>Il Curriculum dello studente</a:t>
            </a:r>
          </a:p>
          <a:p>
            <a:r>
              <a:rPr lang="it-IT" sz="1200" dirty="0">
                <a:solidFill>
                  <a:schemeClr val="bg1"/>
                </a:solidFill>
              </a:rPr>
              <a:t>Valore, struttura e riferimenti normativi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1F6BAE7-68BB-4399-BA0B-B1A35B6735D3}"/>
              </a:ext>
            </a:extLst>
          </p:cNvPr>
          <p:cNvSpPr txBox="1"/>
          <p:nvPr/>
        </p:nvSpPr>
        <p:spPr>
          <a:xfrm>
            <a:off x="1592061" y="2815089"/>
            <a:ext cx="39888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bg1"/>
                </a:solidFill>
              </a:rPr>
              <a:t>Il processo di realizzazione </a:t>
            </a:r>
          </a:p>
          <a:p>
            <a:r>
              <a:rPr lang="it-IT" sz="1200" dirty="0">
                <a:solidFill>
                  <a:schemeClr val="bg1"/>
                </a:solidFill>
              </a:rPr>
              <a:t>Le attività previst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98FBB9B-1226-4C09-9AFC-ED406DFADFEB}"/>
              </a:ext>
            </a:extLst>
          </p:cNvPr>
          <p:cNvSpPr txBox="1"/>
          <p:nvPr/>
        </p:nvSpPr>
        <p:spPr>
          <a:xfrm>
            <a:off x="1592060" y="4307465"/>
            <a:ext cx="450393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bg1"/>
                </a:solidFill>
              </a:rPr>
              <a:t>L’introduzione del Curriculum nell’anno scolastico 2020/21</a:t>
            </a:r>
          </a:p>
          <a:p>
            <a:r>
              <a:rPr lang="it-IT" sz="1200" dirty="0">
                <a:solidFill>
                  <a:schemeClr val="bg1"/>
                </a:solidFill>
              </a:rPr>
              <a:t>Le operazioni da svolgere e gli strumenti di accompagnamento </a:t>
            </a:r>
          </a:p>
        </p:txBody>
      </p:sp>
    </p:spTree>
    <p:extLst>
      <p:ext uri="{BB962C8B-B14F-4D97-AF65-F5344CB8AC3E}">
        <p14:creationId xmlns:p14="http://schemas.microsoft.com/office/powerpoint/2010/main" val="11683323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180043B0-0601-4631-822D-7FAB56BE36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215" y="2291"/>
            <a:ext cx="10254886" cy="1325563"/>
          </a:xfrm>
        </p:spPr>
        <p:txBody>
          <a:bodyPr/>
          <a:lstStyle/>
          <a:p>
            <a:r>
              <a:rPr kumimoji="0" lang="it-IT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Dosis Light"/>
              </a:rPr>
              <a:t>Le funzioni a disposizione delle scuole</a:t>
            </a:r>
            <a:endParaRPr lang="it-IT" dirty="0">
              <a:sym typeface="Dosis Light"/>
            </a:endParaRPr>
          </a:p>
        </p:txBody>
      </p:sp>
      <p:pic>
        <p:nvPicPr>
          <p:cNvPr id="7" name="Immagine 7">
            <a:extLst>
              <a:ext uri="{FF2B5EF4-FFF2-40B4-BE49-F238E27FC236}">
                <a16:creationId xmlns:a16="http://schemas.microsoft.com/office/drawing/2014/main" id="{6D732DEE-9AD3-42FA-A4AE-692135B07126}"/>
              </a:ext>
            </a:extLst>
          </p:cNvPr>
          <p:cNvPicPr/>
          <p:nvPr/>
        </p:nvPicPr>
        <p:blipFill rotWithShape="1">
          <a:blip r:embed="rId3"/>
          <a:srcRect t="12567" r="36919" b="40832"/>
          <a:stretch/>
        </p:blipFill>
        <p:spPr>
          <a:xfrm>
            <a:off x="1158859" y="1464860"/>
            <a:ext cx="9487588" cy="3928279"/>
          </a:xfrm>
          <a:prstGeom prst="rect">
            <a:avLst/>
          </a:prstGeom>
        </p:spPr>
      </p:pic>
      <p:sp>
        <p:nvSpPr>
          <p:cNvPr id="2" name="Ovale 1">
            <a:extLst>
              <a:ext uri="{FF2B5EF4-FFF2-40B4-BE49-F238E27FC236}">
                <a16:creationId xmlns:a16="http://schemas.microsoft.com/office/drawing/2014/main" id="{C451FEAD-5686-4C92-A4DA-113CF3EC3D7A}"/>
              </a:ext>
            </a:extLst>
          </p:cNvPr>
          <p:cNvSpPr/>
          <p:nvPr/>
        </p:nvSpPr>
        <p:spPr>
          <a:xfrm>
            <a:off x="2838893" y="1190848"/>
            <a:ext cx="2009554" cy="882501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6B7A3B3-3E02-43E4-8A7A-C25CE854DB51}"/>
              </a:ext>
            </a:extLst>
          </p:cNvPr>
          <p:cNvSpPr/>
          <p:nvPr/>
        </p:nvSpPr>
        <p:spPr>
          <a:xfrm>
            <a:off x="4437496" y="4177125"/>
            <a:ext cx="6329058" cy="175714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 scuole accedono all’area dedicata al «Curriculum dello studente» nel SIDI per lo svolgimento delle attività di propria competenza:</a:t>
            </a:r>
          </a:p>
          <a:p>
            <a:pPr marL="3746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it-IT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ilitazione docenti e studenti</a:t>
            </a:r>
          </a:p>
          <a:p>
            <a:pPr marL="3746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solidamento Curriculum </a:t>
            </a:r>
            <a:r>
              <a:rPr kumimoji="0" lang="it-IT" sz="1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prima e dopo l’esame)</a:t>
            </a:r>
          </a:p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it-IT" sz="1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it-IT" sz="1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Rectangle: Rounded Corners 4">
            <a:extLst>
              <a:ext uri="{FF2B5EF4-FFF2-40B4-BE49-F238E27FC236}">
                <a16:creationId xmlns:a16="http://schemas.microsoft.com/office/drawing/2014/main" id="{923F2F69-7767-46EF-A557-6A50624492E4}"/>
              </a:ext>
            </a:extLst>
          </p:cNvPr>
          <p:cNvSpPr/>
          <p:nvPr/>
        </p:nvSpPr>
        <p:spPr>
          <a:xfrm>
            <a:off x="1089242" y="2218843"/>
            <a:ext cx="1749651" cy="297568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10" name="Rectangle: Rounded Corners 4">
            <a:extLst>
              <a:ext uri="{FF2B5EF4-FFF2-40B4-BE49-F238E27FC236}">
                <a16:creationId xmlns:a16="http://schemas.microsoft.com/office/drawing/2014/main" id="{5196AECA-AD5C-448D-9586-C35B760E76C0}"/>
              </a:ext>
            </a:extLst>
          </p:cNvPr>
          <p:cNvSpPr/>
          <p:nvPr/>
        </p:nvSpPr>
        <p:spPr>
          <a:xfrm>
            <a:off x="1089241" y="2525177"/>
            <a:ext cx="1749651" cy="297568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47412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6" grpId="0" animBg="1"/>
      <p:bldP spid="8" grpId="0" animBg="1"/>
      <p:bldP spid="10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8">
            <a:extLst>
              <a:ext uri="{FF2B5EF4-FFF2-40B4-BE49-F238E27FC236}">
                <a16:creationId xmlns:a16="http://schemas.microsoft.com/office/drawing/2014/main" id="{0CFF35F6-67FA-496D-A705-2474128693BD}"/>
              </a:ext>
            </a:extLst>
          </p:cNvPr>
          <p:cNvSpPr txBox="1">
            <a:spLocks/>
          </p:cNvSpPr>
          <p:nvPr/>
        </p:nvSpPr>
        <p:spPr>
          <a:xfrm>
            <a:off x="229623" y="-115759"/>
            <a:ext cx="10254886" cy="1325563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l" defTabSz="844083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lang="en-US" sz="40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it-IT" sz="3600" dirty="0">
                <a:solidFill>
                  <a:prstClr val="black"/>
                </a:solidFill>
                <a:sym typeface="Dosis Light"/>
              </a:rPr>
              <a:t>Le funzioni a disposizione delle scuole</a:t>
            </a:r>
          </a:p>
          <a:p>
            <a:pPr>
              <a:lnSpc>
                <a:spcPct val="100000"/>
              </a:lnSpc>
            </a:pPr>
            <a:r>
              <a:rPr lang="it-IT" sz="2500" b="0" i="1" dirty="0">
                <a:solidFill>
                  <a:prstClr val="black"/>
                </a:solidFill>
                <a:sym typeface="Dosis Light"/>
              </a:rPr>
              <a:t>Abilitazione docenti/studenti</a:t>
            </a:r>
            <a:endParaRPr lang="it-IT" sz="2500" b="0" i="1" dirty="0">
              <a:sym typeface="Dosis Light"/>
            </a:endParaRPr>
          </a:p>
        </p:txBody>
      </p:sp>
      <p:pic>
        <p:nvPicPr>
          <p:cNvPr id="4" name="Immagine 7">
            <a:extLst>
              <a:ext uri="{FF2B5EF4-FFF2-40B4-BE49-F238E27FC236}">
                <a16:creationId xmlns:a16="http://schemas.microsoft.com/office/drawing/2014/main" id="{EBEB5841-07E6-4A87-875F-148E8A42AE3F}"/>
              </a:ext>
            </a:extLst>
          </p:cNvPr>
          <p:cNvPicPr/>
          <p:nvPr/>
        </p:nvPicPr>
        <p:blipFill rotWithShape="1">
          <a:blip r:embed="rId2"/>
          <a:srcRect t="12567" r="36919" b="40832"/>
          <a:stretch/>
        </p:blipFill>
        <p:spPr>
          <a:xfrm>
            <a:off x="354967" y="1182356"/>
            <a:ext cx="5409477" cy="2129504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C8CF7CE-DE6A-485C-8AEC-CA1AD7562D21}"/>
              </a:ext>
            </a:extLst>
          </p:cNvPr>
          <p:cNvSpPr/>
          <p:nvPr/>
        </p:nvSpPr>
        <p:spPr>
          <a:xfrm>
            <a:off x="335295" y="1572287"/>
            <a:ext cx="1048083" cy="211091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pic>
        <p:nvPicPr>
          <p:cNvPr id="6" name="Picture 34">
            <a:extLst>
              <a:ext uri="{FF2B5EF4-FFF2-40B4-BE49-F238E27FC236}">
                <a16:creationId xmlns:a16="http://schemas.microsoft.com/office/drawing/2014/main" id="{9E88DD43-4464-415F-8F88-E2E3115B7BB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45163">
            <a:off x="390923" y="1755984"/>
            <a:ext cx="560659" cy="560659"/>
          </a:xfrm>
          <a:prstGeom prst="rect">
            <a:avLst/>
          </a:prstGeom>
        </p:spPr>
      </p:pic>
      <p:pic>
        <p:nvPicPr>
          <p:cNvPr id="7" name="Immagine 11">
            <a:extLst>
              <a:ext uri="{FF2B5EF4-FFF2-40B4-BE49-F238E27FC236}">
                <a16:creationId xmlns:a16="http://schemas.microsoft.com/office/drawing/2014/main" id="{D68907F3-A92B-4236-AB52-65C4E0F94997}"/>
              </a:ext>
            </a:extLst>
          </p:cNvPr>
          <p:cNvPicPr/>
          <p:nvPr/>
        </p:nvPicPr>
        <p:blipFill rotWithShape="1">
          <a:blip r:embed="rId4"/>
          <a:srcRect l="-103" t="13945" r="88675" b="49999"/>
          <a:stretch/>
        </p:blipFill>
        <p:spPr>
          <a:xfrm>
            <a:off x="1383378" y="2007820"/>
            <a:ext cx="2295144" cy="3198501"/>
          </a:xfrm>
          <a:prstGeom prst="rect">
            <a:avLst/>
          </a:prstGeom>
        </p:spPr>
      </p:pic>
      <p:sp>
        <p:nvSpPr>
          <p:cNvPr id="10" name="Rectangle: Rounded Corners 4">
            <a:extLst>
              <a:ext uri="{FF2B5EF4-FFF2-40B4-BE49-F238E27FC236}">
                <a16:creationId xmlns:a16="http://schemas.microsoft.com/office/drawing/2014/main" id="{460198E1-53CA-4108-981A-2C68841A854D}"/>
              </a:ext>
            </a:extLst>
          </p:cNvPr>
          <p:cNvSpPr/>
          <p:nvPr/>
        </p:nvSpPr>
        <p:spPr>
          <a:xfrm>
            <a:off x="1383378" y="3013281"/>
            <a:ext cx="2295144" cy="224442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2858E58-7AE8-4125-B840-88E28C82C4E2}"/>
              </a:ext>
            </a:extLst>
          </p:cNvPr>
          <p:cNvGrpSpPr/>
          <p:nvPr/>
        </p:nvGrpSpPr>
        <p:grpSpPr>
          <a:xfrm>
            <a:off x="6443399" y="5642458"/>
            <a:ext cx="5046482" cy="982888"/>
            <a:chOff x="4938087" y="5835138"/>
            <a:chExt cx="4958118" cy="754066"/>
          </a:xfrm>
        </p:grpSpPr>
        <p:sp>
          <p:nvSpPr>
            <p:cNvPr id="14" name="Rectangle: Rounded Corners 54">
              <a:extLst>
                <a:ext uri="{FF2B5EF4-FFF2-40B4-BE49-F238E27FC236}">
                  <a16:creationId xmlns:a16="http://schemas.microsoft.com/office/drawing/2014/main" id="{CBB8F1DB-EE20-42A5-8033-3E8C24FDF14A}"/>
                </a:ext>
              </a:extLst>
            </p:cNvPr>
            <p:cNvSpPr/>
            <p:nvPr/>
          </p:nvSpPr>
          <p:spPr>
            <a:xfrm>
              <a:off x="4938087" y="5920897"/>
              <a:ext cx="4958118" cy="668307"/>
            </a:xfrm>
            <a:prstGeom prst="roundRect">
              <a:avLst>
                <a:gd name="adj" fmla="val 50000"/>
              </a:avLst>
            </a:prstGeom>
            <a:solidFill>
              <a:srgbClr val="179D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endParaRPr lang="it-IT" sz="1200" i="1" dirty="0">
                <a:solidFill>
                  <a:schemeClr val="tx1"/>
                </a:solidFill>
              </a:endParaRPr>
            </a:p>
          </p:txBody>
        </p:sp>
        <p:sp>
          <p:nvSpPr>
            <p:cNvPr id="15" name="Oval 16">
              <a:extLst>
                <a:ext uri="{FF2B5EF4-FFF2-40B4-BE49-F238E27FC236}">
                  <a16:creationId xmlns:a16="http://schemas.microsoft.com/office/drawing/2014/main" id="{A31BC99D-0474-4E62-BD10-212F3E25A3EF}"/>
                </a:ext>
              </a:extLst>
            </p:cNvPr>
            <p:cNvSpPr/>
            <p:nvPr/>
          </p:nvSpPr>
          <p:spPr>
            <a:xfrm>
              <a:off x="4999433" y="5972656"/>
              <a:ext cx="608540" cy="5647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 i="1" dirty="0" err="1">
                <a:solidFill>
                  <a:schemeClr val="bg1"/>
                </a:solidFill>
              </a:endParaRPr>
            </a:p>
          </p:txBody>
        </p:sp>
        <p:sp>
          <p:nvSpPr>
            <p:cNvPr id="16" name="Rectangle 17">
              <a:extLst>
                <a:ext uri="{FF2B5EF4-FFF2-40B4-BE49-F238E27FC236}">
                  <a16:creationId xmlns:a16="http://schemas.microsoft.com/office/drawing/2014/main" id="{29DBF31D-D763-415C-945A-8B2629AB0F5F}"/>
                </a:ext>
              </a:extLst>
            </p:cNvPr>
            <p:cNvSpPr/>
            <p:nvPr/>
          </p:nvSpPr>
          <p:spPr>
            <a:xfrm>
              <a:off x="5669319" y="5989203"/>
              <a:ext cx="3860062" cy="5213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r>
                <a:rPr lang="it-IT" sz="1200" i="1" dirty="0">
                  <a:solidFill>
                    <a:prstClr val="black"/>
                  </a:solidFill>
                </a:rPr>
                <a:t>È opportuna l’abilitazione dei docenti individuati come commissari d’esame e, tra essi, dei docenti di riferimento per accompagnare nella stesura dell’elaborato</a:t>
              </a:r>
            </a:p>
          </p:txBody>
        </p:sp>
        <p:pic>
          <p:nvPicPr>
            <p:cNvPr id="17" name="Graphic 57" descr="Magnifying glass">
              <a:extLst>
                <a:ext uri="{FF2B5EF4-FFF2-40B4-BE49-F238E27FC236}">
                  <a16:creationId xmlns:a16="http://schemas.microsoft.com/office/drawing/2014/main" id="{8198AC79-066F-4D21-88E5-44724ED892C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5400000">
              <a:off x="5108168" y="5835138"/>
              <a:ext cx="567771" cy="567771"/>
            </a:xfrm>
            <a:prstGeom prst="rect">
              <a:avLst/>
            </a:prstGeom>
          </p:spPr>
        </p:pic>
      </p:grpSp>
      <p:pic>
        <p:nvPicPr>
          <p:cNvPr id="23" name="Immagine 57">
            <a:extLst>
              <a:ext uri="{FF2B5EF4-FFF2-40B4-BE49-F238E27FC236}">
                <a16:creationId xmlns:a16="http://schemas.microsoft.com/office/drawing/2014/main" id="{5506ECEB-CF7B-48C0-988B-82D0FBE19C38}"/>
              </a:ext>
            </a:extLst>
          </p:cNvPr>
          <p:cNvPicPr/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877993" y="2279383"/>
            <a:ext cx="6606516" cy="2958037"/>
          </a:xfrm>
          <a:prstGeom prst="rect">
            <a:avLst/>
          </a:prstGeom>
        </p:spPr>
      </p:pic>
      <p:sp>
        <p:nvSpPr>
          <p:cNvPr id="24" name="Rectangle: Rounded Corners 11">
            <a:extLst>
              <a:ext uri="{FF2B5EF4-FFF2-40B4-BE49-F238E27FC236}">
                <a16:creationId xmlns:a16="http://schemas.microsoft.com/office/drawing/2014/main" id="{73DE8C97-AE52-4E69-9CB4-D611839B52BB}"/>
              </a:ext>
            </a:extLst>
          </p:cNvPr>
          <p:cNvSpPr/>
          <p:nvPr/>
        </p:nvSpPr>
        <p:spPr>
          <a:xfrm>
            <a:off x="9363221" y="2804820"/>
            <a:ext cx="1121288" cy="208461"/>
          </a:xfrm>
          <a:prstGeom prst="roundRect">
            <a:avLst>
              <a:gd name="adj" fmla="val 45685"/>
            </a:avLst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grpSp>
        <p:nvGrpSpPr>
          <p:cNvPr id="25" name="Group 12">
            <a:extLst>
              <a:ext uri="{FF2B5EF4-FFF2-40B4-BE49-F238E27FC236}">
                <a16:creationId xmlns:a16="http://schemas.microsoft.com/office/drawing/2014/main" id="{85C0FD22-E298-4BF3-94CB-B94ADAD9DDCF}"/>
              </a:ext>
            </a:extLst>
          </p:cNvPr>
          <p:cNvGrpSpPr/>
          <p:nvPr/>
        </p:nvGrpSpPr>
        <p:grpSpPr>
          <a:xfrm>
            <a:off x="6898587" y="1300799"/>
            <a:ext cx="4958118" cy="754066"/>
            <a:chOff x="4938087" y="5835138"/>
            <a:chExt cx="4958118" cy="754066"/>
          </a:xfrm>
        </p:grpSpPr>
        <p:sp>
          <p:nvSpPr>
            <p:cNvPr id="26" name="Rectangle: Rounded Corners 54">
              <a:extLst>
                <a:ext uri="{FF2B5EF4-FFF2-40B4-BE49-F238E27FC236}">
                  <a16:creationId xmlns:a16="http://schemas.microsoft.com/office/drawing/2014/main" id="{5C030442-DD5B-4B57-9156-C0422BA57763}"/>
                </a:ext>
              </a:extLst>
            </p:cNvPr>
            <p:cNvSpPr/>
            <p:nvPr/>
          </p:nvSpPr>
          <p:spPr>
            <a:xfrm>
              <a:off x="4938087" y="5920897"/>
              <a:ext cx="4958118" cy="668307"/>
            </a:xfrm>
            <a:prstGeom prst="roundRect">
              <a:avLst>
                <a:gd name="adj" fmla="val 50000"/>
              </a:avLst>
            </a:prstGeom>
            <a:solidFill>
              <a:srgbClr val="179D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endParaRPr lang="it-IT" sz="1200" i="1" dirty="0">
                <a:solidFill>
                  <a:schemeClr val="tx1"/>
                </a:solidFill>
              </a:endParaRPr>
            </a:p>
          </p:txBody>
        </p:sp>
        <p:sp>
          <p:nvSpPr>
            <p:cNvPr id="27" name="Oval 16">
              <a:extLst>
                <a:ext uri="{FF2B5EF4-FFF2-40B4-BE49-F238E27FC236}">
                  <a16:creationId xmlns:a16="http://schemas.microsoft.com/office/drawing/2014/main" id="{EA0BBA0F-6D57-4A6C-B712-C65153C79A3E}"/>
                </a:ext>
              </a:extLst>
            </p:cNvPr>
            <p:cNvSpPr/>
            <p:nvPr/>
          </p:nvSpPr>
          <p:spPr>
            <a:xfrm>
              <a:off x="4999433" y="5972656"/>
              <a:ext cx="608540" cy="5647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 i="1" dirty="0" err="1">
                <a:solidFill>
                  <a:schemeClr val="bg1"/>
                </a:solidFill>
              </a:endParaRPr>
            </a:p>
          </p:txBody>
        </p:sp>
        <p:sp>
          <p:nvSpPr>
            <p:cNvPr id="28" name="Rectangle 17">
              <a:extLst>
                <a:ext uri="{FF2B5EF4-FFF2-40B4-BE49-F238E27FC236}">
                  <a16:creationId xmlns:a16="http://schemas.microsoft.com/office/drawing/2014/main" id="{4901BA4B-3088-4655-BFFC-5B359D7534B9}"/>
                </a:ext>
              </a:extLst>
            </p:cNvPr>
            <p:cNvSpPr/>
            <p:nvPr/>
          </p:nvSpPr>
          <p:spPr>
            <a:xfrm>
              <a:off x="5669319" y="5989203"/>
              <a:ext cx="3860062" cy="5213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r>
                <a:rPr lang="it-IT" sz="1200" i="1" dirty="0">
                  <a:solidFill>
                    <a:prstClr val="black"/>
                  </a:solidFill>
                </a:rPr>
                <a:t>I docenti vengono abilitati tramite l’associazione alle classi di competenza per poter visualizzare il Curriculum dei loro studenti</a:t>
              </a:r>
            </a:p>
          </p:txBody>
        </p:sp>
        <p:pic>
          <p:nvPicPr>
            <p:cNvPr id="29" name="Graphic 57" descr="Magnifying glass">
              <a:extLst>
                <a:ext uri="{FF2B5EF4-FFF2-40B4-BE49-F238E27FC236}">
                  <a16:creationId xmlns:a16="http://schemas.microsoft.com/office/drawing/2014/main" id="{D531CC95-AB33-4C85-ABE6-2DF06FB1F8B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5400000">
              <a:off x="5108168" y="5835138"/>
              <a:ext cx="567771" cy="567771"/>
            </a:xfrm>
            <a:prstGeom prst="rect">
              <a:avLst/>
            </a:prstGeom>
          </p:spPr>
        </p:pic>
      </p:grpSp>
      <p:sp>
        <p:nvSpPr>
          <p:cNvPr id="31" name="Freeform 19">
            <a:extLst>
              <a:ext uri="{FF2B5EF4-FFF2-40B4-BE49-F238E27FC236}">
                <a16:creationId xmlns:a16="http://schemas.microsoft.com/office/drawing/2014/main" id="{93D0EEE2-9452-490A-84CF-F233C8C3DC5F}"/>
              </a:ext>
            </a:extLst>
          </p:cNvPr>
          <p:cNvSpPr>
            <a:spLocks noChangeAspect="1" noEditPoints="1"/>
          </p:cNvSpPr>
          <p:nvPr/>
        </p:nvSpPr>
        <p:spPr bwMode="auto">
          <a:xfrm rot="17231787" flipH="1" flipV="1">
            <a:off x="10391951" y="2224355"/>
            <a:ext cx="907433" cy="392423"/>
          </a:xfrm>
          <a:custGeom>
            <a:avLst/>
            <a:gdLst>
              <a:gd name="T0" fmla="*/ 715 w 868"/>
              <a:gd name="T1" fmla="*/ 128 h 351"/>
              <a:gd name="T2" fmla="*/ 363 w 868"/>
              <a:gd name="T3" fmla="*/ 50 h 351"/>
              <a:gd name="T4" fmla="*/ 226 w 868"/>
              <a:gd name="T5" fmla="*/ 94 h 351"/>
              <a:gd name="T6" fmla="*/ 155 w 868"/>
              <a:gd name="T7" fmla="*/ 112 h 351"/>
              <a:gd name="T8" fmla="*/ 111 w 868"/>
              <a:gd name="T9" fmla="*/ 138 h 351"/>
              <a:gd name="T10" fmla="*/ 85 w 868"/>
              <a:gd name="T11" fmla="*/ 163 h 351"/>
              <a:gd name="T12" fmla="*/ 104 w 868"/>
              <a:gd name="T13" fmla="*/ 185 h 351"/>
              <a:gd name="T14" fmla="*/ 69 w 868"/>
              <a:gd name="T15" fmla="*/ 174 h 351"/>
              <a:gd name="T16" fmla="*/ 92 w 868"/>
              <a:gd name="T17" fmla="*/ 203 h 351"/>
              <a:gd name="T18" fmla="*/ 66 w 868"/>
              <a:gd name="T19" fmla="*/ 192 h 351"/>
              <a:gd name="T20" fmla="*/ 75 w 868"/>
              <a:gd name="T21" fmla="*/ 207 h 351"/>
              <a:gd name="T22" fmla="*/ 72 w 868"/>
              <a:gd name="T23" fmla="*/ 224 h 351"/>
              <a:gd name="T24" fmla="*/ 64 w 868"/>
              <a:gd name="T25" fmla="*/ 228 h 351"/>
              <a:gd name="T26" fmla="*/ 29 w 868"/>
              <a:gd name="T27" fmla="*/ 217 h 351"/>
              <a:gd name="T28" fmla="*/ 31 w 868"/>
              <a:gd name="T29" fmla="*/ 228 h 351"/>
              <a:gd name="T30" fmla="*/ 53 w 868"/>
              <a:gd name="T31" fmla="*/ 253 h 351"/>
              <a:gd name="T32" fmla="*/ 36 w 868"/>
              <a:gd name="T33" fmla="*/ 257 h 351"/>
              <a:gd name="T34" fmla="*/ 774 w 868"/>
              <a:gd name="T35" fmla="*/ 258 h 351"/>
              <a:gd name="T36" fmla="*/ 640 w 868"/>
              <a:gd name="T37" fmla="*/ 136 h 351"/>
              <a:gd name="T38" fmla="*/ 376 w 868"/>
              <a:gd name="T39" fmla="*/ 47 h 351"/>
              <a:gd name="T40" fmla="*/ 235 w 868"/>
              <a:gd name="T41" fmla="*/ 76 h 351"/>
              <a:gd name="T42" fmla="*/ 221 w 868"/>
              <a:gd name="T43" fmla="*/ 70 h 351"/>
              <a:gd name="T44" fmla="*/ 180 w 868"/>
              <a:gd name="T45" fmla="*/ 89 h 351"/>
              <a:gd name="T46" fmla="*/ 168 w 868"/>
              <a:gd name="T47" fmla="*/ 110 h 351"/>
              <a:gd name="T48" fmla="*/ 140 w 868"/>
              <a:gd name="T49" fmla="*/ 145 h 351"/>
              <a:gd name="T50" fmla="*/ 81 w 868"/>
              <a:gd name="T51" fmla="*/ 192 h 351"/>
              <a:gd name="T52" fmla="*/ 126 w 868"/>
              <a:gd name="T53" fmla="*/ 134 h 351"/>
              <a:gd name="T54" fmla="*/ 253 w 868"/>
              <a:gd name="T55" fmla="*/ 36 h 351"/>
              <a:gd name="T56" fmla="*/ 399 w 868"/>
              <a:gd name="T57" fmla="*/ 2 h 351"/>
              <a:gd name="T58" fmla="*/ 510 w 868"/>
              <a:gd name="T59" fmla="*/ 14 h 351"/>
              <a:gd name="T60" fmla="*/ 732 w 868"/>
              <a:gd name="T61" fmla="*/ 145 h 351"/>
              <a:gd name="T62" fmla="*/ 794 w 868"/>
              <a:gd name="T63" fmla="*/ 260 h 351"/>
              <a:gd name="T64" fmla="*/ 787 w 868"/>
              <a:gd name="T65" fmla="*/ 222 h 351"/>
              <a:gd name="T66" fmla="*/ 721 w 868"/>
              <a:gd name="T67" fmla="*/ 150 h 351"/>
              <a:gd name="T68" fmla="*/ 533 w 868"/>
              <a:gd name="T69" fmla="*/ 22 h 351"/>
              <a:gd name="T70" fmla="*/ 380 w 868"/>
              <a:gd name="T71" fmla="*/ 47 h 351"/>
              <a:gd name="T72" fmla="*/ 307 w 868"/>
              <a:gd name="T73" fmla="*/ 53 h 351"/>
              <a:gd name="T74" fmla="*/ 281 w 868"/>
              <a:gd name="T75" fmla="*/ 47 h 351"/>
              <a:gd name="T76" fmla="*/ 242 w 868"/>
              <a:gd name="T77" fmla="*/ 43 h 351"/>
              <a:gd name="T78" fmla="*/ 222 w 868"/>
              <a:gd name="T79" fmla="*/ 51 h 351"/>
              <a:gd name="T80" fmla="*/ 197 w 868"/>
              <a:gd name="T81" fmla="*/ 73 h 351"/>
              <a:gd name="T82" fmla="*/ 164 w 868"/>
              <a:gd name="T83" fmla="*/ 99 h 351"/>
              <a:gd name="T84" fmla="*/ 142 w 868"/>
              <a:gd name="T85" fmla="*/ 117 h 351"/>
              <a:gd name="T86" fmla="*/ 141 w 868"/>
              <a:gd name="T87" fmla="*/ 138 h 351"/>
              <a:gd name="T88" fmla="*/ 124 w 868"/>
              <a:gd name="T89" fmla="*/ 129 h 351"/>
              <a:gd name="T90" fmla="*/ 113 w 868"/>
              <a:gd name="T91" fmla="*/ 142 h 351"/>
              <a:gd name="T92" fmla="*/ 337 w 868"/>
              <a:gd name="T93" fmla="*/ 9 h 351"/>
              <a:gd name="T94" fmla="*/ 168 w 868"/>
              <a:gd name="T95" fmla="*/ 125 h 351"/>
              <a:gd name="T96" fmla="*/ 197 w 868"/>
              <a:gd name="T97" fmla="*/ 105 h 351"/>
              <a:gd name="T98" fmla="*/ 131 w 868"/>
              <a:gd name="T99" fmla="*/ 159 h 351"/>
              <a:gd name="T100" fmla="*/ 88 w 868"/>
              <a:gd name="T101" fmla="*/ 171 h 351"/>
              <a:gd name="T102" fmla="*/ 85 w 868"/>
              <a:gd name="T103" fmla="*/ 191 h 351"/>
              <a:gd name="T104" fmla="*/ 79 w 868"/>
              <a:gd name="T105" fmla="*/ 215 h 351"/>
              <a:gd name="T106" fmla="*/ 48 w 868"/>
              <a:gd name="T107" fmla="*/ 193 h 351"/>
              <a:gd name="T108" fmla="*/ 64 w 868"/>
              <a:gd name="T109" fmla="*/ 238 h 351"/>
              <a:gd name="T110" fmla="*/ 17 w 868"/>
              <a:gd name="T111" fmla="*/ 235 h 351"/>
              <a:gd name="T112" fmla="*/ 87 w 868"/>
              <a:gd name="T113" fmla="*/ 158 h 351"/>
              <a:gd name="T114" fmla="*/ 865 w 868"/>
              <a:gd name="T115" fmla="*/ 172 h 351"/>
              <a:gd name="T116" fmla="*/ 859 w 868"/>
              <a:gd name="T117" fmla="*/ 117 h 351"/>
              <a:gd name="T118" fmla="*/ 782 w 868"/>
              <a:gd name="T119" fmla="*/ 277 h 351"/>
              <a:gd name="T120" fmla="*/ 841 w 868"/>
              <a:gd name="T121" fmla="*/ 164 h 351"/>
              <a:gd name="T122" fmla="*/ 861 w 868"/>
              <a:gd name="T123" fmla="*/ 201 h 351"/>
              <a:gd name="T124" fmla="*/ 666 w 868"/>
              <a:gd name="T125" fmla="*/ 296 h 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68" h="351">
                <a:moveTo>
                  <a:pt x="813" y="278"/>
                </a:moveTo>
                <a:cubicBezTo>
                  <a:pt x="812" y="276"/>
                  <a:pt x="811" y="275"/>
                  <a:pt x="812" y="275"/>
                </a:cubicBezTo>
                <a:cubicBezTo>
                  <a:pt x="813" y="277"/>
                  <a:pt x="813" y="278"/>
                  <a:pt x="813" y="278"/>
                </a:cubicBezTo>
                <a:close/>
                <a:moveTo>
                  <a:pt x="812" y="266"/>
                </a:moveTo>
                <a:cubicBezTo>
                  <a:pt x="813" y="269"/>
                  <a:pt x="814" y="269"/>
                  <a:pt x="814" y="271"/>
                </a:cubicBezTo>
                <a:cubicBezTo>
                  <a:pt x="813" y="267"/>
                  <a:pt x="813" y="271"/>
                  <a:pt x="813" y="270"/>
                </a:cubicBezTo>
                <a:cubicBezTo>
                  <a:pt x="815" y="276"/>
                  <a:pt x="814" y="270"/>
                  <a:pt x="815" y="272"/>
                </a:cubicBezTo>
                <a:cubicBezTo>
                  <a:pt x="814" y="268"/>
                  <a:pt x="813" y="267"/>
                  <a:pt x="812" y="266"/>
                </a:cubicBezTo>
                <a:close/>
                <a:moveTo>
                  <a:pt x="781" y="282"/>
                </a:moveTo>
                <a:cubicBezTo>
                  <a:pt x="782" y="285"/>
                  <a:pt x="783" y="285"/>
                  <a:pt x="784" y="284"/>
                </a:cubicBezTo>
                <a:cubicBezTo>
                  <a:pt x="782" y="282"/>
                  <a:pt x="782" y="282"/>
                  <a:pt x="781" y="282"/>
                </a:cubicBezTo>
                <a:close/>
                <a:moveTo>
                  <a:pt x="798" y="267"/>
                </a:moveTo>
                <a:cubicBezTo>
                  <a:pt x="798" y="268"/>
                  <a:pt x="801" y="272"/>
                  <a:pt x="801" y="272"/>
                </a:cubicBezTo>
                <a:cubicBezTo>
                  <a:pt x="801" y="269"/>
                  <a:pt x="799" y="267"/>
                  <a:pt x="798" y="267"/>
                </a:cubicBezTo>
                <a:close/>
                <a:moveTo>
                  <a:pt x="791" y="270"/>
                </a:moveTo>
                <a:cubicBezTo>
                  <a:pt x="791" y="272"/>
                  <a:pt x="793" y="275"/>
                  <a:pt x="793" y="276"/>
                </a:cubicBezTo>
                <a:cubicBezTo>
                  <a:pt x="793" y="274"/>
                  <a:pt x="791" y="271"/>
                  <a:pt x="791" y="270"/>
                </a:cubicBezTo>
                <a:close/>
                <a:moveTo>
                  <a:pt x="789" y="269"/>
                </a:moveTo>
                <a:cubicBezTo>
                  <a:pt x="788" y="269"/>
                  <a:pt x="791" y="272"/>
                  <a:pt x="790" y="273"/>
                </a:cubicBezTo>
                <a:cubicBezTo>
                  <a:pt x="789" y="270"/>
                  <a:pt x="788" y="270"/>
                  <a:pt x="787" y="270"/>
                </a:cubicBezTo>
                <a:cubicBezTo>
                  <a:pt x="789" y="273"/>
                  <a:pt x="790" y="274"/>
                  <a:pt x="791" y="276"/>
                </a:cubicBezTo>
                <a:cubicBezTo>
                  <a:pt x="792" y="276"/>
                  <a:pt x="792" y="274"/>
                  <a:pt x="793" y="276"/>
                </a:cubicBezTo>
                <a:cubicBezTo>
                  <a:pt x="792" y="273"/>
                  <a:pt x="791" y="272"/>
                  <a:pt x="789" y="269"/>
                </a:cubicBezTo>
                <a:close/>
                <a:moveTo>
                  <a:pt x="801" y="266"/>
                </a:moveTo>
                <a:cubicBezTo>
                  <a:pt x="800" y="266"/>
                  <a:pt x="800" y="268"/>
                  <a:pt x="801" y="271"/>
                </a:cubicBezTo>
                <a:cubicBezTo>
                  <a:pt x="802" y="271"/>
                  <a:pt x="801" y="267"/>
                  <a:pt x="801" y="266"/>
                </a:cubicBezTo>
                <a:close/>
                <a:moveTo>
                  <a:pt x="799" y="270"/>
                </a:moveTo>
                <a:cubicBezTo>
                  <a:pt x="799" y="270"/>
                  <a:pt x="798" y="270"/>
                  <a:pt x="798" y="269"/>
                </a:cubicBezTo>
                <a:cubicBezTo>
                  <a:pt x="797" y="269"/>
                  <a:pt x="797" y="270"/>
                  <a:pt x="798" y="272"/>
                </a:cubicBezTo>
                <a:cubicBezTo>
                  <a:pt x="798" y="271"/>
                  <a:pt x="800" y="273"/>
                  <a:pt x="799" y="270"/>
                </a:cubicBezTo>
                <a:close/>
                <a:moveTo>
                  <a:pt x="770" y="269"/>
                </a:moveTo>
                <a:cubicBezTo>
                  <a:pt x="771" y="271"/>
                  <a:pt x="772" y="272"/>
                  <a:pt x="773" y="272"/>
                </a:cubicBezTo>
                <a:cubicBezTo>
                  <a:pt x="772" y="270"/>
                  <a:pt x="771" y="269"/>
                  <a:pt x="770" y="269"/>
                </a:cubicBezTo>
                <a:close/>
                <a:moveTo>
                  <a:pt x="807" y="248"/>
                </a:moveTo>
                <a:cubicBezTo>
                  <a:pt x="808" y="250"/>
                  <a:pt x="810" y="253"/>
                  <a:pt x="810" y="252"/>
                </a:cubicBezTo>
                <a:cubicBezTo>
                  <a:pt x="809" y="249"/>
                  <a:pt x="808" y="247"/>
                  <a:pt x="807" y="248"/>
                </a:cubicBezTo>
                <a:close/>
                <a:moveTo>
                  <a:pt x="802" y="246"/>
                </a:moveTo>
                <a:cubicBezTo>
                  <a:pt x="803" y="247"/>
                  <a:pt x="803" y="248"/>
                  <a:pt x="804" y="251"/>
                </a:cubicBezTo>
                <a:cubicBezTo>
                  <a:pt x="805" y="251"/>
                  <a:pt x="803" y="245"/>
                  <a:pt x="802" y="246"/>
                </a:cubicBezTo>
                <a:close/>
                <a:moveTo>
                  <a:pt x="805" y="245"/>
                </a:moveTo>
                <a:cubicBezTo>
                  <a:pt x="803" y="240"/>
                  <a:pt x="804" y="239"/>
                  <a:pt x="802" y="235"/>
                </a:cubicBezTo>
                <a:cubicBezTo>
                  <a:pt x="800" y="234"/>
                  <a:pt x="796" y="236"/>
                  <a:pt x="801" y="245"/>
                </a:cubicBezTo>
                <a:cubicBezTo>
                  <a:pt x="801" y="242"/>
                  <a:pt x="806" y="248"/>
                  <a:pt x="805" y="245"/>
                </a:cubicBezTo>
                <a:close/>
                <a:moveTo>
                  <a:pt x="759" y="246"/>
                </a:moveTo>
                <a:cubicBezTo>
                  <a:pt x="759" y="247"/>
                  <a:pt x="758" y="246"/>
                  <a:pt x="758" y="246"/>
                </a:cubicBezTo>
                <a:cubicBezTo>
                  <a:pt x="759" y="248"/>
                  <a:pt x="760" y="248"/>
                  <a:pt x="759" y="248"/>
                </a:cubicBezTo>
                <a:cubicBezTo>
                  <a:pt x="760" y="250"/>
                  <a:pt x="760" y="250"/>
                  <a:pt x="761" y="250"/>
                </a:cubicBezTo>
                <a:cubicBezTo>
                  <a:pt x="759" y="248"/>
                  <a:pt x="760" y="248"/>
                  <a:pt x="759" y="246"/>
                </a:cubicBezTo>
                <a:close/>
                <a:moveTo>
                  <a:pt x="766" y="178"/>
                </a:moveTo>
                <a:cubicBezTo>
                  <a:pt x="766" y="178"/>
                  <a:pt x="766" y="178"/>
                  <a:pt x="767" y="180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67" y="179"/>
                  <a:pt x="768" y="180"/>
                  <a:pt x="766" y="178"/>
                </a:cubicBezTo>
                <a:close/>
                <a:moveTo>
                  <a:pt x="756" y="167"/>
                </a:moveTo>
                <a:cubicBezTo>
                  <a:pt x="757" y="168"/>
                  <a:pt x="758" y="169"/>
                  <a:pt x="757" y="169"/>
                </a:cubicBezTo>
                <a:cubicBezTo>
                  <a:pt x="762" y="175"/>
                  <a:pt x="758" y="167"/>
                  <a:pt x="756" y="167"/>
                </a:cubicBezTo>
                <a:close/>
                <a:moveTo>
                  <a:pt x="713" y="128"/>
                </a:moveTo>
                <a:cubicBezTo>
                  <a:pt x="713" y="127"/>
                  <a:pt x="714" y="127"/>
                  <a:pt x="715" y="128"/>
                </a:cubicBezTo>
                <a:cubicBezTo>
                  <a:pt x="712" y="125"/>
                  <a:pt x="710" y="125"/>
                  <a:pt x="713" y="128"/>
                </a:cubicBezTo>
                <a:close/>
                <a:moveTo>
                  <a:pt x="640" y="70"/>
                </a:moveTo>
                <a:cubicBezTo>
                  <a:pt x="634" y="64"/>
                  <a:pt x="636" y="68"/>
                  <a:pt x="640" y="70"/>
                </a:cubicBezTo>
                <a:close/>
                <a:moveTo>
                  <a:pt x="545" y="23"/>
                </a:moveTo>
                <a:cubicBezTo>
                  <a:pt x="544" y="24"/>
                  <a:pt x="548" y="25"/>
                  <a:pt x="549" y="24"/>
                </a:cubicBezTo>
                <a:cubicBezTo>
                  <a:pt x="546" y="24"/>
                  <a:pt x="547" y="24"/>
                  <a:pt x="545" y="23"/>
                </a:cubicBezTo>
                <a:close/>
                <a:moveTo>
                  <a:pt x="539" y="20"/>
                </a:moveTo>
                <a:cubicBezTo>
                  <a:pt x="539" y="20"/>
                  <a:pt x="538" y="20"/>
                  <a:pt x="538" y="20"/>
                </a:cubicBezTo>
                <a:cubicBezTo>
                  <a:pt x="540" y="21"/>
                  <a:pt x="543" y="22"/>
                  <a:pt x="543" y="21"/>
                </a:cubicBezTo>
                <a:cubicBezTo>
                  <a:pt x="540" y="20"/>
                  <a:pt x="540" y="21"/>
                  <a:pt x="539" y="20"/>
                </a:cubicBezTo>
                <a:close/>
                <a:moveTo>
                  <a:pt x="530" y="17"/>
                </a:moveTo>
                <a:cubicBezTo>
                  <a:pt x="529" y="18"/>
                  <a:pt x="534" y="19"/>
                  <a:pt x="534" y="18"/>
                </a:cubicBezTo>
                <a:lnTo>
                  <a:pt x="530" y="17"/>
                </a:lnTo>
                <a:close/>
                <a:moveTo>
                  <a:pt x="524" y="16"/>
                </a:moveTo>
                <a:cubicBezTo>
                  <a:pt x="524" y="16"/>
                  <a:pt x="522" y="16"/>
                  <a:pt x="522" y="17"/>
                </a:cubicBezTo>
                <a:cubicBezTo>
                  <a:pt x="524" y="17"/>
                  <a:pt x="527" y="18"/>
                  <a:pt x="529" y="18"/>
                </a:cubicBezTo>
                <a:cubicBezTo>
                  <a:pt x="528" y="17"/>
                  <a:pt x="526" y="17"/>
                  <a:pt x="524" y="16"/>
                </a:cubicBezTo>
                <a:close/>
                <a:moveTo>
                  <a:pt x="498" y="10"/>
                </a:moveTo>
                <a:cubicBezTo>
                  <a:pt x="501" y="10"/>
                  <a:pt x="502" y="10"/>
                  <a:pt x="503" y="10"/>
                </a:cubicBezTo>
                <a:cubicBezTo>
                  <a:pt x="502" y="10"/>
                  <a:pt x="498" y="9"/>
                  <a:pt x="498" y="10"/>
                </a:cubicBezTo>
                <a:close/>
                <a:moveTo>
                  <a:pt x="467" y="7"/>
                </a:moveTo>
                <a:cubicBezTo>
                  <a:pt x="468" y="7"/>
                  <a:pt x="473" y="8"/>
                  <a:pt x="473" y="7"/>
                </a:cubicBezTo>
                <a:cubicBezTo>
                  <a:pt x="470" y="7"/>
                  <a:pt x="467" y="6"/>
                  <a:pt x="467" y="7"/>
                </a:cubicBezTo>
                <a:close/>
                <a:moveTo>
                  <a:pt x="443" y="52"/>
                </a:moveTo>
                <a:cubicBezTo>
                  <a:pt x="443" y="52"/>
                  <a:pt x="443" y="52"/>
                  <a:pt x="443" y="53"/>
                </a:cubicBezTo>
                <a:cubicBezTo>
                  <a:pt x="445" y="53"/>
                  <a:pt x="444" y="54"/>
                  <a:pt x="447" y="54"/>
                </a:cubicBezTo>
                <a:cubicBezTo>
                  <a:pt x="446" y="53"/>
                  <a:pt x="446" y="53"/>
                  <a:pt x="448" y="53"/>
                </a:cubicBezTo>
                <a:cubicBezTo>
                  <a:pt x="447" y="52"/>
                  <a:pt x="446" y="52"/>
                  <a:pt x="443" y="52"/>
                </a:cubicBezTo>
                <a:close/>
                <a:moveTo>
                  <a:pt x="435" y="51"/>
                </a:moveTo>
                <a:cubicBezTo>
                  <a:pt x="435" y="52"/>
                  <a:pt x="430" y="51"/>
                  <a:pt x="431" y="51"/>
                </a:cubicBezTo>
                <a:cubicBezTo>
                  <a:pt x="432" y="51"/>
                  <a:pt x="436" y="52"/>
                  <a:pt x="437" y="52"/>
                </a:cubicBezTo>
                <a:cubicBezTo>
                  <a:pt x="435" y="52"/>
                  <a:pt x="437" y="51"/>
                  <a:pt x="435" y="51"/>
                </a:cubicBezTo>
                <a:close/>
                <a:moveTo>
                  <a:pt x="402" y="50"/>
                </a:moveTo>
                <a:cubicBezTo>
                  <a:pt x="404" y="50"/>
                  <a:pt x="406" y="50"/>
                  <a:pt x="406" y="49"/>
                </a:cubicBezTo>
                <a:cubicBezTo>
                  <a:pt x="404" y="49"/>
                  <a:pt x="402" y="49"/>
                  <a:pt x="402" y="50"/>
                </a:cubicBezTo>
                <a:close/>
                <a:moveTo>
                  <a:pt x="391" y="1"/>
                </a:moveTo>
                <a:cubicBezTo>
                  <a:pt x="391" y="2"/>
                  <a:pt x="395" y="2"/>
                  <a:pt x="397" y="2"/>
                </a:cubicBezTo>
                <a:cubicBezTo>
                  <a:pt x="397" y="2"/>
                  <a:pt x="395" y="2"/>
                  <a:pt x="395" y="3"/>
                </a:cubicBezTo>
                <a:cubicBezTo>
                  <a:pt x="396" y="3"/>
                  <a:pt x="397" y="3"/>
                  <a:pt x="398" y="3"/>
                </a:cubicBezTo>
                <a:cubicBezTo>
                  <a:pt x="397" y="2"/>
                  <a:pt x="401" y="4"/>
                  <a:pt x="402" y="3"/>
                </a:cubicBezTo>
                <a:cubicBezTo>
                  <a:pt x="400" y="2"/>
                  <a:pt x="396" y="3"/>
                  <a:pt x="399" y="2"/>
                </a:cubicBezTo>
                <a:cubicBezTo>
                  <a:pt x="393" y="2"/>
                  <a:pt x="395" y="1"/>
                  <a:pt x="391" y="1"/>
                </a:cubicBezTo>
                <a:close/>
                <a:moveTo>
                  <a:pt x="394" y="3"/>
                </a:moveTo>
                <a:cubicBezTo>
                  <a:pt x="391" y="3"/>
                  <a:pt x="389" y="3"/>
                  <a:pt x="388" y="3"/>
                </a:cubicBezTo>
                <a:cubicBezTo>
                  <a:pt x="391" y="3"/>
                  <a:pt x="394" y="4"/>
                  <a:pt x="395" y="3"/>
                </a:cubicBezTo>
                <a:cubicBezTo>
                  <a:pt x="394" y="3"/>
                  <a:pt x="394" y="3"/>
                  <a:pt x="394" y="3"/>
                </a:cubicBezTo>
                <a:close/>
                <a:moveTo>
                  <a:pt x="384" y="2"/>
                </a:moveTo>
                <a:cubicBezTo>
                  <a:pt x="386" y="2"/>
                  <a:pt x="388" y="2"/>
                  <a:pt x="389" y="2"/>
                </a:cubicBezTo>
                <a:cubicBezTo>
                  <a:pt x="387" y="2"/>
                  <a:pt x="384" y="2"/>
                  <a:pt x="384" y="2"/>
                </a:cubicBezTo>
                <a:close/>
                <a:moveTo>
                  <a:pt x="371" y="5"/>
                </a:moveTo>
                <a:cubicBezTo>
                  <a:pt x="370" y="6"/>
                  <a:pt x="367" y="6"/>
                  <a:pt x="365" y="6"/>
                </a:cubicBezTo>
                <a:cubicBezTo>
                  <a:pt x="367" y="7"/>
                  <a:pt x="377" y="6"/>
                  <a:pt x="377" y="5"/>
                </a:cubicBezTo>
                <a:cubicBezTo>
                  <a:pt x="374" y="5"/>
                  <a:pt x="374" y="5"/>
                  <a:pt x="371" y="5"/>
                </a:cubicBezTo>
                <a:close/>
                <a:moveTo>
                  <a:pt x="364" y="51"/>
                </a:moveTo>
                <a:cubicBezTo>
                  <a:pt x="364" y="52"/>
                  <a:pt x="367" y="51"/>
                  <a:pt x="370" y="51"/>
                </a:cubicBezTo>
                <a:cubicBezTo>
                  <a:pt x="370" y="51"/>
                  <a:pt x="366" y="51"/>
                  <a:pt x="364" y="51"/>
                </a:cubicBezTo>
                <a:close/>
                <a:moveTo>
                  <a:pt x="363" y="50"/>
                </a:moveTo>
                <a:cubicBezTo>
                  <a:pt x="365" y="49"/>
                  <a:pt x="366" y="49"/>
                  <a:pt x="367" y="49"/>
                </a:cubicBezTo>
                <a:cubicBezTo>
                  <a:pt x="365" y="48"/>
                  <a:pt x="363" y="49"/>
                  <a:pt x="363" y="50"/>
                </a:cubicBezTo>
                <a:close/>
                <a:moveTo>
                  <a:pt x="326" y="13"/>
                </a:moveTo>
                <a:cubicBezTo>
                  <a:pt x="327" y="12"/>
                  <a:pt x="332" y="11"/>
                  <a:pt x="333" y="11"/>
                </a:cubicBezTo>
                <a:cubicBezTo>
                  <a:pt x="329" y="11"/>
                  <a:pt x="328" y="12"/>
                  <a:pt x="326" y="13"/>
                </a:cubicBezTo>
                <a:close/>
                <a:moveTo>
                  <a:pt x="321" y="10"/>
                </a:moveTo>
                <a:cubicBezTo>
                  <a:pt x="322" y="11"/>
                  <a:pt x="325" y="10"/>
                  <a:pt x="329" y="9"/>
                </a:cubicBezTo>
                <a:cubicBezTo>
                  <a:pt x="329" y="9"/>
                  <a:pt x="329" y="9"/>
                  <a:pt x="328" y="9"/>
                </a:cubicBezTo>
                <a:cubicBezTo>
                  <a:pt x="326" y="10"/>
                  <a:pt x="323" y="10"/>
                  <a:pt x="321" y="10"/>
                </a:cubicBezTo>
                <a:close/>
                <a:moveTo>
                  <a:pt x="322" y="58"/>
                </a:moveTo>
                <a:cubicBezTo>
                  <a:pt x="323" y="58"/>
                  <a:pt x="326" y="58"/>
                  <a:pt x="328" y="58"/>
                </a:cubicBezTo>
                <a:cubicBezTo>
                  <a:pt x="327" y="57"/>
                  <a:pt x="325" y="57"/>
                  <a:pt x="322" y="58"/>
                </a:cubicBezTo>
                <a:close/>
                <a:moveTo>
                  <a:pt x="313" y="59"/>
                </a:moveTo>
                <a:cubicBezTo>
                  <a:pt x="314" y="60"/>
                  <a:pt x="309" y="60"/>
                  <a:pt x="309" y="61"/>
                </a:cubicBezTo>
                <a:cubicBezTo>
                  <a:pt x="311" y="61"/>
                  <a:pt x="312" y="61"/>
                  <a:pt x="316" y="60"/>
                </a:cubicBezTo>
                <a:cubicBezTo>
                  <a:pt x="315" y="60"/>
                  <a:pt x="316" y="59"/>
                  <a:pt x="313" y="59"/>
                </a:cubicBezTo>
                <a:close/>
                <a:moveTo>
                  <a:pt x="286" y="24"/>
                </a:moveTo>
                <a:cubicBezTo>
                  <a:pt x="286" y="24"/>
                  <a:pt x="280" y="25"/>
                  <a:pt x="280" y="26"/>
                </a:cubicBezTo>
                <a:cubicBezTo>
                  <a:pt x="281" y="26"/>
                  <a:pt x="280" y="26"/>
                  <a:pt x="281" y="26"/>
                </a:cubicBezTo>
                <a:cubicBezTo>
                  <a:pt x="282" y="26"/>
                  <a:pt x="284" y="25"/>
                  <a:pt x="285" y="24"/>
                </a:cubicBezTo>
                <a:cubicBezTo>
                  <a:pt x="285" y="25"/>
                  <a:pt x="286" y="25"/>
                  <a:pt x="287" y="25"/>
                </a:cubicBezTo>
                <a:cubicBezTo>
                  <a:pt x="290" y="24"/>
                  <a:pt x="290" y="24"/>
                  <a:pt x="294" y="23"/>
                </a:cubicBezTo>
                <a:cubicBezTo>
                  <a:pt x="293" y="22"/>
                  <a:pt x="293" y="22"/>
                  <a:pt x="293" y="22"/>
                </a:cubicBezTo>
                <a:cubicBezTo>
                  <a:pt x="290" y="23"/>
                  <a:pt x="288" y="23"/>
                  <a:pt x="286" y="24"/>
                </a:cubicBezTo>
                <a:close/>
                <a:moveTo>
                  <a:pt x="287" y="68"/>
                </a:moveTo>
                <a:cubicBezTo>
                  <a:pt x="289" y="67"/>
                  <a:pt x="289" y="67"/>
                  <a:pt x="289" y="66"/>
                </a:cubicBezTo>
                <a:cubicBezTo>
                  <a:pt x="287" y="67"/>
                  <a:pt x="287" y="67"/>
                  <a:pt x="287" y="68"/>
                </a:cubicBezTo>
                <a:close/>
                <a:moveTo>
                  <a:pt x="237" y="80"/>
                </a:moveTo>
                <a:cubicBezTo>
                  <a:pt x="236" y="81"/>
                  <a:pt x="235" y="83"/>
                  <a:pt x="230" y="86"/>
                </a:cubicBezTo>
                <a:cubicBezTo>
                  <a:pt x="227" y="86"/>
                  <a:pt x="224" y="88"/>
                  <a:pt x="221" y="89"/>
                </a:cubicBezTo>
                <a:cubicBezTo>
                  <a:pt x="221" y="89"/>
                  <a:pt x="221" y="90"/>
                  <a:pt x="220" y="91"/>
                </a:cubicBezTo>
                <a:cubicBezTo>
                  <a:pt x="219" y="91"/>
                  <a:pt x="215" y="92"/>
                  <a:pt x="215" y="93"/>
                </a:cubicBezTo>
                <a:cubicBezTo>
                  <a:pt x="217" y="93"/>
                  <a:pt x="218" y="93"/>
                  <a:pt x="220" y="92"/>
                </a:cubicBezTo>
                <a:cubicBezTo>
                  <a:pt x="222" y="91"/>
                  <a:pt x="219" y="91"/>
                  <a:pt x="221" y="90"/>
                </a:cubicBezTo>
                <a:cubicBezTo>
                  <a:pt x="227" y="88"/>
                  <a:pt x="233" y="84"/>
                  <a:pt x="238" y="81"/>
                </a:cubicBezTo>
                <a:cubicBezTo>
                  <a:pt x="237" y="81"/>
                  <a:pt x="237" y="81"/>
                  <a:pt x="236" y="81"/>
                </a:cubicBezTo>
                <a:cubicBezTo>
                  <a:pt x="239" y="80"/>
                  <a:pt x="241" y="79"/>
                  <a:pt x="242" y="78"/>
                </a:cubicBezTo>
                <a:cubicBezTo>
                  <a:pt x="239" y="79"/>
                  <a:pt x="238" y="79"/>
                  <a:pt x="237" y="80"/>
                </a:cubicBezTo>
                <a:close/>
                <a:moveTo>
                  <a:pt x="228" y="79"/>
                </a:moveTo>
                <a:cubicBezTo>
                  <a:pt x="228" y="80"/>
                  <a:pt x="230" y="79"/>
                  <a:pt x="228" y="80"/>
                </a:cubicBezTo>
                <a:cubicBezTo>
                  <a:pt x="228" y="80"/>
                  <a:pt x="224" y="82"/>
                  <a:pt x="224" y="81"/>
                </a:cubicBezTo>
                <a:cubicBezTo>
                  <a:pt x="219" y="84"/>
                  <a:pt x="214" y="86"/>
                  <a:pt x="212" y="89"/>
                </a:cubicBezTo>
                <a:cubicBezTo>
                  <a:pt x="217" y="86"/>
                  <a:pt x="220" y="83"/>
                  <a:pt x="224" y="82"/>
                </a:cubicBezTo>
                <a:cubicBezTo>
                  <a:pt x="224" y="82"/>
                  <a:pt x="222" y="83"/>
                  <a:pt x="223" y="83"/>
                </a:cubicBezTo>
                <a:cubicBezTo>
                  <a:pt x="226" y="82"/>
                  <a:pt x="228" y="80"/>
                  <a:pt x="232" y="79"/>
                </a:cubicBezTo>
                <a:cubicBezTo>
                  <a:pt x="231" y="78"/>
                  <a:pt x="231" y="78"/>
                  <a:pt x="228" y="79"/>
                </a:cubicBezTo>
                <a:close/>
                <a:moveTo>
                  <a:pt x="209" y="55"/>
                </a:moveTo>
                <a:cubicBezTo>
                  <a:pt x="212" y="54"/>
                  <a:pt x="215" y="52"/>
                  <a:pt x="216" y="50"/>
                </a:cubicBezTo>
                <a:cubicBezTo>
                  <a:pt x="212" y="52"/>
                  <a:pt x="211" y="53"/>
                  <a:pt x="209" y="55"/>
                </a:cubicBezTo>
                <a:close/>
                <a:moveTo>
                  <a:pt x="220" y="66"/>
                </a:moveTo>
                <a:cubicBezTo>
                  <a:pt x="223" y="64"/>
                  <a:pt x="220" y="67"/>
                  <a:pt x="223" y="65"/>
                </a:cubicBezTo>
                <a:cubicBezTo>
                  <a:pt x="224" y="64"/>
                  <a:pt x="223" y="65"/>
                  <a:pt x="223" y="64"/>
                </a:cubicBezTo>
                <a:cubicBezTo>
                  <a:pt x="222" y="65"/>
                  <a:pt x="220" y="65"/>
                  <a:pt x="220" y="66"/>
                </a:cubicBezTo>
                <a:close/>
                <a:moveTo>
                  <a:pt x="217" y="67"/>
                </a:moveTo>
                <a:cubicBezTo>
                  <a:pt x="214" y="69"/>
                  <a:pt x="216" y="70"/>
                  <a:pt x="219" y="67"/>
                </a:cubicBezTo>
                <a:cubicBezTo>
                  <a:pt x="214" y="69"/>
                  <a:pt x="222" y="65"/>
                  <a:pt x="217" y="67"/>
                </a:cubicBezTo>
                <a:close/>
                <a:moveTo>
                  <a:pt x="226" y="94"/>
                </a:moveTo>
                <a:cubicBezTo>
                  <a:pt x="225" y="94"/>
                  <a:pt x="224" y="95"/>
                  <a:pt x="224" y="96"/>
                </a:cubicBezTo>
                <a:cubicBezTo>
                  <a:pt x="226" y="94"/>
                  <a:pt x="226" y="95"/>
                  <a:pt x="228" y="94"/>
                </a:cubicBezTo>
                <a:cubicBezTo>
                  <a:pt x="228" y="93"/>
                  <a:pt x="227" y="94"/>
                  <a:pt x="226" y="94"/>
                </a:cubicBezTo>
                <a:close/>
                <a:moveTo>
                  <a:pt x="216" y="80"/>
                </a:moveTo>
                <a:cubicBezTo>
                  <a:pt x="215" y="80"/>
                  <a:pt x="213" y="82"/>
                  <a:pt x="211" y="82"/>
                </a:cubicBezTo>
                <a:cubicBezTo>
                  <a:pt x="211" y="83"/>
                  <a:pt x="214" y="82"/>
                  <a:pt x="216" y="80"/>
                </a:cubicBezTo>
                <a:close/>
                <a:moveTo>
                  <a:pt x="206" y="79"/>
                </a:moveTo>
                <a:cubicBezTo>
                  <a:pt x="206" y="79"/>
                  <a:pt x="208" y="78"/>
                  <a:pt x="207" y="79"/>
                </a:cubicBezTo>
                <a:cubicBezTo>
                  <a:pt x="209" y="77"/>
                  <a:pt x="210" y="78"/>
                  <a:pt x="212" y="75"/>
                </a:cubicBezTo>
                <a:cubicBezTo>
                  <a:pt x="210" y="76"/>
                  <a:pt x="208" y="77"/>
                  <a:pt x="206" y="79"/>
                </a:cubicBezTo>
                <a:close/>
                <a:moveTo>
                  <a:pt x="192" y="65"/>
                </a:moveTo>
                <a:cubicBezTo>
                  <a:pt x="191" y="66"/>
                  <a:pt x="190" y="67"/>
                  <a:pt x="190" y="67"/>
                </a:cubicBezTo>
                <a:cubicBezTo>
                  <a:pt x="193" y="65"/>
                  <a:pt x="197" y="64"/>
                  <a:pt x="198" y="63"/>
                </a:cubicBezTo>
                <a:cubicBezTo>
                  <a:pt x="194" y="64"/>
                  <a:pt x="195" y="64"/>
                  <a:pt x="192" y="65"/>
                </a:cubicBezTo>
                <a:close/>
                <a:moveTo>
                  <a:pt x="208" y="90"/>
                </a:moveTo>
                <a:cubicBezTo>
                  <a:pt x="207" y="91"/>
                  <a:pt x="206" y="91"/>
                  <a:pt x="206" y="92"/>
                </a:cubicBezTo>
                <a:cubicBezTo>
                  <a:pt x="207" y="91"/>
                  <a:pt x="206" y="93"/>
                  <a:pt x="209" y="91"/>
                </a:cubicBezTo>
                <a:cubicBezTo>
                  <a:pt x="210" y="90"/>
                  <a:pt x="208" y="91"/>
                  <a:pt x="208" y="90"/>
                </a:cubicBezTo>
                <a:close/>
                <a:moveTo>
                  <a:pt x="207" y="101"/>
                </a:moveTo>
                <a:cubicBezTo>
                  <a:pt x="208" y="101"/>
                  <a:pt x="212" y="98"/>
                  <a:pt x="214" y="97"/>
                </a:cubicBezTo>
                <a:cubicBezTo>
                  <a:pt x="211" y="99"/>
                  <a:pt x="207" y="101"/>
                  <a:pt x="207" y="101"/>
                </a:cubicBezTo>
                <a:close/>
                <a:moveTo>
                  <a:pt x="190" y="86"/>
                </a:moveTo>
                <a:cubicBezTo>
                  <a:pt x="191" y="85"/>
                  <a:pt x="196" y="82"/>
                  <a:pt x="196" y="82"/>
                </a:cubicBezTo>
                <a:cubicBezTo>
                  <a:pt x="194" y="83"/>
                  <a:pt x="192" y="85"/>
                  <a:pt x="190" y="86"/>
                </a:cubicBezTo>
                <a:close/>
                <a:moveTo>
                  <a:pt x="198" y="111"/>
                </a:moveTo>
                <a:cubicBezTo>
                  <a:pt x="199" y="112"/>
                  <a:pt x="204" y="109"/>
                  <a:pt x="205" y="107"/>
                </a:cubicBezTo>
                <a:cubicBezTo>
                  <a:pt x="203" y="109"/>
                  <a:pt x="201" y="110"/>
                  <a:pt x="198" y="111"/>
                </a:cubicBezTo>
                <a:close/>
                <a:moveTo>
                  <a:pt x="185" y="86"/>
                </a:moveTo>
                <a:cubicBezTo>
                  <a:pt x="185" y="86"/>
                  <a:pt x="189" y="84"/>
                  <a:pt x="188" y="84"/>
                </a:cubicBezTo>
                <a:cubicBezTo>
                  <a:pt x="184" y="85"/>
                  <a:pt x="184" y="87"/>
                  <a:pt x="183" y="89"/>
                </a:cubicBezTo>
                <a:cubicBezTo>
                  <a:pt x="184" y="88"/>
                  <a:pt x="184" y="88"/>
                  <a:pt x="184" y="88"/>
                </a:cubicBezTo>
                <a:cubicBezTo>
                  <a:pt x="187" y="87"/>
                  <a:pt x="190" y="84"/>
                  <a:pt x="188" y="84"/>
                </a:cubicBezTo>
                <a:cubicBezTo>
                  <a:pt x="188" y="84"/>
                  <a:pt x="186" y="86"/>
                  <a:pt x="185" y="86"/>
                </a:cubicBezTo>
                <a:close/>
                <a:moveTo>
                  <a:pt x="175" y="77"/>
                </a:moveTo>
                <a:cubicBezTo>
                  <a:pt x="177" y="75"/>
                  <a:pt x="182" y="73"/>
                  <a:pt x="180" y="73"/>
                </a:cubicBezTo>
                <a:cubicBezTo>
                  <a:pt x="179" y="75"/>
                  <a:pt x="174" y="76"/>
                  <a:pt x="175" y="77"/>
                </a:cubicBezTo>
                <a:close/>
                <a:moveTo>
                  <a:pt x="186" y="115"/>
                </a:moveTo>
                <a:cubicBezTo>
                  <a:pt x="187" y="115"/>
                  <a:pt x="191" y="112"/>
                  <a:pt x="191" y="111"/>
                </a:cubicBezTo>
                <a:cubicBezTo>
                  <a:pt x="190" y="112"/>
                  <a:pt x="187" y="113"/>
                  <a:pt x="186" y="115"/>
                </a:cubicBezTo>
                <a:close/>
                <a:moveTo>
                  <a:pt x="177" y="93"/>
                </a:moveTo>
                <a:cubicBezTo>
                  <a:pt x="170" y="97"/>
                  <a:pt x="177" y="95"/>
                  <a:pt x="177" y="93"/>
                </a:cubicBezTo>
                <a:close/>
                <a:moveTo>
                  <a:pt x="183" y="114"/>
                </a:moveTo>
                <a:cubicBezTo>
                  <a:pt x="185" y="113"/>
                  <a:pt x="188" y="111"/>
                  <a:pt x="188" y="110"/>
                </a:cubicBezTo>
                <a:cubicBezTo>
                  <a:pt x="185" y="112"/>
                  <a:pt x="184" y="113"/>
                  <a:pt x="183" y="114"/>
                </a:cubicBezTo>
                <a:close/>
                <a:moveTo>
                  <a:pt x="158" y="89"/>
                </a:moveTo>
                <a:cubicBezTo>
                  <a:pt x="160" y="88"/>
                  <a:pt x="165" y="84"/>
                  <a:pt x="163" y="85"/>
                </a:cubicBezTo>
                <a:cubicBezTo>
                  <a:pt x="163" y="85"/>
                  <a:pt x="157" y="89"/>
                  <a:pt x="158" y="89"/>
                </a:cubicBezTo>
                <a:close/>
                <a:moveTo>
                  <a:pt x="166" y="104"/>
                </a:moveTo>
                <a:cubicBezTo>
                  <a:pt x="168" y="103"/>
                  <a:pt x="170" y="102"/>
                  <a:pt x="171" y="101"/>
                </a:cubicBezTo>
                <a:cubicBezTo>
                  <a:pt x="169" y="103"/>
                  <a:pt x="166" y="103"/>
                  <a:pt x="166" y="104"/>
                </a:cubicBezTo>
                <a:close/>
                <a:moveTo>
                  <a:pt x="172" y="122"/>
                </a:moveTo>
                <a:cubicBezTo>
                  <a:pt x="172" y="122"/>
                  <a:pt x="176" y="120"/>
                  <a:pt x="176" y="120"/>
                </a:cubicBezTo>
                <a:cubicBezTo>
                  <a:pt x="175" y="120"/>
                  <a:pt x="175" y="120"/>
                  <a:pt x="172" y="122"/>
                </a:cubicBezTo>
                <a:close/>
                <a:moveTo>
                  <a:pt x="142" y="97"/>
                </a:moveTo>
                <a:cubicBezTo>
                  <a:pt x="145" y="95"/>
                  <a:pt x="147" y="93"/>
                  <a:pt x="148" y="92"/>
                </a:cubicBezTo>
                <a:cubicBezTo>
                  <a:pt x="146" y="93"/>
                  <a:pt x="142" y="96"/>
                  <a:pt x="142" y="97"/>
                </a:cubicBezTo>
                <a:close/>
                <a:moveTo>
                  <a:pt x="155" y="112"/>
                </a:moveTo>
                <a:cubicBezTo>
                  <a:pt x="155" y="112"/>
                  <a:pt x="156" y="111"/>
                  <a:pt x="156" y="111"/>
                </a:cubicBezTo>
                <a:cubicBezTo>
                  <a:pt x="155" y="112"/>
                  <a:pt x="156" y="112"/>
                  <a:pt x="157" y="111"/>
                </a:cubicBezTo>
                <a:cubicBezTo>
                  <a:pt x="157" y="111"/>
                  <a:pt x="158" y="110"/>
                  <a:pt x="158" y="109"/>
                </a:cubicBezTo>
                <a:cubicBezTo>
                  <a:pt x="157" y="110"/>
                  <a:pt x="155" y="111"/>
                  <a:pt x="155" y="112"/>
                </a:cubicBezTo>
                <a:close/>
                <a:moveTo>
                  <a:pt x="164" y="129"/>
                </a:moveTo>
                <a:cubicBezTo>
                  <a:pt x="165" y="128"/>
                  <a:pt x="170" y="125"/>
                  <a:pt x="169" y="124"/>
                </a:cubicBezTo>
                <a:cubicBezTo>
                  <a:pt x="167" y="126"/>
                  <a:pt x="165" y="127"/>
                  <a:pt x="164" y="129"/>
                </a:cubicBezTo>
                <a:close/>
                <a:moveTo>
                  <a:pt x="153" y="112"/>
                </a:moveTo>
                <a:cubicBezTo>
                  <a:pt x="155" y="111"/>
                  <a:pt x="158" y="109"/>
                  <a:pt x="157" y="109"/>
                </a:cubicBezTo>
                <a:cubicBezTo>
                  <a:pt x="154" y="110"/>
                  <a:pt x="154" y="111"/>
                  <a:pt x="153" y="112"/>
                </a:cubicBezTo>
                <a:close/>
                <a:moveTo>
                  <a:pt x="164" y="125"/>
                </a:moveTo>
                <a:cubicBezTo>
                  <a:pt x="165" y="124"/>
                  <a:pt x="167" y="122"/>
                  <a:pt x="167" y="122"/>
                </a:cubicBezTo>
                <a:cubicBezTo>
                  <a:pt x="166" y="122"/>
                  <a:pt x="162" y="125"/>
                  <a:pt x="164" y="125"/>
                </a:cubicBezTo>
                <a:close/>
                <a:moveTo>
                  <a:pt x="162" y="131"/>
                </a:moveTo>
                <a:cubicBezTo>
                  <a:pt x="162" y="131"/>
                  <a:pt x="161" y="132"/>
                  <a:pt x="161" y="133"/>
                </a:cubicBezTo>
                <a:cubicBezTo>
                  <a:pt x="164" y="130"/>
                  <a:pt x="164" y="130"/>
                  <a:pt x="164" y="130"/>
                </a:cubicBezTo>
                <a:cubicBezTo>
                  <a:pt x="162" y="131"/>
                  <a:pt x="170" y="126"/>
                  <a:pt x="167" y="127"/>
                </a:cubicBezTo>
                <a:cubicBezTo>
                  <a:pt x="165" y="129"/>
                  <a:pt x="163" y="130"/>
                  <a:pt x="162" y="131"/>
                </a:cubicBezTo>
                <a:close/>
                <a:moveTo>
                  <a:pt x="153" y="115"/>
                </a:moveTo>
                <a:cubicBezTo>
                  <a:pt x="153" y="115"/>
                  <a:pt x="154" y="114"/>
                  <a:pt x="153" y="114"/>
                </a:cubicBezTo>
                <a:cubicBezTo>
                  <a:pt x="149" y="118"/>
                  <a:pt x="155" y="114"/>
                  <a:pt x="153" y="116"/>
                </a:cubicBezTo>
                <a:cubicBezTo>
                  <a:pt x="155" y="115"/>
                  <a:pt x="155" y="115"/>
                  <a:pt x="155" y="115"/>
                </a:cubicBezTo>
                <a:cubicBezTo>
                  <a:pt x="155" y="115"/>
                  <a:pt x="155" y="114"/>
                  <a:pt x="155" y="114"/>
                </a:cubicBezTo>
                <a:cubicBezTo>
                  <a:pt x="154" y="115"/>
                  <a:pt x="153" y="115"/>
                  <a:pt x="153" y="115"/>
                </a:cubicBezTo>
                <a:close/>
                <a:moveTo>
                  <a:pt x="132" y="105"/>
                </a:moveTo>
                <a:cubicBezTo>
                  <a:pt x="135" y="103"/>
                  <a:pt x="140" y="99"/>
                  <a:pt x="140" y="98"/>
                </a:cubicBezTo>
                <a:cubicBezTo>
                  <a:pt x="136" y="101"/>
                  <a:pt x="133" y="104"/>
                  <a:pt x="132" y="105"/>
                </a:cubicBezTo>
                <a:close/>
                <a:moveTo>
                  <a:pt x="158" y="134"/>
                </a:moveTo>
                <a:cubicBezTo>
                  <a:pt x="159" y="132"/>
                  <a:pt x="163" y="130"/>
                  <a:pt x="163" y="130"/>
                </a:cubicBezTo>
                <a:cubicBezTo>
                  <a:pt x="161" y="131"/>
                  <a:pt x="157" y="133"/>
                  <a:pt x="158" y="134"/>
                </a:cubicBezTo>
                <a:close/>
                <a:moveTo>
                  <a:pt x="149" y="141"/>
                </a:moveTo>
                <a:cubicBezTo>
                  <a:pt x="151" y="141"/>
                  <a:pt x="153" y="139"/>
                  <a:pt x="153" y="138"/>
                </a:cubicBezTo>
                <a:cubicBezTo>
                  <a:pt x="154" y="138"/>
                  <a:pt x="157" y="136"/>
                  <a:pt x="158" y="135"/>
                </a:cubicBezTo>
                <a:cubicBezTo>
                  <a:pt x="155" y="136"/>
                  <a:pt x="151" y="139"/>
                  <a:pt x="149" y="141"/>
                </a:cubicBezTo>
                <a:close/>
                <a:moveTo>
                  <a:pt x="132" y="110"/>
                </a:moveTo>
                <a:cubicBezTo>
                  <a:pt x="132" y="108"/>
                  <a:pt x="128" y="112"/>
                  <a:pt x="127" y="113"/>
                </a:cubicBezTo>
                <a:cubicBezTo>
                  <a:pt x="126" y="114"/>
                  <a:pt x="128" y="114"/>
                  <a:pt x="129" y="112"/>
                </a:cubicBezTo>
                <a:cubicBezTo>
                  <a:pt x="129" y="111"/>
                  <a:pt x="131" y="110"/>
                  <a:pt x="131" y="110"/>
                </a:cubicBezTo>
                <a:cubicBezTo>
                  <a:pt x="131" y="110"/>
                  <a:pt x="131" y="110"/>
                  <a:pt x="132" y="110"/>
                </a:cubicBezTo>
                <a:close/>
                <a:moveTo>
                  <a:pt x="137" y="153"/>
                </a:moveTo>
                <a:cubicBezTo>
                  <a:pt x="139" y="150"/>
                  <a:pt x="143" y="148"/>
                  <a:pt x="143" y="147"/>
                </a:cubicBezTo>
                <a:cubicBezTo>
                  <a:pt x="140" y="149"/>
                  <a:pt x="138" y="151"/>
                  <a:pt x="137" y="153"/>
                </a:cubicBezTo>
                <a:close/>
                <a:moveTo>
                  <a:pt x="105" y="131"/>
                </a:moveTo>
                <a:cubicBezTo>
                  <a:pt x="110" y="128"/>
                  <a:pt x="114" y="123"/>
                  <a:pt x="118" y="120"/>
                </a:cubicBezTo>
                <a:cubicBezTo>
                  <a:pt x="117" y="119"/>
                  <a:pt x="117" y="119"/>
                  <a:pt x="117" y="119"/>
                </a:cubicBezTo>
                <a:cubicBezTo>
                  <a:pt x="113" y="123"/>
                  <a:pt x="107" y="128"/>
                  <a:pt x="105" y="131"/>
                </a:cubicBezTo>
                <a:close/>
                <a:moveTo>
                  <a:pt x="144" y="153"/>
                </a:moveTo>
                <a:cubicBezTo>
                  <a:pt x="144" y="154"/>
                  <a:pt x="143" y="155"/>
                  <a:pt x="143" y="155"/>
                </a:cubicBezTo>
                <a:cubicBezTo>
                  <a:pt x="146" y="153"/>
                  <a:pt x="146" y="153"/>
                  <a:pt x="146" y="153"/>
                </a:cubicBezTo>
                <a:cubicBezTo>
                  <a:pt x="145" y="153"/>
                  <a:pt x="146" y="152"/>
                  <a:pt x="144" y="153"/>
                </a:cubicBezTo>
                <a:close/>
                <a:moveTo>
                  <a:pt x="124" y="137"/>
                </a:moveTo>
                <a:cubicBezTo>
                  <a:pt x="125" y="137"/>
                  <a:pt x="126" y="136"/>
                  <a:pt x="126" y="136"/>
                </a:cubicBezTo>
                <a:cubicBezTo>
                  <a:pt x="125" y="136"/>
                  <a:pt x="123" y="138"/>
                  <a:pt x="122" y="139"/>
                </a:cubicBezTo>
                <a:cubicBezTo>
                  <a:pt x="121" y="140"/>
                  <a:pt x="121" y="140"/>
                  <a:pt x="122" y="140"/>
                </a:cubicBezTo>
                <a:cubicBezTo>
                  <a:pt x="124" y="138"/>
                  <a:pt x="123" y="138"/>
                  <a:pt x="124" y="137"/>
                </a:cubicBezTo>
                <a:close/>
                <a:moveTo>
                  <a:pt x="112" y="136"/>
                </a:moveTo>
                <a:cubicBezTo>
                  <a:pt x="109" y="139"/>
                  <a:pt x="114" y="135"/>
                  <a:pt x="111" y="138"/>
                </a:cubicBezTo>
                <a:cubicBezTo>
                  <a:pt x="113" y="136"/>
                  <a:pt x="113" y="136"/>
                  <a:pt x="115" y="135"/>
                </a:cubicBezTo>
                <a:cubicBezTo>
                  <a:pt x="115" y="135"/>
                  <a:pt x="116" y="134"/>
                  <a:pt x="115" y="134"/>
                </a:cubicBezTo>
                <a:cubicBezTo>
                  <a:pt x="113" y="136"/>
                  <a:pt x="114" y="134"/>
                  <a:pt x="112" y="136"/>
                </a:cubicBezTo>
                <a:close/>
                <a:moveTo>
                  <a:pt x="125" y="156"/>
                </a:moveTo>
                <a:cubicBezTo>
                  <a:pt x="126" y="156"/>
                  <a:pt x="128" y="154"/>
                  <a:pt x="129" y="152"/>
                </a:cubicBezTo>
                <a:cubicBezTo>
                  <a:pt x="128" y="153"/>
                  <a:pt x="126" y="154"/>
                  <a:pt x="125" y="156"/>
                </a:cubicBezTo>
                <a:close/>
                <a:moveTo>
                  <a:pt x="113" y="150"/>
                </a:moveTo>
                <a:cubicBezTo>
                  <a:pt x="117" y="147"/>
                  <a:pt x="116" y="148"/>
                  <a:pt x="120" y="145"/>
                </a:cubicBezTo>
                <a:cubicBezTo>
                  <a:pt x="118" y="145"/>
                  <a:pt x="121" y="143"/>
                  <a:pt x="120" y="143"/>
                </a:cubicBezTo>
                <a:cubicBezTo>
                  <a:pt x="119" y="145"/>
                  <a:pt x="113" y="149"/>
                  <a:pt x="113" y="150"/>
                </a:cubicBezTo>
                <a:close/>
                <a:moveTo>
                  <a:pt x="112" y="138"/>
                </a:moveTo>
                <a:cubicBezTo>
                  <a:pt x="110" y="140"/>
                  <a:pt x="110" y="138"/>
                  <a:pt x="108" y="140"/>
                </a:cubicBezTo>
                <a:cubicBezTo>
                  <a:pt x="107" y="142"/>
                  <a:pt x="109" y="140"/>
                  <a:pt x="110" y="141"/>
                </a:cubicBezTo>
                <a:cubicBezTo>
                  <a:pt x="111" y="140"/>
                  <a:pt x="114" y="137"/>
                  <a:pt x="112" y="138"/>
                </a:cubicBezTo>
                <a:close/>
                <a:moveTo>
                  <a:pt x="96" y="141"/>
                </a:moveTo>
                <a:cubicBezTo>
                  <a:pt x="99" y="138"/>
                  <a:pt x="99" y="138"/>
                  <a:pt x="99" y="138"/>
                </a:cubicBezTo>
                <a:cubicBezTo>
                  <a:pt x="98" y="137"/>
                  <a:pt x="98" y="137"/>
                  <a:pt x="98" y="137"/>
                </a:cubicBezTo>
                <a:cubicBezTo>
                  <a:pt x="96" y="139"/>
                  <a:pt x="97" y="139"/>
                  <a:pt x="96" y="141"/>
                </a:cubicBezTo>
                <a:close/>
                <a:moveTo>
                  <a:pt x="119" y="170"/>
                </a:moveTo>
                <a:cubicBezTo>
                  <a:pt x="119" y="171"/>
                  <a:pt x="120" y="168"/>
                  <a:pt x="120" y="169"/>
                </a:cubicBezTo>
                <a:cubicBezTo>
                  <a:pt x="121" y="168"/>
                  <a:pt x="125" y="165"/>
                  <a:pt x="123" y="166"/>
                </a:cubicBezTo>
                <a:cubicBezTo>
                  <a:pt x="121" y="168"/>
                  <a:pt x="121" y="168"/>
                  <a:pt x="119" y="170"/>
                </a:cubicBezTo>
                <a:close/>
                <a:moveTo>
                  <a:pt x="111" y="161"/>
                </a:moveTo>
                <a:cubicBezTo>
                  <a:pt x="113" y="159"/>
                  <a:pt x="114" y="159"/>
                  <a:pt x="115" y="158"/>
                </a:cubicBezTo>
                <a:cubicBezTo>
                  <a:pt x="114" y="158"/>
                  <a:pt x="115" y="157"/>
                  <a:pt x="114" y="157"/>
                </a:cubicBezTo>
                <a:cubicBezTo>
                  <a:pt x="113" y="159"/>
                  <a:pt x="111" y="160"/>
                  <a:pt x="111" y="161"/>
                </a:cubicBezTo>
                <a:close/>
                <a:moveTo>
                  <a:pt x="85" y="151"/>
                </a:moveTo>
                <a:cubicBezTo>
                  <a:pt x="83" y="153"/>
                  <a:pt x="82" y="154"/>
                  <a:pt x="81" y="155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2" y="156"/>
                  <a:pt x="82" y="156"/>
                  <a:pt x="82" y="156"/>
                </a:cubicBezTo>
                <a:cubicBezTo>
                  <a:pt x="83" y="155"/>
                  <a:pt x="83" y="155"/>
                  <a:pt x="83" y="155"/>
                </a:cubicBezTo>
                <a:cubicBezTo>
                  <a:pt x="84" y="154"/>
                  <a:pt x="85" y="152"/>
                  <a:pt x="86" y="151"/>
                </a:cubicBezTo>
                <a:cubicBezTo>
                  <a:pt x="89" y="149"/>
                  <a:pt x="91" y="146"/>
                  <a:pt x="93" y="143"/>
                </a:cubicBezTo>
                <a:cubicBezTo>
                  <a:pt x="90" y="146"/>
                  <a:pt x="87" y="149"/>
                  <a:pt x="85" y="151"/>
                </a:cubicBezTo>
                <a:close/>
                <a:moveTo>
                  <a:pt x="88" y="156"/>
                </a:moveTo>
                <a:cubicBezTo>
                  <a:pt x="90" y="154"/>
                  <a:pt x="91" y="154"/>
                  <a:pt x="93" y="152"/>
                </a:cubicBezTo>
                <a:cubicBezTo>
                  <a:pt x="93" y="151"/>
                  <a:pt x="93" y="150"/>
                  <a:pt x="94" y="149"/>
                </a:cubicBezTo>
                <a:cubicBezTo>
                  <a:pt x="91" y="152"/>
                  <a:pt x="87" y="156"/>
                  <a:pt x="88" y="156"/>
                </a:cubicBezTo>
                <a:close/>
                <a:moveTo>
                  <a:pt x="86" y="154"/>
                </a:moveTo>
                <a:cubicBezTo>
                  <a:pt x="88" y="153"/>
                  <a:pt x="87" y="154"/>
                  <a:pt x="89" y="152"/>
                </a:cubicBezTo>
                <a:cubicBezTo>
                  <a:pt x="89" y="152"/>
                  <a:pt x="89" y="152"/>
                  <a:pt x="90" y="151"/>
                </a:cubicBezTo>
                <a:cubicBezTo>
                  <a:pt x="89" y="151"/>
                  <a:pt x="89" y="151"/>
                  <a:pt x="90" y="151"/>
                </a:cubicBezTo>
                <a:cubicBezTo>
                  <a:pt x="90" y="150"/>
                  <a:pt x="90" y="150"/>
                  <a:pt x="90" y="150"/>
                </a:cubicBezTo>
                <a:cubicBezTo>
                  <a:pt x="89" y="152"/>
                  <a:pt x="86" y="154"/>
                  <a:pt x="86" y="154"/>
                </a:cubicBezTo>
                <a:close/>
                <a:moveTo>
                  <a:pt x="96" y="160"/>
                </a:moveTo>
                <a:cubicBezTo>
                  <a:pt x="96" y="161"/>
                  <a:pt x="94" y="163"/>
                  <a:pt x="94" y="164"/>
                </a:cubicBezTo>
                <a:cubicBezTo>
                  <a:pt x="96" y="162"/>
                  <a:pt x="96" y="161"/>
                  <a:pt x="98" y="160"/>
                </a:cubicBezTo>
                <a:cubicBezTo>
                  <a:pt x="97" y="159"/>
                  <a:pt x="97" y="160"/>
                  <a:pt x="96" y="160"/>
                </a:cubicBezTo>
                <a:close/>
                <a:moveTo>
                  <a:pt x="95" y="158"/>
                </a:moveTo>
                <a:cubicBezTo>
                  <a:pt x="95" y="158"/>
                  <a:pt x="95" y="158"/>
                  <a:pt x="95" y="158"/>
                </a:cubicBezTo>
                <a:cubicBezTo>
                  <a:pt x="93" y="159"/>
                  <a:pt x="94" y="159"/>
                  <a:pt x="92" y="160"/>
                </a:cubicBezTo>
                <a:cubicBezTo>
                  <a:pt x="93" y="161"/>
                  <a:pt x="93" y="161"/>
                  <a:pt x="93" y="161"/>
                </a:cubicBezTo>
                <a:cubicBezTo>
                  <a:pt x="94" y="159"/>
                  <a:pt x="94" y="160"/>
                  <a:pt x="95" y="158"/>
                </a:cubicBezTo>
                <a:close/>
                <a:moveTo>
                  <a:pt x="85" y="163"/>
                </a:moveTo>
                <a:cubicBezTo>
                  <a:pt x="86" y="162"/>
                  <a:pt x="86" y="162"/>
                  <a:pt x="86" y="162"/>
                </a:cubicBezTo>
                <a:cubicBezTo>
                  <a:pt x="86" y="162"/>
                  <a:pt x="85" y="162"/>
                  <a:pt x="85" y="163"/>
                </a:cubicBezTo>
                <a:close/>
                <a:moveTo>
                  <a:pt x="91" y="167"/>
                </a:moveTo>
                <a:cubicBezTo>
                  <a:pt x="91" y="167"/>
                  <a:pt x="91" y="167"/>
                  <a:pt x="91" y="168"/>
                </a:cubicBezTo>
                <a:cubicBezTo>
                  <a:pt x="92" y="168"/>
                  <a:pt x="92" y="168"/>
                  <a:pt x="92" y="167"/>
                </a:cubicBezTo>
                <a:cubicBezTo>
                  <a:pt x="92" y="167"/>
                  <a:pt x="92" y="167"/>
                  <a:pt x="92" y="167"/>
                </a:cubicBezTo>
                <a:cubicBezTo>
                  <a:pt x="92" y="167"/>
                  <a:pt x="91" y="166"/>
                  <a:pt x="91" y="167"/>
                </a:cubicBezTo>
                <a:close/>
                <a:moveTo>
                  <a:pt x="101" y="179"/>
                </a:moveTo>
                <a:cubicBezTo>
                  <a:pt x="101" y="179"/>
                  <a:pt x="101" y="179"/>
                  <a:pt x="102" y="180"/>
                </a:cubicBezTo>
                <a:cubicBezTo>
                  <a:pt x="102" y="179"/>
                  <a:pt x="102" y="178"/>
                  <a:pt x="103" y="178"/>
                </a:cubicBezTo>
                <a:cubicBezTo>
                  <a:pt x="103" y="178"/>
                  <a:pt x="103" y="178"/>
                  <a:pt x="103" y="177"/>
                </a:cubicBezTo>
                <a:cubicBezTo>
                  <a:pt x="102" y="178"/>
                  <a:pt x="102" y="178"/>
                  <a:pt x="101" y="179"/>
                </a:cubicBezTo>
                <a:close/>
                <a:moveTo>
                  <a:pt x="111" y="187"/>
                </a:moveTo>
                <a:cubicBezTo>
                  <a:pt x="111" y="188"/>
                  <a:pt x="112" y="187"/>
                  <a:pt x="112" y="187"/>
                </a:cubicBezTo>
                <a:cubicBezTo>
                  <a:pt x="111" y="187"/>
                  <a:pt x="112" y="187"/>
                  <a:pt x="112" y="186"/>
                </a:cubicBezTo>
                <a:cubicBezTo>
                  <a:pt x="111" y="186"/>
                  <a:pt x="112" y="187"/>
                  <a:pt x="111" y="187"/>
                </a:cubicBezTo>
                <a:close/>
                <a:moveTo>
                  <a:pt x="100" y="178"/>
                </a:moveTo>
                <a:cubicBezTo>
                  <a:pt x="100" y="179"/>
                  <a:pt x="101" y="179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0" y="178"/>
                  <a:pt x="100" y="178"/>
                </a:cubicBezTo>
                <a:close/>
                <a:moveTo>
                  <a:pt x="101" y="180"/>
                </a:moveTo>
                <a:cubicBezTo>
                  <a:pt x="101" y="179"/>
                  <a:pt x="101" y="181"/>
                  <a:pt x="102" y="180"/>
                </a:cubicBezTo>
                <a:cubicBezTo>
                  <a:pt x="102" y="180"/>
                  <a:pt x="101" y="179"/>
                  <a:pt x="101" y="179"/>
                </a:cubicBezTo>
                <a:cubicBezTo>
                  <a:pt x="101" y="179"/>
                  <a:pt x="100" y="180"/>
                  <a:pt x="101" y="180"/>
                </a:cubicBezTo>
                <a:close/>
                <a:moveTo>
                  <a:pt x="76" y="157"/>
                </a:moveTo>
                <a:cubicBezTo>
                  <a:pt x="76" y="157"/>
                  <a:pt x="77" y="156"/>
                  <a:pt x="76" y="156"/>
                </a:cubicBezTo>
                <a:cubicBezTo>
                  <a:pt x="76" y="156"/>
                  <a:pt x="76" y="157"/>
                  <a:pt x="76" y="157"/>
                </a:cubicBezTo>
                <a:close/>
                <a:moveTo>
                  <a:pt x="99" y="179"/>
                </a:moveTo>
                <a:cubicBezTo>
                  <a:pt x="99" y="178"/>
                  <a:pt x="100" y="180"/>
                  <a:pt x="100" y="179"/>
                </a:cubicBezTo>
                <a:cubicBezTo>
                  <a:pt x="99" y="179"/>
                  <a:pt x="100" y="179"/>
                  <a:pt x="100" y="178"/>
                </a:cubicBezTo>
                <a:cubicBezTo>
                  <a:pt x="100" y="178"/>
                  <a:pt x="99" y="179"/>
                  <a:pt x="99" y="179"/>
                </a:cubicBezTo>
                <a:close/>
                <a:moveTo>
                  <a:pt x="104" y="186"/>
                </a:moveTo>
                <a:cubicBezTo>
                  <a:pt x="105" y="185"/>
                  <a:pt x="105" y="185"/>
                  <a:pt x="105" y="185"/>
                </a:cubicBezTo>
                <a:cubicBezTo>
                  <a:pt x="105" y="184"/>
                  <a:pt x="104" y="185"/>
                  <a:pt x="104" y="186"/>
                </a:cubicBezTo>
                <a:close/>
                <a:moveTo>
                  <a:pt x="100" y="181"/>
                </a:move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1" y="181"/>
                  <a:pt x="101" y="181"/>
                </a:cubicBezTo>
                <a:cubicBezTo>
                  <a:pt x="100" y="181"/>
                  <a:pt x="100" y="180"/>
                  <a:pt x="100" y="181"/>
                </a:cubicBezTo>
                <a:close/>
                <a:moveTo>
                  <a:pt x="108" y="192"/>
                </a:moveTo>
                <a:cubicBezTo>
                  <a:pt x="108" y="191"/>
                  <a:pt x="109" y="190"/>
                  <a:pt x="109" y="190"/>
                </a:cubicBezTo>
                <a:cubicBezTo>
                  <a:pt x="108" y="191"/>
                  <a:pt x="107" y="191"/>
                  <a:pt x="108" y="192"/>
                </a:cubicBezTo>
                <a:close/>
                <a:moveTo>
                  <a:pt x="76" y="161"/>
                </a:moveTo>
                <a:cubicBezTo>
                  <a:pt x="76" y="161"/>
                  <a:pt x="77" y="162"/>
                  <a:pt x="77" y="161"/>
                </a:cubicBezTo>
                <a:cubicBezTo>
                  <a:pt x="77" y="161"/>
                  <a:pt x="77" y="161"/>
                  <a:pt x="77" y="161"/>
                </a:cubicBezTo>
                <a:cubicBezTo>
                  <a:pt x="77" y="161"/>
                  <a:pt x="78" y="161"/>
                  <a:pt x="77" y="161"/>
                </a:cubicBezTo>
                <a:cubicBezTo>
                  <a:pt x="77" y="161"/>
                  <a:pt x="77" y="161"/>
                  <a:pt x="76" y="161"/>
                </a:cubicBezTo>
                <a:close/>
                <a:moveTo>
                  <a:pt x="99" y="182"/>
                </a:moveTo>
                <a:cubicBezTo>
                  <a:pt x="99" y="182"/>
                  <a:pt x="99" y="182"/>
                  <a:pt x="99" y="182"/>
                </a:cubicBezTo>
                <a:cubicBezTo>
                  <a:pt x="100" y="182"/>
                  <a:pt x="100" y="182"/>
                  <a:pt x="100" y="181"/>
                </a:cubicBezTo>
                <a:cubicBezTo>
                  <a:pt x="99" y="181"/>
                  <a:pt x="99" y="182"/>
                  <a:pt x="99" y="182"/>
                </a:cubicBezTo>
                <a:close/>
                <a:moveTo>
                  <a:pt x="102" y="184"/>
                </a:moveTo>
                <a:cubicBezTo>
                  <a:pt x="102" y="184"/>
                  <a:pt x="102" y="185"/>
                  <a:pt x="102" y="185"/>
                </a:cubicBezTo>
                <a:cubicBezTo>
                  <a:pt x="102" y="185"/>
                  <a:pt x="102" y="185"/>
                  <a:pt x="102" y="185"/>
                </a:cubicBezTo>
                <a:cubicBezTo>
                  <a:pt x="102" y="185"/>
                  <a:pt x="103" y="185"/>
                  <a:pt x="103" y="184"/>
                </a:cubicBezTo>
                <a:cubicBezTo>
                  <a:pt x="103" y="185"/>
                  <a:pt x="102" y="184"/>
                  <a:pt x="102" y="184"/>
                </a:cubicBezTo>
                <a:close/>
                <a:moveTo>
                  <a:pt x="103" y="187"/>
                </a:moveTo>
                <a:cubicBezTo>
                  <a:pt x="104" y="186"/>
                  <a:pt x="104" y="186"/>
                  <a:pt x="104" y="185"/>
                </a:cubicBezTo>
                <a:cubicBezTo>
                  <a:pt x="104" y="186"/>
                  <a:pt x="103" y="186"/>
                  <a:pt x="103" y="187"/>
                </a:cubicBezTo>
                <a:close/>
                <a:moveTo>
                  <a:pt x="99" y="185"/>
                </a:moveTo>
                <a:cubicBezTo>
                  <a:pt x="99" y="185"/>
                  <a:pt x="100" y="185"/>
                  <a:pt x="100" y="185"/>
                </a:cubicBezTo>
                <a:cubicBezTo>
                  <a:pt x="100" y="185"/>
                  <a:pt x="101" y="185"/>
                  <a:pt x="101" y="186"/>
                </a:cubicBezTo>
                <a:cubicBezTo>
                  <a:pt x="102" y="186"/>
                  <a:pt x="100" y="184"/>
                  <a:pt x="102" y="184"/>
                </a:cubicBezTo>
                <a:cubicBezTo>
                  <a:pt x="101" y="184"/>
                  <a:pt x="101" y="184"/>
                  <a:pt x="101" y="183"/>
                </a:cubicBezTo>
                <a:cubicBezTo>
                  <a:pt x="100" y="184"/>
                  <a:pt x="99" y="184"/>
                  <a:pt x="99" y="185"/>
                </a:cubicBezTo>
                <a:close/>
                <a:moveTo>
                  <a:pt x="84" y="169"/>
                </a:moveTo>
                <a:cubicBezTo>
                  <a:pt x="84" y="169"/>
                  <a:pt x="85" y="169"/>
                  <a:pt x="85" y="168"/>
                </a:cubicBezTo>
                <a:cubicBezTo>
                  <a:pt x="85" y="169"/>
                  <a:pt x="84" y="169"/>
                  <a:pt x="84" y="169"/>
                </a:cubicBezTo>
                <a:close/>
                <a:moveTo>
                  <a:pt x="97" y="181"/>
                </a:moveTo>
                <a:cubicBezTo>
                  <a:pt x="98" y="181"/>
                  <a:pt x="97" y="182"/>
                  <a:pt x="98" y="182"/>
                </a:cubicBezTo>
                <a:cubicBezTo>
                  <a:pt x="98" y="181"/>
                  <a:pt x="98" y="181"/>
                  <a:pt x="98" y="181"/>
                </a:cubicBezTo>
                <a:cubicBezTo>
                  <a:pt x="98" y="181"/>
                  <a:pt x="98" y="181"/>
                  <a:pt x="97" y="181"/>
                </a:cubicBezTo>
                <a:close/>
                <a:moveTo>
                  <a:pt x="105" y="194"/>
                </a:moveTo>
                <a:cubicBezTo>
                  <a:pt x="106" y="194"/>
                  <a:pt x="106" y="192"/>
                  <a:pt x="107" y="192"/>
                </a:cubicBezTo>
                <a:cubicBezTo>
                  <a:pt x="107" y="192"/>
                  <a:pt x="107" y="192"/>
                  <a:pt x="107" y="192"/>
                </a:cubicBezTo>
                <a:cubicBezTo>
                  <a:pt x="106" y="192"/>
                  <a:pt x="105" y="193"/>
                  <a:pt x="105" y="194"/>
                </a:cubicBezTo>
                <a:close/>
                <a:moveTo>
                  <a:pt x="91" y="184"/>
                </a:moveTo>
                <a:cubicBezTo>
                  <a:pt x="92" y="184"/>
                  <a:pt x="91" y="185"/>
                  <a:pt x="91" y="185"/>
                </a:cubicBezTo>
                <a:cubicBezTo>
                  <a:pt x="92" y="185"/>
                  <a:pt x="92" y="184"/>
                  <a:pt x="93" y="184"/>
                </a:cubicBezTo>
                <a:cubicBezTo>
                  <a:pt x="92" y="184"/>
                  <a:pt x="92" y="184"/>
                  <a:pt x="92" y="183"/>
                </a:cubicBezTo>
                <a:cubicBezTo>
                  <a:pt x="92" y="184"/>
                  <a:pt x="92" y="184"/>
                  <a:pt x="91" y="184"/>
                </a:cubicBezTo>
                <a:close/>
                <a:moveTo>
                  <a:pt x="72" y="169"/>
                </a:moveTo>
                <a:cubicBezTo>
                  <a:pt x="73" y="170"/>
                  <a:pt x="73" y="170"/>
                  <a:pt x="73" y="170"/>
                </a:cubicBezTo>
                <a:cubicBezTo>
                  <a:pt x="73" y="169"/>
                  <a:pt x="75" y="168"/>
                  <a:pt x="74" y="167"/>
                </a:cubicBezTo>
                <a:cubicBezTo>
                  <a:pt x="73" y="168"/>
                  <a:pt x="73" y="169"/>
                  <a:pt x="72" y="169"/>
                </a:cubicBezTo>
                <a:close/>
                <a:moveTo>
                  <a:pt x="74" y="170"/>
                </a:moveTo>
                <a:cubicBezTo>
                  <a:pt x="75" y="170"/>
                  <a:pt x="76" y="169"/>
                  <a:pt x="76" y="168"/>
                </a:cubicBezTo>
                <a:cubicBezTo>
                  <a:pt x="75" y="169"/>
                  <a:pt x="74" y="170"/>
                  <a:pt x="74" y="170"/>
                </a:cubicBezTo>
                <a:close/>
                <a:moveTo>
                  <a:pt x="88" y="184"/>
                </a:moveTo>
                <a:cubicBezTo>
                  <a:pt x="89" y="185"/>
                  <a:pt x="89" y="185"/>
                  <a:pt x="89" y="185"/>
                </a:cubicBezTo>
                <a:cubicBezTo>
                  <a:pt x="90" y="184"/>
                  <a:pt x="90" y="184"/>
                  <a:pt x="90" y="183"/>
                </a:cubicBezTo>
                <a:cubicBezTo>
                  <a:pt x="90" y="183"/>
                  <a:pt x="89" y="184"/>
                  <a:pt x="88" y="184"/>
                </a:cubicBezTo>
                <a:close/>
                <a:moveTo>
                  <a:pt x="71" y="168"/>
                </a:moveTo>
                <a:cubicBezTo>
                  <a:pt x="71" y="168"/>
                  <a:pt x="71" y="167"/>
                  <a:pt x="71" y="167"/>
                </a:cubicBezTo>
                <a:cubicBezTo>
                  <a:pt x="71" y="167"/>
                  <a:pt x="71" y="168"/>
                  <a:pt x="71" y="168"/>
                </a:cubicBezTo>
                <a:close/>
                <a:moveTo>
                  <a:pt x="89" y="187"/>
                </a:moveTo>
                <a:cubicBezTo>
                  <a:pt x="90" y="188"/>
                  <a:pt x="90" y="187"/>
                  <a:pt x="90" y="187"/>
                </a:cubicBezTo>
                <a:cubicBezTo>
                  <a:pt x="91" y="187"/>
                  <a:pt x="91" y="186"/>
                  <a:pt x="91" y="186"/>
                </a:cubicBezTo>
                <a:cubicBezTo>
                  <a:pt x="90" y="186"/>
                  <a:pt x="90" y="187"/>
                  <a:pt x="89" y="186"/>
                </a:cubicBezTo>
                <a:cubicBezTo>
                  <a:pt x="89" y="186"/>
                  <a:pt x="90" y="187"/>
                  <a:pt x="89" y="187"/>
                </a:cubicBezTo>
                <a:close/>
                <a:moveTo>
                  <a:pt x="84" y="182"/>
                </a:moveTo>
                <a:cubicBezTo>
                  <a:pt x="84" y="182"/>
                  <a:pt x="85" y="180"/>
                  <a:pt x="84" y="180"/>
                </a:cubicBezTo>
                <a:cubicBezTo>
                  <a:pt x="84" y="181"/>
                  <a:pt x="83" y="181"/>
                  <a:pt x="84" y="182"/>
                </a:cubicBezTo>
                <a:close/>
                <a:moveTo>
                  <a:pt x="72" y="173"/>
                </a:moveTo>
                <a:cubicBezTo>
                  <a:pt x="72" y="173"/>
                  <a:pt x="73" y="173"/>
                  <a:pt x="73" y="173"/>
                </a:cubicBezTo>
                <a:cubicBezTo>
                  <a:pt x="73" y="173"/>
                  <a:pt x="73" y="173"/>
                  <a:pt x="73" y="172"/>
                </a:cubicBezTo>
                <a:cubicBezTo>
                  <a:pt x="72" y="172"/>
                  <a:pt x="75" y="172"/>
                  <a:pt x="74" y="171"/>
                </a:cubicBezTo>
                <a:cubicBezTo>
                  <a:pt x="73" y="171"/>
                  <a:pt x="73" y="172"/>
                  <a:pt x="72" y="173"/>
                </a:cubicBezTo>
                <a:close/>
                <a:moveTo>
                  <a:pt x="97" y="197"/>
                </a:moveTo>
                <a:cubicBezTo>
                  <a:pt x="98" y="196"/>
                  <a:pt x="99" y="195"/>
                  <a:pt x="99" y="194"/>
                </a:cubicBezTo>
                <a:cubicBezTo>
                  <a:pt x="99" y="195"/>
                  <a:pt x="97" y="195"/>
                  <a:pt x="97" y="197"/>
                </a:cubicBezTo>
                <a:close/>
                <a:moveTo>
                  <a:pt x="69" y="174"/>
                </a:moveTo>
                <a:cubicBezTo>
                  <a:pt x="70" y="173"/>
                  <a:pt x="71" y="172"/>
                  <a:pt x="72" y="171"/>
                </a:cubicBezTo>
                <a:cubicBezTo>
                  <a:pt x="72" y="170"/>
                  <a:pt x="72" y="170"/>
                  <a:pt x="72" y="170"/>
                </a:cubicBezTo>
                <a:cubicBezTo>
                  <a:pt x="71" y="172"/>
                  <a:pt x="69" y="172"/>
                  <a:pt x="69" y="174"/>
                </a:cubicBezTo>
                <a:close/>
                <a:moveTo>
                  <a:pt x="91" y="189"/>
                </a:moveTo>
                <a:cubicBezTo>
                  <a:pt x="91" y="189"/>
                  <a:pt x="92" y="189"/>
                  <a:pt x="91" y="188"/>
                </a:cubicBezTo>
                <a:cubicBezTo>
                  <a:pt x="91" y="189"/>
                  <a:pt x="90" y="189"/>
                  <a:pt x="91" y="189"/>
                </a:cubicBezTo>
                <a:close/>
                <a:moveTo>
                  <a:pt x="69" y="171"/>
                </a:moveTo>
                <a:cubicBezTo>
                  <a:pt x="69" y="170"/>
                  <a:pt x="70" y="169"/>
                  <a:pt x="70" y="169"/>
                </a:cubicBezTo>
                <a:cubicBezTo>
                  <a:pt x="69" y="169"/>
                  <a:pt x="68" y="170"/>
                  <a:pt x="69" y="171"/>
                </a:cubicBezTo>
                <a:close/>
                <a:moveTo>
                  <a:pt x="67" y="172"/>
                </a:moveTo>
                <a:cubicBezTo>
                  <a:pt x="68" y="173"/>
                  <a:pt x="68" y="172"/>
                  <a:pt x="68" y="171"/>
                </a:cubicBezTo>
                <a:lnTo>
                  <a:pt x="67" y="172"/>
                </a:lnTo>
                <a:close/>
                <a:moveTo>
                  <a:pt x="96" y="198"/>
                </a:moveTo>
                <a:cubicBezTo>
                  <a:pt x="97" y="198"/>
                  <a:pt x="97" y="197"/>
                  <a:pt x="97" y="197"/>
                </a:cubicBezTo>
                <a:cubicBezTo>
                  <a:pt x="96" y="197"/>
                  <a:pt x="96" y="198"/>
                  <a:pt x="96" y="198"/>
                </a:cubicBezTo>
                <a:close/>
                <a:moveTo>
                  <a:pt x="75" y="181"/>
                </a:moveTo>
                <a:cubicBezTo>
                  <a:pt x="76" y="181"/>
                  <a:pt x="77" y="180"/>
                  <a:pt x="76" y="180"/>
                </a:cubicBezTo>
                <a:cubicBezTo>
                  <a:pt x="76" y="180"/>
                  <a:pt x="75" y="181"/>
                  <a:pt x="75" y="181"/>
                </a:cubicBezTo>
                <a:close/>
                <a:moveTo>
                  <a:pt x="90" y="195"/>
                </a:moveTo>
                <a:cubicBezTo>
                  <a:pt x="91" y="196"/>
                  <a:pt x="91" y="194"/>
                  <a:pt x="92" y="194"/>
                </a:cubicBezTo>
                <a:cubicBezTo>
                  <a:pt x="92" y="194"/>
                  <a:pt x="92" y="194"/>
                  <a:pt x="91" y="193"/>
                </a:cubicBezTo>
                <a:cubicBezTo>
                  <a:pt x="91" y="194"/>
                  <a:pt x="91" y="195"/>
                  <a:pt x="90" y="195"/>
                </a:cubicBezTo>
                <a:close/>
                <a:moveTo>
                  <a:pt x="65" y="173"/>
                </a:moveTo>
                <a:cubicBezTo>
                  <a:pt x="66" y="173"/>
                  <a:pt x="66" y="172"/>
                  <a:pt x="66" y="172"/>
                </a:cubicBezTo>
                <a:cubicBezTo>
                  <a:pt x="66" y="172"/>
                  <a:pt x="65" y="173"/>
                  <a:pt x="65" y="173"/>
                </a:cubicBezTo>
                <a:close/>
                <a:moveTo>
                  <a:pt x="67" y="176"/>
                </a:moveTo>
                <a:cubicBezTo>
                  <a:pt x="68" y="177"/>
                  <a:pt x="69" y="175"/>
                  <a:pt x="68" y="175"/>
                </a:cubicBezTo>
                <a:cubicBezTo>
                  <a:pt x="68" y="176"/>
                  <a:pt x="67" y="176"/>
                  <a:pt x="67" y="176"/>
                </a:cubicBezTo>
                <a:close/>
                <a:moveTo>
                  <a:pt x="70" y="178"/>
                </a:moveTo>
                <a:cubicBezTo>
                  <a:pt x="70" y="179"/>
                  <a:pt x="70" y="178"/>
                  <a:pt x="70" y="177"/>
                </a:cubicBezTo>
                <a:cubicBezTo>
                  <a:pt x="70" y="177"/>
                  <a:pt x="70" y="178"/>
                  <a:pt x="70" y="178"/>
                </a:cubicBezTo>
                <a:close/>
                <a:moveTo>
                  <a:pt x="88" y="196"/>
                </a:moveTo>
                <a:cubicBezTo>
                  <a:pt x="89" y="196"/>
                  <a:pt x="90" y="195"/>
                  <a:pt x="89" y="194"/>
                </a:cubicBezTo>
                <a:cubicBezTo>
                  <a:pt x="89" y="196"/>
                  <a:pt x="87" y="195"/>
                  <a:pt x="88" y="196"/>
                </a:cubicBezTo>
                <a:close/>
                <a:moveTo>
                  <a:pt x="63" y="174"/>
                </a:moveTo>
                <a:cubicBezTo>
                  <a:pt x="63" y="174"/>
                  <a:pt x="63" y="174"/>
                  <a:pt x="63" y="174"/>
                </a:cubicBezTo>
                <a:cubicBezTo>
                  <a:pt x="64" y="174"/>
                  <a:pt x="64" y="173"/>
                  <a:pt x="64" y="172"/>
                </a:cubicBezTo>
                <a:cubicBezTo>
                  <a:pt x="64" y="172"/>
                  <a:pt x="64" y="173"/>
                  <a:pt x="63" y="174"/>
                </a:cubicBezTo>
                <a:close/>
                <a:moveTo>
                  <a:pt x="87" y="195"/>
                </a:moveTo>
                <a:cubicBezTo>
                  <a:pt x="87" y="194"/>
                  <a:pt x="87" y="194"/>
                  <a:pt x="88" y="194"/>
                </a:cubicBezTo>
                <a:cubicBezTo>
                  <a:pt x="87" y="193"/>
                  <a:pt x="87" y="193"/>
                  <a:pt x="87" y="193"/>
                </a:cubicBezTo>
                <a:cubicBezTo>
                  <a:pt x="87" y="194"/>
                  <a:pt x="86" y="194"/>
                  <a:pt x="87" y="195"/>
                </a:cubicBezTo>
                <a:close/>
                <a:moveTo>
                  <a:pt x="89" y="196"/>
                </a:moveTo>
                <a:cubicBezTo>
                  <a:pt x="89" y="196"/>
                  <a:pt x="90" y="197"/>
                  <a:pt x="90" y="197"/>
                </a:cubicBezTo>
                <a:cubicBezTo>
                  <a:pt x="90" y="196"/>
                  <a:pt x="90" y="196"/>
                  <a:pt x="89" y="196"/>
                </a:cubicBezTo>
                <a:close/>
                <a:moveTo>
                  <a:pt x="70" y="180"/>
                </a:moveTo>
                <a:cubicBezTo>
                  <a:pt x="70" y="180"/>
                  <a:pt x="70" y="180"/>
                  <a:pt x="70" y="179"/>
                </a:cubicBezTo>
                <a:cubicBezTo>
                  <a:pt x="70" y="179"/>
                  <a:pt x="69" y="179"/>
                  <a:pt x="69" y="180"/>
                </a:cubicBezTo>
                <a:cubicBezTo>
                  <a:pt x="69" y="180"/>
                  <a:pt x="69" y="180"/>
                  <a:pt x="70" y="180"/>
                </a:cubicBezTo>
                <a:close/>
                <a:moveTo>
                  <a:pt x="63" y="175"/>
                </a:moveTo>
                <a:cubicBezTo>
                  <a:pt x="62" y="175"/>
                  <a:pt x="61" y="176"/>
                  <a:pt x="61" y="177"/>
                </a:cubicBezTo>
                <a:cubicBezTo>
                  <a:pt x="62" y="177"/>
                  <a:pt x="63" y="175"/>
                  <a:pt x="63" y="174"/>
                </a:cubicBezTo>
                <a:cubicBezTo>
                  <a:pt x="63" y="174"/>
                  <a:pt x="63" y="175"/>
                  <a:pt x="63" y="175"/>
                </a:cubicBezTo>
                <a:close/>
                <a:moveTo>
                  <a:pt x="88" y="201"/>
                </a:moveTo>
                <a:cubicBezTo>
                  <a:pt x="88" y="202"/>
                  <a:pt x="88" y="202"/>
                  <a:pt x="89" y="202"/>
                </a:cubicBezTo>
                <a:cubicBezTo>
                  <a:pt x="89" y="201"/>
                  <a:pt x="89" y="201"/>
                  <a:pt x="90" y="200"/>
                </a:cubicBezTo>
                <a:cubicBezTo>
                  <a:pt x="90" y="200"/>
                  <a:pt x="90" y="200"/>
                  <a:pt x="90" y="199"/>
                </a:cubicBezTo>
                <a:cubicBezTo>
                  <a:pt x="90" y="199"/>
                  <a:pt x="90" y="199"/>
                  <a:pt x="90" y="199"/>
                </a:cubicBezTo>
                <a:cubicBezTo>
                  <a:pt x="89" y="200"/>
                  <a:pt x="89" y="201"/>
                  <a:pt x="88" y="201"/>
                </a:cubicBezTo>
                <a:close/>
                <a:moveTo>
                  <a:pt x="92" y="203"/>
                </a:moveTo>
                <a:cubicBezTo>
                  <a:pt x="92" y="203"/>
                  <a:pt x="93" y="202"/>
                  <a:pt x="93" y="202"/>
                </a:cubicBezTo>
                <a:cubicBezTo>
                  <a:pt x="92" y="202"/>
                  <a:pt x="92" y="202"/>
                  <a:pt x="92" y="203"/>
                </a:cubicBezTo>
                <a:close/>
                <a:moveTo>
                  <a:pt x="62" y="177"/>
                </a:moveTo>
                <a:cubicBezTo>
                  <a:pt x="62" y="177"/>
                  <a:pt x="63" y="177"/>
                  <a:pt x="63" y="176"/>
                </a:cubicBezTo>
                <a:cubicBezTo>
                  <a:pt x="62" y="176"/>
                  <a:pt x="62" y="177"/>
                  <a:pt x="62" y="177"/>
                </a:cubicBezTo>
                <a:close/>
                <a:moveTo>
                  <a:pt x="62" y="177"/>
                </a:moveTo>
                <a:cubicBezTo>
                  <a:pt x="62" y="178"/>
                  <a:pt x="63" y="178"/>
                  <a:pt x="63" y="178"/>
                </a:cubicBezTo>
                <a:cubicBezTo>
                  <a:pt x="63" y="177"/>
                  <a:pt x="63" y="177"/>
                  <a:pt x="62" y="177"/>
                </a:cubicBezTo>
                <a:close/>
                <a:moveTo>
                  <a:pt x="90" y="205"/>
                </a:moveTo>
                <a:cubicBezTo>
                  <a:pt x="90" y="205"/>
                  <a:pt x="92" y="204"/>
                  <a:pt x="91" y="203"/>
                </a:cubicBezTo>
                <a:cubicBezTo>
                  <a:pt x="91" y="203"/>
                  <a:pt x="90" y="204"/>
                  <a:pt x="90" y="205"/>
                </a:cubicBezTo>
                <a:close/>
                <a:moveTo>
                  <a:pt x="89" y="203"/>
                </a:moveTo>
                <a:cubicBezTo>
                  <a:pt x="90" y="204"/>
                  <a:pt x="91" y="202"/>
                  <a:pt x="90" y="202"/>
                </a:cubicBezTo>
                <a:cubicBezTo>
                  <a:pt x="90" y="203"/>
                  <a:pt x="90" y="203"/>
                  <a:pt x="89" y="203"/>
                </a:cubicBezTo>
                <a:close/>
                <a:moveTo>
                  <a:pt x="78" y="193"/>
                </a:moveTo>
                <a:cubicBezTo>
                  <a:pt x="76" y="194"/>
                  <a:pt x="79" y="195"/>
                  <a:pt x="78" y="196"/>
                </a:cubicBezTo>
                <a:cubicBezTo>
                  <a:pt x="79" y="196"/>
                  <a:pt x="80" y="194"/>
                  <a:pt x="80" y="194"/>
                </a:cubicBezTo>
                <a:cubicBezTo>
                  <a:pt x="79" y="195"/>
                  <a:pt x="78" y="194"/>
                  <a:pt x="78" y="193"/>
                </a:cubicBezTo>
                <a:close/>
                <a:moveTo>
                  <a:pt x="70" y="188"/>
                </a:moveTo>
                <a:cubicBezTo>
                  <a:pt x="69" y="188"/>
                  <a:pt x="70" y="188"/>
                  <a:pt x="69" y="188"/>
                </a:cubicBezTo>
                <a:cubicBezTo>
                  <a:pt x="69" y="189"/>
                  <a:pt x="67" y="189"/>
                  <a:pt x="68" y="190"/>
                </a:cubicBezTo>
                <a:cubicBezTo>
                  <a:pt x="68" y="189"/>
                  <a:pt x="70" y="190"/>
                  <a:pt x="70" y="188"/>
                </a:cubicBezTo>
                <a:cubicBezTo>
                  <a:pt x="70" y="188"/>
                  <a:pt x="70" y="188"/>
                  <a:pt x="70" y="188"/>
                </a:cubicBezTo>
                <a:close/>
                <a:moveTo>
                  <a:pt x="66" y="185"/>
                </a:moveTo>
                <a:cubicBezTo>
                  <a:pt x="65" y="185"/>
                  <a:pt x="65" y="185"/>
                  <a:pt x="66" y="186"/>
                </a:cubicBezTo>
                <a:cubicBezTo>
                  <a:pt x="66" y="185"/>
                  <a:pt x="66" y="184"/>
                  <a:pt x="66" y="185"/>
                </a:cubicBezTo>
                <a:close/>
                <a:moveTo>
                  <a:pt x="79" y="199"/>
                </a:moveTo>
                <a:cubicBezTo>
                  <a:pt x="80" y="199"/>
                  <a:pt x="81" y="198"/>
                  <a:pt x="81" y="198"/>
                </a:cubicBezTo>
                <a:cubicBezTo>
                  <a:pt x="80" y="198"/>
                  <a:pt x="79" y="199"/>
                  <a:pt x="79" y="199"/>
                </a:cubicBezTo>
                <a:close/>
                <a:moveTo>
                  <a:pt x="84" y="202"/>
                </a:moveTo>
                <a:cubicBezTo>
                  <a:pt x="85" y="202"/>
                  <a:pt x="85" y="201"/>
                  <a:pt x="85" y="201"/>
                </a:cubicBezTo>
                <a:cubicBezTo>
                  <a:pt x="84" y="201"/>
                  <a:pt x="84" y="202"/>
                  <a:pt x="84" y="202"/>
                </a:cubicBezTo>
                <a:close/>
                <a:moveTo>
                  <a:pt x="58" y="182"/>
                </a:moveTo>
                <a:cubicBezTo>
                  <a:pt x="58" y="183"/>
                  <a:pt x="60" y="181"/>
                  <a:pt x="59" y="181"/>
                </a:cubicBezTo>
                <a:cubicBezTo>
                  <a:pt x="59" y="181"/>
                  <a:pt x="57" y="182"/>
                  <a:pt x="58" y="182"/>
                </a:cubicBezTo>
                <a:close/>
                <a:moveTo>
                  <a:pt x="76" y="197"/>
                </a:moveTo>
                <a:cubicBezTo>
                  <a:pt x="77" y="198"/>
                  <a:pt x="78" y="196"/>
                  <a:pt x="77" y="197"/>
                </a:cubicBezTo>
                <a:cubicBezTo>
                  <a:pt x="77" y="197"/>
                  <a:pt x="76" y="197"/>
                  <a:pt x="76" y="197"/>
                </a:cubicBezTo>
                <a:close/>
                <a:moveTo>
                  <a:pt x="68" y="191"/>
                </a:moveTo>
                <a:cubicBezTo>
                  <a:pt x="68" y="191"/>
                  <a:pt x="68" y="191"/>
                  <a:pt x="69" y="191"/>
                </a:cubicBezTo>
                <a:cubicBezTo>
                  <a:pt x="68" y="191"/>
                  <a:pt x="69" y="190"/>
                  <a:pt x="69" y="190"/>
                </a:cubicBezTo>
                <a:cubicBezTo>
                  <a:pt x="68" y="190"/>
                  <a:pt x="68" y="191"/>
                  <a:pt x="68" y="191"/>
                </a:cubicBezTo>
                <a:close/>
                <a:moveTo>
                  <a:pt x="69" y="194"/>
                </a:moveTo>
                <a:cubicBezTo>
                  <a:pt x="70" y="195"/>
                  <a:pt x="70" y="194"/>
                  <a:pt x="71" y="194"/>
                </a:cubicBezTo>
                <a:cubicBezTo>
                  <a:pt x="70" y="193"/>
                  <a:pt x="71" y="193"/>
                  <a:pt x="70" y="193"/>
                </a:cubicBezTo>
                <a:cubicBezTo>
                  <a:pt x="70" y="193"/>
                  <a:pt x="70" y="194"/>
                  <a:pt x="69" y="194"/>
                </a:cubicBezTo>
                <a:close/>
                <a:moveTo>
                  <a:pt x="64" y="195"/>
                </a:moveTo>
                <a:cubicBezTo>
                  <a:pt x="64" y="194"/>
                  <a:pt x="64" y="195"/>
                  <a:pt x="64" y="194"/>
                </a:cubicBezTo>
                <a:cubicBezTo>
                  <a:pt x="65" y="193"/>
                  <a:pt x="65" y="191"/>
                  <a:pt x="67" y="190"/>
                </a:cubicBezTo>
                <a:cubicBezTo>
                  <a:pt x="67" y="191"/>
                  <a:pt x="67" y="192"/>
                  <a:pt x="68" y="191"/>
                </a:cubicBezTo>
                <a:cubicBezTo>
                  <a:pt x="67" y="193"/>
                  <a:pt x="66" y="194"/>
                  <a:pt x="65" y="195"/>
                </a:cubicBezTo>
                <a:cubicBezTo>
                  <a:pt x="65" y="194"/>
                  <a:pt x="66" y="194"/>
                  <a:pt x="66" y="193"/>
                </a:cubicBezTo>
                <a:cubicBezTo>
                  <a:pt x="65" y="192"/>
                  <a:pt x="65" y="195"/>
                  <a:pt x="64" y="195"/>
                </a:cubicBezTo>
                <a:cubicBezTo>
                  <a:pt x="64" y="195"/>
                  <a:pt x="64" y="195"/>
                  <a:pt x="64" y="195"/>
                </a:cubicBezTo>
                <a:close/>
                <a:moveTo>
                  <a:pt x="66" y="192"/>
                </a:moveTo>
                <a:cubicBezTo>
                  <a:pt x="66" y="192"/>
                  <a:pt x="68" y="192"/>
                  <a:pt x="67" y="191"/>
                </a:cubicBezTo>
                <a:cubicBezTo>
                  <a:pt x="67" y="192"/>
                  <a:pt x="66" y="192"/>
                  <a:pt x="66" y="192"/>
                </a:cubicBezTo>
                <a:close/>
                <a:moveTo>
                  <a:pt x="68" y="196"/>
                </a:moveTo>
                <a:cubicBezTo>
                  <a:pt x="69" y="196"/>
                  <a:pt x="69" y="195"/>
                  <a:pt x="69" y="195"/>
                </a:cubicBezTo>
                <a:cubicBezTo>
                  <a:pt x="69" y="195"/>
                  <a:pt x="68" y="196"/>
                  <a:pt x="68" y="196"/>
                </a:cubicBezTo>
                <a:close/>
                <a:moveTo>
                  <a:pt x="81" y="205"/>
                </a:moveTo>
                <a:cubicBezTo>
                  <a:pt x="81" y="206"/>
                  <a:pt x="80" y="206"/>
                  <a:pt x="80" y="207"/>
                </a:cubicBezTo>
                <a:cubicBezTo>
                  <a:pt x="81" y="207"/>
                  <a:pt x="81" y="206"/>
                  <a:pt x="81" y="205"/>
                </a:cubicBezTo>
                <a:close/>
                <a:moveTo>
                  <a:pt x="85" y="210"/>
                </a:moveTo>
                <a:cubicBezTo>
                  <a:pt x="85" y="211"/>
                  <a:pt x="84" y="211"/>
                  <a:pt x="84" y="213"/>
                </a:cubicBezTo>
                <a:cubicBezTo>
                  <a:pt x="84" y="212"/>
                  <a:pt x="87" y="210"/>
                  <a:pt x="86" y="210"/>
                </a:cubicBezTo>
                <a:cubicBezTo>
                  <a:pt x="86" y="210"/>
                  <a:pt x="85" y="210"/>
                  <a:pt x="85" y="210"/>
                </a:cubicBezTo>
                <a:close/>
                <a:moveTo>
                  <a:pt x="81" y="210"/>
                </a:moveTo>
                <a:cubicBezTo>
                  <a:pt x="82" y="210"/>
                  <a:pt x="83" y="209"/>
                  <a:pt x="83" y="207"/>
                </a:cubicBezTo>
                <a:cubicBezTo>
                  <a:pt x="82" y="208"/>
                  <a:pt x="81" y="209"/>
                  <a:pt x="81" y="210"/>
                </a:cubicBezTo>
                <a:close/>
                <a:moveTo>
                  <a:pt x="67" y="196"/>
                </a:moveTo>
                <a:cubicBezTo>
                  <a:pt x="67" y="195"/>
                  <a:pt x="67" y="195"/>
                  <a:pt x="67" y="195"/>
                </a:cubicBezTo>
                <a:cubicBezTo>
                  <a:pt x="66" y="194"/>
                  <a:pt x="67" y="195"/>
                  <a:pt x="67" y="196"/>
                </a:cubicBezTo>
                <a:close/>
                <a:moveTo>
                  <a:pt x="54" y="186"/>
                </a:moveTo>
                <a:cubicBezTo>
                  <a:pt x="55" y="186"/>
                  <a:pt x="55" y="186"/>
                  <a:pt x="55" y="186"/>
                </a:cubicBezTo>
                <a:cubicBezTo>
                  <a:pt x="55" y="186"/>
                  <a:pt x="55" y="187"/>
                  <a:pt x="55" y="187"/>
                </a:cubicBezTo>
                <a:cubicBezTo>
                  <a:pt x="56" y="186"/>
                  <a:pt x="55" y="186"/>
                  <a:pt x="55" y="186"/>
                </a:cubicBezTo>
                <a:cubicBezTo>
                  <a:pt x="55" y="185"/>
                  <a:pt x="55" y="186"/>
                  <a:pt x="54" y="186"/>
                </a:cubicBezTo>
                <a:cubicBezTo>
                  <a:pt x="54" y="186"/>
                  <a:pt x="54" y="186"/>
                  <a:pt x="54" y="186"/>
                </a:cubicBezTo>
                <a:close/>
                <a:moveTo>
                  <a:pt x="63" y="194"/>
                </a:moveTo>
                <a:cubicBezTo>
                  <a:pt x="63" y="194"/>
                  <a:pt x="64" y="194"/>
                  <a:pt x="64" y="193"/>
                </a:cubicBezTo>
                <a:cubicBezTo>
                  <a:pt x="63" y="193"/>
                  <a:pt x="62" y="194"/>
                  <a:pt x="63" y="194"/>
                </a:cubicBezTo>
                <a:close/>
                <a:moveTo>
                  <a:pt x="68" y="198"/>
                </a:moveTo>
                <a:cubicBezTo>
                  <a:pt x="68" y="197"/>
                  <a:pt x="68" y="197"/>
                  <a:pt x="68" y="197"/>
                </a:cubicBezTo>
                <a:cubicBezTo>
                  <a:pt x="68" y="197"/>
                  <a:pt x="67" y="198"/>
                  <a:pt x="68" y="198"/>
                </a:cubicBezTo>
                <a:close/>
                <a:moveTo>
                  <a:pt x="68" y="200"/>
                </a:moveTo>
                <a:cubicBezTo>
                  <a:pt x="69" y="201"/>
                  <a:pt x="69" y="200"/>
                  <a:pt x="70" y="200"/>
                </a:cubicBezTo>
                <a:cubicBezTo>
                  <a:pt x="70" y="200"/>
                  <a:pt x="70" y="199"/>
                  <a:pt x="70" y="199"/>
                </a:cubicBezTo>
                <a:cubicBezTo>
                  <a:pt x="70" y="199"/>
                  <a:pt x="70" y="199"/>
                  <a:pt x="70" y="198"/>
                </a:cubicBezTo>
                <a:cubicBezTo>
                  <a:pt x="69" y="199"/>
                  <a:pt x="69" y="200"/>
                  <a:pt x="68" y="200"/>
                </a:cubicBezTo>
                <a:close/>
                <a:moveTo>
                  <a:pt x="53" y="186"/>
                </a:moveTo>
                <a:cubicBezTo>
                  <a:pt x="53" y="185"/>
                  <a:pt x="54" y="185"/>
                  <a:pt x="53" y="184"/>
                </a:cubicBezTo>
                <a:cubicBezTo>
                  <a:pt x="53" y="184"/>
                  <a:pt x="53" y="185"/>
                  <a:pt x="53" y="186"/>
                </a:cubicBezTo>
                <a:close/>
                <a:moveTo>
                  <a:pt x="66" y="197"/>
                </a:moveTo>
                <a:cubicBezTo>
                  <a:pt x="67" y="196"/>
                  <a:pt x="66" y="197"/>
                  <a:pt x="66" y="196"/>
                </a:cubicBezTo>
                <a:cubicBezTo>
                  <a:pt x="66" y="196"/>
                  <a:pt x="66" y="197"/>
                  <a:pt x="66" y="197"/>
                </a:cubicBezTo>
                <a:close/>
                <a:moveTo>
                  <a:pt x="71" y="202"/>
                </a:moveTo>
                <a:cubicBezTo>
                  <a:pt x="71" y="202"/>
                  <a:pt x="72" y="202"/>
                  <a:pt x="72" y="201"/>
                </a:cubicBezTo>
                <a:cubicBezTo>
                  <a:pt x="71" y="201"/>
                  <a:pt x="70" y="202"/>
                  <a:pt x="71" y="202"/>
                </a:cubicBezTo>
                <a:close/>
                <a:moveTo>
                  <a:pt x="60" y="193"/>
                </a:moveTo>
                <a:cubicBezTo>
                  <a:pt x="61" y="193"/>
                  <a:pt x="61" y="193"/>
                  <a:pt x="61" y="194"/>
                </a:cubicBezTo>
                <a:cubicBezTo>
                  <a:pt x="61" y="193"/>
                  <a:pt x="61" y="194"/>
                  <a:pt x="61" y="194"/>
                </a:cubicBezTo>
                <a:cubicBezTo>
                  <a:pt x="61" y="194"/>
                  <a:pt x="62" y="193"/>
                  <a:pt x="61" y="193"/>
                </a:cubicBezTo>
                <a:cubicBezTo>
                  <a:pt x="61" y="193"/>
                  <a:pt x="61" y="193"/>
                  <a:pt x="60" y="193"/>
                </a:cubicBezTo>
                <a:close/>
                <a:moveTo>
                  <a:pt x="54" y="191"/>
                </a:moveTo>
                <a:cubicBezTo>
                  <a:pt x="55" y="191"/>
                  <a:pt x="56" y="190"/>
                  <a:pt x="56" y="189"/>
                </a:cubicBezTo>
                <a:cubicBezTo>
                  <a:pt x="55" y="189"/>
                  <a:pt x="54" y="190"/>
                  <a:pt x="54" y="191"/>
                </a:cubicBezTo>
                <a:close/>
                <a:moveTo>
                  <a:pt x="76" y="210"/>
                </a:moveTo>
                <a:cubicBezTo>
                  <a:pt x="77" y="209"/>
                  <a:pt x="78" y="209"/>
                  <a:pt x="78" y="208"/>
                </a:cubicBezTo>
                <a:cubicBezTo>
                  <a:pt x="78" y="208"/>
                  <a:pt x="76" y="210"/>
                  <a:pt x="76" y="210"/>
                </a:cubicBezTo>
                <a:close/>
                <a:moveTo>
                  <a:pt x="75" y="208"/>
                </a:moveTo>
                <a:cubicBezTo>
                  <a:pt x="75" y="208"/>
                  <a:pt x="75" y="208"/>
                  <a:pt x="75" y="208"/>
                </a:cubicBezTo>
                <a:cubicBezTo>
                  <a:pt x="75" y="208"/>
                  <a:pt x="75" y="207"/>
                  <a:pt x="75" y="207"/>
                </a:cubicBezTo>
                <a:cubicBezTo>
                  <a:pt x="75" y="207"/>
                  <a:pt x="75" y="207"/>
                  <a:pt x="75" y="207"/>
                </a:cubicBezTo>
                <a:cubicBezTo>
                  <a:pt x="74" y="207"/>
                  <a:pt x="75" y="207"/>
                  <a:pt x="74" y="208"/>
                </a:cubicBezTo>
                <a:lnTo>
                  <a:pt x="75" y="208"/>
                </a:lnTo>
                <a:close/>
                <a:moveTo>
                  <a:pt x="74" y="206"/>
                </a:moveTo>
                <a:cubicBezTo>
                  <a:pt x="73" y="207"/>
                  <a:pt x="73" y="205"/>
                  <a:pt x="73" y="206"/>
                </a:cubicBezTo>
                <a:cubicBezTo>
                  <a:pt x="73" y="206"/>
                  <a:pt x="72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4" y="207"/>
                  <a:pt x="74" y="206"/>
                  <a:pt x="74" y="206"/>
                </a:cubicBezTo>
                <a:close/>
                <a:moveTo>
                  <a:pt x="50" y="189"/>
                </a:moveTo>
                <a:cubicBezTo>
                  <a:pt x="51" y="190"/>
                  <a:pt x="52" y="189"/>
                  <a:pt x="51" y="188"/>
                </a:cubicBezTo>
                <a:cubicBezTo>
                  <a:pt x="51" y="189"/>
                  <a:pt x="51" y="189"/>
                  <a:pt x="50" y="189"/>
                </a:cubicBezTo>
                <a:close/>
                <a:moveTo>
                  <a:pt x="53" y="192"/>
                </a:moveTo>
                <a:cubicBezTo>
                  <a:pt x="54" y="193"/>
                  <a:pt x="54" y="192"/>
                  <a:pt x="54" y="192"/>
                </a:cubicBezTo>
                <a:cubicBezTo>
                  <a:pt x="54" y="192"/>
                  <a:pt x="54" y="191"/>
                  <a:pt x="54" y="191"/>
                </a:cubicBezTo>
                <a:lnTo>
                  <a:pt x="53" y="192"/>
                </a:lnTo>
                <a:close/>
                <a:moveTo>
                  <a:pt x="73" y="209"/>
                </a:moveTo>
                <a:cubicBezTo>
                  <a:pt x="73" y="209"/>
                  <a:pt x="73" y="210"/>
                  <a:pt x="73" y="209"/>
                </a:cubicBezTo>
                <a:cubicBezTo>
                  <a:pt x="73" y="209"/>
                  <a:pt x="74" y="210"/>
                  <a:pt x="74" y="209"/>
                </a:cubicBezTo>
                <a:cubicBezTo>
                  <a:pt x="74" y="209"/>
                  <a:pt x="74" y="208"/>
                  <a:pt x="74" y="208"/>
                </a:cubicBezTo>
                <a:cubicBezTo>
                  <a:pt x="73" y="209"/>
                  <a:pt x="73" y="208"/>
                  <a:pt x="73" y="208"/>
                </a:cubicBezTo>
                <a:cubicBezTo>
                  <a:pt x="73" y="208"/>
                  <a:pt x="73" y="209"/>
                  <a:pt x="73" y="209"/>
                </a:cubicBezTo>
                <a:cubicBezTo>
                  <a:pt x="73" y="209"/>
                  <a:pt x="73" y="209"/>
                  <a:pt x="73" y="209"/>
                </a:cubicBezTo>
                <a:close/>
                <a:moveTo>
                  <a:pt x="49" y="190"/>
                </a:moveTo>
                <a:cubicBezTo>
                  <a:pt x="49" y="190"/>
                  <a:pt x="50" y="189"/>
                  <a:pt x="50" y="189"/>
                </a:cubicBezTo>
                <a:cubicBezTo>
                  <a:pt x="50" y="189"/>
                  <a:pt x="49" y="190"/>
                  <a:pt x="49" y="190"/>
                </a:cubicBezTo>
                <a:close/>
                <a:moveTo>
                  <a:pt x="52" y="194"/>
                </a:moveTo>
                <a:cubicBezTo>
                  <a:pt x="53" y="194"/>
                  <a:pt x="54" y="193"/>
                  <a:pt x="53" y="192"/>
                </a:cubicBezTo>
                <a:cubicBezTo>
                  <a:pt x="53" y="193"/>
                  <a:pt x="52" y="193"/>
                  <a:pt x="52" y="194"/>
                </a:cubicBezTo>
                <a:close/>
                <a:moveTo>
                  <a:pt x="66" y="205"/>
                </a:moveTo>
                <a:cubicBezTo>
                  <a:pt x="66" y="205"/>
                  <a:pt x="67" y="204"/>
                  <a:pt x="67" y="204"/>
                </a:cubicBezTo>
                <a:cubicBezTo>
                  <a:pt x="67" y="204"/>
                  <a:pt x="67" y="204"/>
                  <a:pt x="67" y="204"/>
                </a:cubicBezTo>
                <a:cubicBezTo>
                  <a:pt x="67" y="204"/>
                  <a:pt x="66" y="205"/>
                  <a:pt x="66" y="205"/>
                </a:cubicBezTo>
                <a:close/>
                <a:moveTo>
                  <a:pt x="58" y="198"/>
                </a:moveTo>
                <a:cubicBezTo>
                  <a:pt x="57" y="198"/>
                  <a:pt x="57" y="197"/>
                  <a:pt x="57" y="197"/>
                </a:cubicBezTo>
                <a:cubicBezTo>
                  <a:pt x="56" y="197"/>
                  <a:pt x="57" y="198"/>
                  <a:pt x="58" y="198"/>
                </a:cubicBezTo>
                <a:close/>
                <a:moveTo>
                  <a:pt x="50" y="197"/>
                </a:moveTo>
                <a:cubicBezTo>
                  <a:pt x="51" y="196"/>
                  <a:pt x="51" y="195"/>
                  <a:pt x="52" y="195"/>
                </a:cubicBezTo>
                <a:cubicBezTo>
                  <a:pt x="52" y="194"/>
                  <a:pt x="52" y="194"/>
                  <a:pt x="52" y="194"/>
                </a:cubicBezTo>
                <a:cubicBezTo>
                  <a:pt x="51" y="195"/>
                  <a:pt x="50" y="196"/>
                  <a:pt x="50" y="197"/>
                </a:cubicBezTo>
                <a:close/>
                <a:moveTo>
                  <a:pt x="79" y="218"/>
                </a:moveTo>
                <a:cubicBezTo>
                  <a:pt x="80" y="219"/>
                  <a:pt x="80" y="218"/>
                  <a:pt x="80" y="218"/>
                </a:cubicBezTo>
                <a:cubicBezTo>
                  <a:pt x="80" y="218"/>
                  <a:pt x="80" y="218"/>
                  <a:pt x="79" y="218"/>
                </a:cubicBezTo>
                <a:close/>
                <a:moveTo>
                  <a:pt x="45" y="192"/>
                </a:moveTo>
                <a:cubicBezTo>
                  <a:pt x="45" y="192"/>
                  <a:pt x="47" y="192"/>
                  <a:pt x="46" y="191"/>
                </a:cubicBezTo>
                <a:cubicBezTo>
                  <a:pt x="46" y="192"/>
                  <a:pt x="45" y="191"/>
                  <a:pt x="45" y="192"/>
                </a:cubicBezTo>
                <a:close/>
                <a:moveTo>
                  <a:pt x="42" y="196"/>
                </a:moveTo>
                <a:cubicBezTo>
                  <a:pt x="44" y="196"/>
                  <a:pt x="43" y="194"/>
                  <a:pt x="45" y="193"/>
                </a:cubicBezTo>
                <a:cubicBezTo>
                  <a:pt x="44" y="193"/>
                  <a:pt x="44" y="193"/>
                  <a:pt x="44" y="193"/>
                </a:cubicBezTo>
                <a:cubicBezTo>
                  <a:pt x="44" y="194"/>
                  <a:pt x="42" y="194"/>
                  <a:pt x="42" y="196"/>
                </a:cubicBezTo>
                <a:close/>
                <a:moveTo>
                  <a:pt x="49" y="199"/>
                </a:moveTo>
                <a:cubicBezTo>
                  <a:pt x="49" y="198"/>
                  <a:pt x="50" y="198"/>
                  <a:pt x="49" y="197"/>
                </a:cubicBezTo>
                <a:cubicBezTo>
                  <a:pt x="49" y="198"/>
                  <a:pt x="48" y="198"/>
                  <a:pt x="49" y="199"/>
                </a:cubicBezTo>
                <a:close/>
                <a:moveTo>
                  <a:pt x="67" y="214"/>
                </a:moveTo>
                <a:cubicBezTo>
                  <a:pt x="67" y="214"/>
                  <a:pt x="66" y="215"/>
                  <a:pt x="67" y="215"/>
                </a:cubicBezTo>
                <a:cubicBezTo>
                  <a:pt x="66" y="214"/>
                  <a:pt x="68" y="214"/>
                  <a:pt x="68" y="214"/>
                </a:cubicBezTo>
                <a:cubicBezTo>
                  <a:pt x="67" y="214"/>
                  <a:pt x="67" y="214"/>
                  <a:pt x="67" y="214"/>
                </a:cubicBezTo>
                <a:close/>
                <a:moveTo>
                  <a:pt x="72" y="224"/>
                </a:moveTo>
                <a:cubicBezTo>
                  <a:pt x="72" y="224"/>
                  <a:pt x="74" y="222"/>
                  <a:pt x="74" y="221"/>
                </a:cubicBezTo>
                <a:cubicBezTo>
                  <a:pt x="74" y="222"/>
                  <a:pt x="72" y="224"/>
                  <a:pt x="72" y="224"/>
                </a:cubicBezTo>
                <a:close/>
                <a:moveTo>
                  <a:pt x="59" y="212"/>
                </a:moveTo>
                <a:cubicBezTo>
                  <a:pt x="59" y="211"/>
                  <a:pt x="61" y="211"/>
                  <a:pt x="61" y="211"/>
                </a:cubicBezTo>
                <a:cubicBezTo>
                  <a:pt x="60" y="211"/>
                  <a:pt x="59" y="211"/>
                  <a:pt x="59" y="212"/>
                </a:cubicBezTo>
                <a:close/>
                <a:moveTo>
                  <a:pt x="71" y="219"/>
                </a:moveTo>
                <a:cubicBezTo>
                  <a:pt x="71" y="219"/>
                  <a:pt x="70" y="219"/>
                  <a:pt x="70" y="218"/>
                </a:cubicBezTo>
                <a:cubicBezTo>
                  <a:pt x="70" y="219"/>
                  <a:pt x="70" y="219"/>
                  <a:pt x="71" y="219"/>
                </a:cubicBezTo>
                <a:close/>
                <a:moveTo>
                  <a:pt x="41" y="197"/>
                </a:moveTo>
                <a:cubicBezTo>
                  <a:pt x="42" y="198"/>
                  <a:pt x="42" y="197"/>
                  <a:pt x="42" y="196"/>
                </a:cubicBezTo>
                <a:cubicBezTo>
                  <a:pt x="42" y="196"/>
                  <a:pt x="42" y="196"/>
                  <a:pt x="41" y="197"/>
                </a:cubicBezTo>
                <a:close/>
                <a:moveTo>
                  <a:pt x="57" y="214"/>
                </a:moveTo>
                <a:cubicBezTo>
                  <a:pt x="57" y="214"/>
                  <a:pt x="57" y="214"/>
                  <a:pt x="57" y="215"/>
                </a:cubicBezTo>
                <a:cubicBezTo>
                  <a:pt x="58" y="214"/>
                  <a:pt x="58" y="214"/>
                  <a:pt x="58" y="213"/>
                </a:cubicBezTo>
                <a:cubicBezTo>
                  <a:pt x="58" y="214"/>
                  <a:pt x="58" y="214"/>
                  <a:pt x="57" y="214"/>
                </a:cubicBezTo>
                <a:close/>
                <a:moveTo>
                  <a:pt x="62" y="219"/>
                </a:moveTo>
                <a:cubicBezTo>
                  <a:pt x="62" y="218"/>
                  <a:pt x="62" y="218"/>
                  <a:pt x="62" y="218"/>
                </a:cubicBezTo>
                <a:cubicBezTo>
                  <a:pt x="61" y="218"/>
                  <a:pt x="61" y="218"/>
                  <a:pt x="62" y="219"/>
                </a:cubicBezTo>
                <a:close/>
                <a:moveTo>
                  <a:pt x="62" y="219"/>
                </a:moveTo>
                <a:cubicBezTo>
                  <a:pt x="62" y="220"/>
                  <a:pt x="63" y="220"/>
                  <a:pt x="63" y="220"/>
                </a:cubicBezTo>
                <a:cubicBezTo>
                  <a:pt x="63" y="220"/>
                  <a:pt x="62" y="219"/>
                  <a:pt x="62" y="219"/>
                </a:cubicBezTo>
                <a:close/>
                <a:moveTo>
                  <a:pt x="43" y="206"/>
                </a:moveTo>
                <a:cubicBezTo>
                  <a:pt x="43" y="205"/>
                  <a:pt x="44" y="204"/>
                  <a:pt x="43" y="204"/>
                </a:cubicBezTo>
                <a:cubicBezTo>
                  <a:pt x="42" y="205"/>
                  <a:pt x="42" y="205"/>
                  <a:pt x="43" y="206"/>
                </a:cubicBezTo>
                <a:close/>
                <a:moveTo>
                  <a:pt x="59" y="218"/>
                </a:moveTo>
                <a:cubicBezTo>
                  <a:pt x="60" y="219"/>
                  <a:pt x="60" y="218"/>
                  <a:pt x="60" y="217"/>
                </a:cubicBezTo>
                <a:cubicBezTo>
                  <a:pt x="60" y="217"/>
                  <a:pt x="59" y="218"/>
                  <a:pt x="59" y="218"/>
                </a:cubicBezTo>
                <a:close/>
                <a:moveTo>
                  <a:pt x="57" y="218"/>
                </a:moveTo>
                <a:cubicBezTo>
                  <a:pt x="57" y="217"/>
                  <a:pt x="58" y="217"/>
                  <a:pt x="58" y="216"/>
                </a:cubicBezTo>
                <a:cubicBezTo>
                  <a:pt x="58" y="216"/>
                  <a:pt x="57" y="217"/>
                  <a:pt x="57" y="218"/>
                </a:cubicBezTo>
                <a:close/>
                <a:moveTo>
                  <a:pt x="64" y="226"/>
                </a:moveTo>
                <a:cubicBezTo>
                  <a:pt x="65" y="225"/>
                  <a:pt x="66" y="225"/>
                  <a:pt x="66" y="224"/>
                </a:cubicBezTo>
                <a:cubicBezTo>
                  <a:pt x="66" y="224"/>
                  <a:pt x="66" y="224"/>
                  <a:pt x="66" y="223"/>
                </a:cubicBezTo>
                <a:cubicBezTo>
                  <a:pt x="65" y="224"/>
                  <a:pt x="64" y="225"/>
                  <a:pt x="64" y="226"/>
                </a:cubicBezTo>
                <a:close/>
                <a:moveTo>
                  <a:pt x="49" y="214"/>
                </a:moveTo>
                <a:cubicBezTo>
                  <a:pt x="50" y="214"/>
                  <a:pt x="51" y="213"/>
                  <a:pt x="51" y="212"/>
                </a:cubicBezTo>
                <a:cubicBezTo>
                  <a:pt x="50" y="213"/>
                  <a:pt x="49" y="213"/>
                  <a:pt x="49" y="214"/>
                </a:cubicBezTo>
                <a:close/>
                <a:moveTo>
                  <a:pt x="57" y="221"/>
                </a:moveTo>
                <a:cubicBezTo>
                  <a:pt x="58" y="220"/>
                  <a:pt x="59" y="220"/>
                  <a:pt x="59" y="219"/>
                </a:cubicBezTo>
                <a:cubicBezTo>
                  <a:pt x="58" y="219"/>
                  <a:pt x="56" y="220"/>
                  <a:pt x="57" y="221"/>
                </a:cubicBezTo>
                <a:close/>
                <a:moveTo>
                  <a:pt x="41" y="208"/>
                </a:moveTo>
                <a:cubicBezTo>
                  <a:pt x="41" y="208"/>
                  <a:pt x="41" y="207"/>
                  <a:pt x="41" y="207"/>
                </a:cubicBezTo>
                <a:cubicBezTo>
                  <a:pt x="41" y="207"/>
                  <a:pt x="40" y="208"/>
                  <a:pt x="41" y="208"/>
                </a:cubicBezTo>
                <a:close/>
                <a:moveTo>
                  <a:pt x="62" y="226"/>
                </a:moveTo>
                <a:cubicBezTo>
                  <a:pt x="62" y="225"/>
                  <a:pt x="63" y="225"/>
                  <a:pt x="62" y="224"/>
                </a:cubicBezTo>
                <a:cubicBezTo>
                  <a:pt x="62" y="225"/>
                  <a:pt x="61" y="225"/>
                  <a:pt x="62" y="226"/>
                </a:cubicBezTo>
                <a:close/>
                <a:moveTo>
                  <a:pt x="53" y="219"/>
                </a:moveTo>
                <a:cubicBezTo>
                  <a:pt x="54" y="219"/>
                  <a:pt x="54" y="220"/>
                  <a:pt x="55" y="219"/>
                </a:cubicBezTo>
                <a:cubicBezTo>
                  <a:pt x="54" y="219"/>
                  <a:pt x="54" y="218"/>
                  <a:pt x="53" y="219"/>
                </a:cubicBezTo>
                <a:close/>
                <a:moveTo>
                  <a:pt x="68" y="232"/>
                </a:moveTo>
                <a:cubicBezTo>
                  <a:pt x="69" y="233"/>
                  <a:pt x="70" y="231"/>
                  <a:pt x="69" y="231"/>
                </a:cubicBezTo>
                <a:cubicBezTo>
                  <a:pt x="69" y="231"/>
                  <a:pt x="69" y="232"/>
                  <a:pt x="68" y="232"/>
                </a:cubicBezTo>
                <a:close/>
                <a:moveTo>
                  <a:pt x="55" y="224"/>
                </a:moveTo>
                <a:cubicBezTo>
                  <a:pt x="56" y="223"/>
                  <a:pt x="57" y="222"/>
                  <a:pt x="57" y="221"/>
                </a:cubicBezTo>
                <a:cubicBezTo>
                  <a:pt x="56" y="222"/>
                  <a:pt x="56" y="223"/>
                  <a:pt x="55" y="224"/>
                </a:cubicBezTo>
                <a:close/>
                <a:moveTo>
                  <a:pt x="62" y="228"/>
                </a:moveTo>
                <a:cubicBezTo>
                  <a:pt x="63" y="228"/>
                  <a:pt x="63" y="228"/>
                  <a:pt x="64" y="228"/>
                </a:cubicBezTo>
                <a:cubicBezTo>
                  <a:pt x="63" y="227"/>
                  <a:pt x="64" y="227"/>
                  <a:pt x="63" y="226"/>
                </a:cubicBezTo>
                <a:cubicBezTo>
                  <a:pt x="63" y="227"/>
                  <a:pt x="62" y="228"/>
                  <a:pt x="62" y="228"/>
                </a:cubicBezTo>
                <a:close/>
                <a:moveTo>
                  <a:pt x="53" y="220"/>
                </a:moveTo>
                <a:cubicBezTo>
                  <a:pt x="53" y="220"/>
                  <a:pt x="54" y="219"/>
                  <a:pt x="53" y="219"/>
                </a:cubicBezTo>
                <a:cubicBezTo>
                  <a:pt x="52" y="221"/>
                  <a:pt x="51" y="222"/>
                  <a:pt x="53" y="220"/>
                </a:cubicBezTo>
                <a:close/>
                <a:moveTo>
                  <a:pt x="47" y="216"/>
                </a:moveTo>
                <a:cubicBezTo>
                  <a:pt x="47" y="217"/>
                  <a:pt x="46" y="217"/>
                  <a:pt x="47" y="218"/>
                </a:cubicBezTo>
                <a:cubicBezTo>
                  <a:pt x="47" y="217"/>
                  <a:pt x="47" y="217"/>
                  <a:pt x="48" y="217"/>
                </a:cubicBezTo>
                <a:cubicBezTo>
                  <a:pt x="48" y="216"/>
                  <a:pt x="48" y="216"/>
                  <a:pt x="47" y="216"/>
                </a:cubicBezTo>
                <a:close/>
                <a:moveTo>
                  <a:pt x="59" y="227"/>
                </a:moveTo>
                <a:cubicBezTo>
                  <a:pt x="59" y="227"/>
                  <a:pt x="59" y="227"/>
                  <a:pt x="59" y="228"/>
                </a:cubicBezTo>
                <a:cubicBezTo>
                  <a:pt x="59" y="227"/>
                  <a:pt x="60" y="227"/>
                  <a:pt x="60" y="226"/>
                </a:cubicBezTo>
                <a:cubicBezTo>
                  <a:pt x="60" y="227"/>
                  <a:pt x="59" y="226"/>
                  <a:pt x="59" y="227"/>
                </a:cubicBezTo>
                <a:close/>
                <a:moveTo>
                  <a:pt x="57" y="227"/>
                </a:moveTo>
                <a:cubicBezTo>
                  <a:pt x="57" y="227"/>
                  <a:pt x="59" y="226"/>
                  <a:pt x="58" y="226"/>
                </a:cubicBezTo>
                <a:cubicBezTo>
                  <a:pt x="58" y="226"/>
                  <a:pt x="57" y="226"/>
                  <a:pt x="57" y="227"/>
                </a:cubicBezTo>
                <a:close/>
                <a:moveTo>
                  <a:pt x="51" y="223"/>
                </a:moveTo>
                <a:cubicBezTo>
                  <a:pt x="51" y="222"/>
                  <a:pt x="52" y="222"/>
                  <a:pt x="52" y="221"/>
                </a:cubicBezTo>
                <a:cubicBezTo>
                  <a:pt x="51" y="222"/>
                  <a:pt x="51" y="222"/>
                  <a:pt x="51" y="223"/>
                </a:cubicBezTo>
                <a:close/>
                <a:moveTo>
                  <a:pt x="33" y="211"/>
                </a:moveTo>
                <a:cubicBezTo>
                  <a:pt x="34" y="212"/>
                  <a:pt x="35" y="210"/>
                  <a:pt x="35" y="209"/>
                </a:cubicBezTo>
                <a:cubicBezTo>
                  <a:pt x="34" y="210"/>
                  <a:pt x="34" y="211"/>
                  <a:pt x="33" y="211"/>
                </a:cubicBezTo>
                <a:close/>
                <a:moveTo>
                  <a:pt x="40" y="214"/>
                </a:moveTo>
                <a:cubicBezTo>
                  <a:pt x="40" y="214"/>
                  <a:pt x="41" y="214"/>
                  <a:pt x="40" y="213"/>
                </a:cubicBezTo>
                <a:cubicBezTo>
                  <a:pt x="40" y="213"/>
                  <a:pt x="39" y="214"/>
                  <a:pt x="40" y="214"/>
                </a:cubicBezTo>
                <a:close/>
                <a:moveTo>
                  <a:pt x="35" y="215"/>
                </a:moveTo>
                <a:cubicBezTo>
                  <a:pt x="36" y="215"/>
                  <a:pt x="37" y="214"/>
                  <a:pt x="37" y="213"/>
                </a:cubicBezTo>
                <a:cubicBezTo>
                  <a:pt x="36" y="214"/>
                  <a:pt x="35" y="215"/>
                  <a:pt x="35" y="215"/>
                </a:cubicBezTo>
                <a:close/>
                <a:moveTo>
                  <a:pt x="48" y="223"/>
                </a:moveTo>
                <a:cubicBezTo>
                  <a:pt x="49" y="223"/>
                  <a:pt x="49" y="222"/>
                  <a:pt x="48" y="222"/>
                </a:cubicBezTo>
                <a:cubicBezTo>
                  <a:pt x="48" y="222"/>
                  <a:pt x="48" y="223"/>
                  <a:pt x="48" y="223"/>
                </a:cubicBezTo>
                <a:close/>
                <a:moveTo>
                  <a:pt x="38" y="217"/>
                </a:moveTo>
                <a:cubicBezTo>
                  <a:pt x="38" y="217"/>
                  <a:pt x="39" y="216"/>
                  <a:pt x="39" y="215"/>
                </a:cubicBezTo>
                <a:lnTo>
                  <a:pt x="38" y="217"/>
                </a:lnTo>
                <a:close/>
                <a:moveTo>
                  <a:pt x="43" y="223"/>
                </a:moveTo>
                <a:cubicBezTo>
                  <a:pt x="43" y="223"/>
                  <a:pt x="45" y="222"/>
                  <a:pt x="44" y="221"/>
                </a:cubicBezTo>
                <a:cubicBezTo>
                  <a:pt x="44" y="222"/>
                  <a:pt x="42" y="223"/>
                  <a:pt x="43" y="223"/>
                </a:cubicBezTo>
                <a:close/>
                <a:moveTo>
                  <a:pt x="62" y="237"/>
                </a:moveTo>
                <a:cubicBezTo>
                  <a:pt x="62" y="237"/>
                  <a:pt x="63" y="236"/>
                  <a:pt x="62" y="235"/>
                </a:cubicBezTo>
                <a:cubicBezTo>
                  <a:pt x="62" y="236"/>
                  <a:pt x="61" y="237"/>
                  <a:pt x="62" y="237"/>
                </a:cubicBezTo>
                <a:close/>
                <a:moveTo>
                  <a:pt x="30" y="213"/>
                </a:moveTo>
                <a:cubicBezTo>
                  <a:pt x="30" y="212"/>
                  <a:pt x="31" y="212"/>
                  <a:pt x="30" y="211"/>
                </a:cubicBezTo>
                <a:cubicBezTo>
                  <a:pt x="30" y="212"/>
                  <a:pt x="29" y="212"/>
                  <a:pt x="30" y="213"/>
                </a:cubicBezTo>
                <a:close/>
                <a:moveTo>
                  <a:pt x="49" y="228"/>
                </a:moveTo>
                <a:cubicBezTo>
                  <a:pt x="50" y="229"/>
                  <a:pt x="50" y="227"/>
                  <a:pt x="50" y="228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0" y="228"/>
                  <a:pt x="49" y="227"/>
                  <a:pt x="49" y="228"/>
                </a:cubicBezTo>
                <a:close/>
                <a:moveTo>
                  <a:pt x="44" y="225"/>
                </a:moveTo>
                <a:cubicBezTo>
                  <a:pt x="44" y="224"/>
                  <a:pt x="45" y="224"/>
                  <a:pt x="44" y="223"/>
                </a:cubicBezTo>
                <a:cubicBezTo>
                  <a:pt x="44" y="224"/>
                  <a:pt x="44" y="224"/>
                  <a:pt x="44" y="225"/>
                </a:cubicBezTo>
                <a:close/>
                <a:moveTo>
                  <a:pt x="64" y="238"/>
                </a:moveTo>
                <a:cubicBezTo>
                  <a:pt x="63" y="238"/>
                  <a:pt x="63" y="239"/>
                  <a:pt x="63" y="239"/>
                </a:cubicBezTo>
                <a:cubicBezTo>
                  <a:pt x="64" y="239"/>
                  <a:pt x="64" y="239"/>
                  <a:pt x="64" y="238"/>
                </a:cubicBezTo>
                <a:close/>
                <a:moveTo>
                  <a:pt x="29" y="217"/>
                </a:moveTo>
                <a:cubicBezTo>
                  <a:pt x="30" y="217"/>
                  <a:pt x="30" y="216"/>
                  <a:pt x="30" y="215"/>
                </a:cubicBezTo>
                <a:cubicBezTo>
                  <a:pt x="30" y="216"/>
                  <a:pt x="29" y="216"/>
                  <a:pt x="29" y="217"/>
                </a:cubicBezTo>
                <a:close/>
                <a:moveTo>
                  <a:pt x="55" y="237"/>
                </a:moveTo>
                <a:cubicBezTo>
                  <a:pt x="55" y="236"/>
                  <a:pt x="56" y="236"/>
                  <a:pt x="56" y="235"/>
                </a:cubicBezTo>
                <a:cubicBezTo>
                  <a:pt x="55" y="235"/>
                  <a:pt x="55" y="236"/>
                  <a:pt x="55" y="237"/>
                </a:cubicBezTo>
                <a:close/>
                <a:moveTo>
                  <a:pt x="47" y="231"/>
                </a:moveTo>
                <a:cubicBezTo>
                  <a:pt x="47" y="232"/>
                  <a:pt x="48" y="230"/>
                  <a:pt x="48" y="230"/>
                </a:cubicBezTo>
                <a:cubicBezTo>
                  <a:pt x="47" y="230"/>
                  <a:pt x="47" y="230"/>
                  <a:pt x="47" y="231"/>
                </a:cubicBezTo>
                <a:close/>
                <a:moveTo>
                  <a:pt x="61" y="240"/>
                </a:moveTo>
                <a:cubicBezTo>
                  <a:pt x="62" y="240"/>
                  <a:pt x="61" y="240"/>
                  <a:pt x="61" y="239"/>
                </a:cubicBezTo>
                <a:cubicBezTo>
                  <a:pt x="61" y="240"/>
                  <a:pt x="61" y="240"/>
                  <a:pt x="61" y="240"/>
                </a:cubicBezTo>
                <a:close/>
                <a:moveTo>
                  <a:pt x="34" y="223"/>
                </a:moveTo>
                <a:cubicBezTo>
                  <a:pt x="34" y="222"/>
                  <a:pt x="35" y="222"/>
                  <a:pt x="35" y="221"/>
                </a:cubicBezTo>
                <a:cubicBezTo>
                  <a:pt x="34" y="221"/>
                  <a:pt x="33" y="222"/>
                  <a:pt x="34" y="223"/>
                </a:cubicBezTo>
                <a:close/>
                <a:moveTo>
                  <a:pt x="26" y="217"/>
                </a:moveTo>
                <a:cubicBezTo>
                  <a:pt x="26" y="217"/>
                  <a:pt x="27" y="217"/>
                  <a:pt x="26" y="216"/>
                </a:cubicBezTo>
                <a:cubicBezTo>
                  <a:pt x="26" y="217"/>
                  <a:pt x="26" y="217"/>
                  <a:pt x="26" y="217"/>
                </a:cubicBezTo>
                <a:close/>
                <a:moveTo>
                  <a:pt x="32" y="222"/>
                </a:moveTo>
                <a:cubicBezTo>
                  <a:pt x="33" y="222"/>
                  <a:pt x="33" y="222"/>
                  <a:pt x="33" y="221"/>
                </a:cubicBezTo>
                <a:cubicBezTo>
                  <a:pt x="32" y="221"/>
                  <a:pt x="32" y="222"/>
                  <a:pt x="32" y="222"/>
                </a:cubicBezTo>
                <a:close/>
                <a:moveTo>
                  <a:pt x="27" y="218"/>
                </a:moveTo>
                <a:cubicBezTo>
                  <a:pt x="27" y="219"/>
                  <a:pt x="26" y="220"/>
                  <a:pt x="27" y="221"/>
                </a:cubicBezTo>
                <a:cubicBezTo>
                  <a:pt x="27" y="220"/>
                  <a:pt x="27" y="220"/>
                  <a:pt x="28" y="219"/>
                </a:cubicBezTo>
                <a:cubicBezTo>
                  <a:pt x="28" y="219"/>
                  <a:pt x="28" y="218"/>
                  <a:pt x="27" y="218"/>
                </a:cubicBezTo>
                <a:close/>
                <a:moveTo>
                  <a:pt x="32" y="225"/>
                </a:moveTo>
                <a:cubicBezTo>
                  <a:pt x="33" y="224"/>
                  <a:pt x="33" y="224"/>
                  <a:pt x="34" y="223"/>
                </a:cubicBezTo>
                <a:cubicBezTo>
                  <a:pt x="33" y="223"/>
                  <a:pt x="33" y="223"/>
                  <a:pt x="33" y="223"/>
                </a:cubicBezTo>
                <a:cubicBezTo>
                  <a:pt x="32" y="223"/>
                  <a:pt x="32" y="224"/>
                  <a:pt x="32" y="225"/>
                </a:cubicBezTo>
                <a:close/>
                <a:moveTo>
                  <a:pt x="23" y="221"/>
                </a:moveTo>
                <a:cubicBezTo>
                  <a:pt x="24" y="220"/>
                  <a:pt x="25" y="219"/>
                  <a:pt x="26" y="217"/>
                </a:cubicBezTo>
                <a:cubicBezTo>
                  <a:pt x="25" y="219"/>
                  <a:pt x="24" y="220"/>
                  <a:pt x="23" y="221"/>
                </a:cubicBezTo>
                <a:close/>
                <a:moveTo>
                  <a:pt x="57" y="242"/>
                </a:moveTo>
                <a:cubicBezTo>
                  <a:pt x="58" y="243"/>
                  <a:pt x="58" y="243"/>
                  <a:pt x="58" y="243"/>
                </a:cubicBezTo>
                <a:cubicBezTo>
                  <a:pt x="59" y="243"/>
                  <a:pt x="58" y="242"/>
                  <a:pt x="58" y="241"/>
                </a:cubicBezTo>
                <a:lnTo>
                  <a:pt x="57" y="242"/>
                </a:lnTo>
                <a:close/>
                <a:moveTo>
                  <a:pt x="25" y="220"/>
                </a:moveTo>
                <a:cubicBezTo>
                  <a:pt x="26" y="220"/>
                  <a:pt x="26" y="219"/>
                  <a:pt x="26" y="218"/>
                </a:cubicBezTo>
                <a:cubicBezTo>
                  <a:pt x="26" y="218"/>
                  <a:pt x="25" y="219"/>
                  <a:pt x="25" y="220"/>
                </a:cubicBezTo>
                <a:close/>
                <a:moveTo>
                  <a:pt x="44" y="234"/>
                </a:moveTo>
                <a:cubicBezTo>
                  <a:pt x="44" y="234"/>
                  <a:pt x="45" y="233"/>
                  <a:pt x="45" y="233"/>
                </a:cubicBezTo>
                <a:cubicBezTo>
                  <a:pt x="44" y="233"/>
                  <a:pt x="43" y="233"/>
                  <a:pt x="44" y="234"/>
                </a:cubicBezTo>
                <a:close/>
                <a:moveTo>
                  <a:pt x="49" y="243"/>
                </a:moveTo>
                <a:cubicBezTo>
                  <a:pt x="50" y="242"/>
                  <a:pt x="52" y="240"/>
                  <a:pt x="52" y="239"/>
                </a:cubicBezTo>
                <a:cubicBezTo>
                  <a:pt x="51" y="241"/>
                  <a:pt x="49" y="241"/>
                  <a:pt x="49" y="243"/>
                </a:cubicBezTo>
                <a:close/>
                <a:moveTo>
                  <a:pt x="31" y="225"/>
                </a:moveTo>
                <a:cubicBezTo>
                  <a:pt x="32" y="225"/>
                  <a:pt x="31" y="226"/>
                  <a:pt x="31" y="226"/>
                </a:cubicBezTo>
                <a:cubicBezTo>
                  <a:pt x="32" y="226"/>
                  <a:pt x="32" y="226"/>
                  <a:pt x="32" y="225"/>
                </a:cubicBezTo>
                <a:cubicBezTo>
                  <a:pt x="32" y="225"/>
                  <a:pt x="32" y="225"/>
                  <a:pt x="31" y="225"/>
                </a:cubicBezTo>
                <a:close/>
                <a:moveTo>
                  <a:pt x="42" y="242"/>
                </a:moveTo>
                <a:cubicBezTo>
                  <a:pt x="43" y="241"/>
                  <a:pt x="45" y="239"/>
                  <a:pt x="46" y="236"/>
                </a:cubicBezTo>
                <a:cubicBezTo>
                  <a:pt x="46" y="237"/>
                  <a:pt x="46" y="238"/>
                  <a:pt x="47" y="237"/>
                </a:cubicBezTo>
                <a:cubicBezTo>
                  <a:pt x="47" y="236"/>
                  <a:pt x="46" y="236"/>
                  <a:pt x="46" y="235"/>
                </a:cubicBezTo>
                <a:cubicBezTo>
                  <a:pt x="45" y="238"/>
                  <a:pt x="42" y="240"/>
                  <a:pt x="42" y="242"/>
                </a:cubicBezTo>
                <a:close/>
                <a:moveTo>
                  <a:pt x="23" y="220"/>
                </a:moveTo>
                <a:cubicBezTo>
                  <a:pt x="23" y="220"/>
                  <a:pt x="22" y="220"/>
                  <a:pt x="23" y="219"/>
                </a:cubicBezTo>
                <a:cubicBezTo>
                  <a:pt x="22" y="219"/>
                  <a:pt x="22" y="219"/>
                  <a:pt x="22" y="219"/>
                </a:cubicBezTo>
                <a:cubicBezTo>
                  <a:pt x="22" y="219"/>
                  <a:pt x="22" y="221"/>
                  <a:pt x="23" y="220"/>
                </a:cubicBezTo>
                <a:close/>
                <a:moveTo>
                  <a:pt x="30" y="227"/>
                </a:moveTo>
                <a:cubicBezTo>
                  <a:pt x="30" y="227"/>
                  <a:pt x="30" y="227"/>
                  <a:pt x="31" y="228"/>
                </a:cubicBezTo>
                <a:cubicBezTo>
                  <a:pt x="31" y="227"/>
                  <a:pt x="31" y="227"/>
                  <a:pt x="31" y="227"/>
                </a:cubicBezTo>
                <a:cubicBezTo>
                  <a:pt x="31" y="226"/>
                  <a:pt x="32" y="227"/>
                  <a:pt x="31" y="226"/>
                </a:cubicBezTo>
                <a:cubicBezTo>
                  <a:pt x="31" y="226"/>
                  <a:pt x="31" y="226"/>
                  <a:pt x="30" y="227"/>
                </a:cubicBezTo>
                <a:close/>
                <a:moveTo>
                  <a:pt x="31" y="230"/>
                </a:moveTo>
                <a:cubicBezTo>
                  <a:pt x="32" y="229"/>
                  <a:pt x="33" y="228"/>
                  <a:pt x="33" y="228"/>
                </a:cubicBezTo>
                <a:cubicBezTo>
                  <a:pt x="32" y="228"/>
                  <a:pt x="31" y="229"/>
                  <a:pt x="31" y="230"/>
                </a:cubicBezTo>
                <a:close/>
                <a:moveTo>
                  <a:pt x="57" y="246"/>
                </a:moveTo>
                <a:cubicBezTo>
                  <a:pt x="57" y="246"/>
                  <a:pt x="57" y="246"/>
                  <a:pt x="58" y="246"/>
                </a:cubicBezTo>
                <a:cubicBezTo>
                  <a:pt x="57" y="246"/>
                  <a:pt x="57" y="246"/>
                  <a:pt x="57" y="246"/>
                </a:cubicBezTo>
                <a:close/>
                <a:moveTo>
                  <a:pt x="21" y="224"/>
                </a:moveTo>
                <a:cubicBezTo>
                  <a:pt x="22" y="224"/>
                  <a:pt x="22" y="223"/>
                  <a:pt x="22" y="223"/>
                </a:cubicBezTo>
                <a:cubicBezTo>
                  <a:pt x="22" y="223"/>
                  <a:pt x="21" y="224"/>
                  <a:pt x="21" y="224"/>
                </a:cubicBezTo>
                <a:close/>
                <a:moveTo>
                  <a:pt x="52" y="249"/>
                </a:moveTo>
                <a:cubicBezTo>
                  <a:pt x="52" y="249"/>
                  <a:pt x="52" y="249"/>
                  <a:pt x="51" y="249"/>
                </a:cubicBezTo>
                <a:cubicBezTo>
                  <a:pt x="52" y="250"/>
                  <a:pt x="52" y="249"/>
                  <a:pt x="52" y="250"/>
                </a:cubicBezTo>
                <a:cubicBezTo>
                  <a:pt x="53" y="248"/>
                  <a:pt x="53" y="248"/>
                  <a:pt x="54" y="247"/>
                </a:cubicBezTo>
                <a:cubicBezTo>
                  <a:pt x="53" y="247"/>
                  <a:pt x="52" y="248"/>
                  <a:pt x="52" y="249"/>
                </a:cubicBezTo>
                <a:close/>
                <a:moveTo>
                  <a:pt x="29" y="230"/>
                </a:moveTo>
                <a:cubicBezTo>
                  <a:pt x="29" y="230"/>
                  <a:pt x="29" y="230"/>
                  <a:pt x="29" y="230"/>
                </a:cubicBezTo>
                <a:cubicBezTo>
                  <a:pt x="29" y="229"/>
                  <a:pt x="28" y="230"/>
                  <a:pt x="29" y="230"/>
                </a:cubicBezTo>
                <a:close/>
                <a:moveTo>
                  <a:pt x="54" y="249"/>
                </a:moveTo>
                <a:cubicBezTo>
                  <a:pt x="55" y="250"/>
                  <a:pt x="54" y="251"/>
                  <a:pt x="55" y="250"/>
                </a:cubicBezTo>
                <a:cubicBezTo>
                  <a:pt x="56" y="251"/>
                  <a:pt x="55" y="250"/>
                  <a:pt x="55" y="251"/>
                </a:cubicBezTo>
                <a:cubicBezTo>
                  <a:pt x="56" y="251"/>
                  <a:pt x="56" y="250"/>
                  <a:pt x="56" y="250"/>
                </a:cubicBezTo>
                <a:cubicBezTo>
                  <a:pt x="55" y="249"/>
                  <a:pt x="55" y="249"/>
                  <a:pt x="54" y="249"/>
                </a:cubicBezTo>
                <a:close/>
                <a:moveTo>
                  <a:pt x="47" y="245"/>
                </a:moveTo>
                <a:cubicBezTo>
                  <a:pt x="47" y="246"/>
                  <a:pt x="46" y="246"/>
                  <a:pt x="47" y="246"/>
                </a:cubicBezTo>
                <a:cubicBezTo>
                  <a:pt x="48" y="245"/>
                  <a:pt x="48" y="245"/>
                  <a:pt x="48" y="245"/>
                </a:cubicBezTo>
                <a:cubicBezTo>
                  <a:pt x="48" y="245"/>
                  <a:pt x="47" y="245"/>
                  <a:pt x="47" y="245"/>
                </a:cubicBezTo>
                <a:close/>
                <a:moveTo>
                  <a:pt x="28" y="231"/>
                </a:moveTo>
                <a:cubicBezTo>
                  <a:pt x="28" y="232"/>
                  <a:pt x="27" y="232"/>
                  <a:pt x="27" y="233"/>
                </a:cubicBezTo>
                <a:cubicBezTo>
                  <a:pt x="28" y="232"/>
                  <a:pt x="28" y="231"/>
                  <a:pt x="28" y="231"/>
                </a:cubicBezTo>
                <a:cubicBezTo>
                  <a:pt x="28" y="231"/>
                  <a:pt x="28" y="230"/>
                  <a:pt x="28" y="231"/>
                </a:cubicBezTo>
                <a:close/>
                <a:moveTo>
                  <a:pt x="28" y="235"/>
                </a:moveTo>
                <a:cubicBezTo>
                  <a:pt x="29" y="234"/>
                  <a:pt x="30" y="233"/>
                  <a:pt x="29" y="232"/>
                </a:cubicBezTo>
                <a:cubicBezTo>
                  <a:pt x="29" y="233"/>
                  <a:pt x="29" y="234"/>
                  <a:pt x="28" y="235"/>
                </a:cubicBezTo>
                <a:close/>
                <a:moveTo>
                  <a:pt x="48" y="247"/>
                </a:moveTo>
                <a:cubicBezTo>
                  <a:pt x="48" y="248"/>
                  <a:pt x="49" y="248"/>
                  <a:pt x="49" y="248"/>
                </a:cubicBezTo>
                <a:cubicBezTo>
                  <a:pt x="49" y="248"/>
                  <a:pt x="49" y="248"/>
                  <a:pt x="49" y="248"/>
                </a:cubicBezTo>
                <a:cubicBezTo>
                  <a:pt x="49" y="248"/>
                  <a:pt x="49" y="247"/>
                  <a:pt x="48" y="247"/>
                </a:cubicBezTo>
                <a:close/>
                <a:moveTo>
                  <a:pt x="17" y="226"/>
                </a:moveTo>
                <a:cubicBezTo>
                  <a:pt x="17" y="226"/>
                  <a:pt x="17" y="227"/>
                  <a:pt x="17" y="227"/>
                </a:cubicBezTo>
                <a:cubicBezTo>
                  <a:pt x="17" y="226"/>
                  <a:pt x="18" y="227"/>
                  <a:pt x="18" y="227"/>
                </a:cubicBezTo>
                <a:cubicBezTo>
                  <a:pt x="18" y="226"/>
                  <a:pt x="17" y="226"/>
                  <a:pt x="17" y="225"/>
                </a:cubicBezTo>
                <a:lnTo>
                  <a:pt x="17" y="226"/>
                </a:lnTo>
                <a:close/>
                <a:moveTo>
                  <a:pt x="41" y="244"/>
                </a:moveTo>
                <a:cubicBezTo>
                  <a:pt x="41" y="244"/>
                  <a:pt x="42" y="243"/>
                  <a:pt x="41" y="243"/>
                </a:cubicBezTo>
                <a:cubicBezTo>
                  <a:pt x="40" y="245"/>
                  <a:pt x="39" y="245"/>
                  <a:pt x="41" y="244"/>
                </a:cubicBezTo>
                <a:close/>
                <a:moveTo>
                  <a:pt x="50" y="252"/>
                </a:moveTo>
                <a:cubicBezTo>
                  <a:pt x="50" y="251"/>
                  <a:pt x="51" y="252"/>
                  <a:pt x="51" y="252"/>
                </a:cubicBezTo>
                <a:cubicBezTo>
                  <a:pt x="50" y="252"/>
                  <a:pt x="51" y="251"/>
                  <a:pt x="51" y="250"/>
                </a:cubicBezTo>
                <a:cubicBezTo>
                  <a:pt x="51" y="252"/>
                  <a:pt x="49" y="251"/>
                  <a:pt x="50" y="252"/>
                </a:cubicBezTo>
                <a:close/>
                <a:moveTo>
                  <a:pt x="42" y="245"/>
                </a:moveTo>
                <a:cubicBezTo>
                  <a:pt x="42" y="246"/>
                  <a:pt x="42" y="246"/>
                  <a:pt x="43" y="246"/>
                </a:cubicBezTo>
                <a:cubicBezTo>
                  <a:pt x="43" y="245"/>
                  <a:pt x="42" y="245"/>
                  <a:pt x="42" y="245"/>
                </a:cubicBezTo>
                <a:close/>
                <a:moveTo>
                  <a:pt x="53" y="255"/>
                </a:moveTo>
                <a:cubicBezTo>
                  <a:pt x="53" y="254"/>
                  <a:pt x="54" y="254"/>
                  <a:pt x="53" y="253"/>
                </a:cubicBezTo>
                <a:cubicBezTo>
                  <a:pt x="53" y="254"/>
                  <a:pt x="52" y="254"/>
                  <a:pt x="53" y="255"/>
                </a:cubicBezTo>
                <a:close/>
                <a:moveTo>
                  <a:pt x="40" y="247"/>
                </a:moveTo>
                <a:cubicBezTo>
                  <a:pt x="41" y="247"/>
                  <a:pt x="42" y="246"/>
                  <a:pt x="41" y="246"/>
                </a:cubicBezTo>
                <a:lnTo>
                  <a:pt x="40" y="247"/>
                </a:lnTo>
                <a:close/>
                <a:moveTo>
                  <a:pt x="43" y="248"/>
                </a:moveTo>
                <a:cubicBezTo>
                  <a:pt x="44" y="249"/>
                  <a:pt x="44" y="249"/>
                  <a:pt x="44" y="249"/>
                </a:cubicBezTo>
                <a:cubicBezTo>
                  <a:pt x="44" y="248"/>
                  <a:pt x="43" y="248"/>
                  <a:pt x="43" y="248"/>
                </a:cubicBezTo>
                <a:close/>
                <a:moveTo>
                  <a:pt x="15" y="234"/>
                </a:moveTo>
                <a:cubicBezTo>
                  <a:pt x="15" y="233"/>
                  <a:pt x="15" y="233"/>
                  <a:pt x="15" y="232"/>
                </a:cubicBezTo>
                <a:cubicBezTo>
                  <a:pt x="15" y="233"/>
                  <a:pt x="15" y="233"/>
                  <a:pt x="15" y="233"/>
                </a:cubicBezTo>
                <a:cubicBezTo>
                  <a:pt x="16" y="234"/>
                  <a:pt x="16" y="234"/>
                  <a:pt x="16" y="234"/>
                </a:cubicBezTo>
                <a:cubicBezTo>
                  <a:pt x="17" y="232"/>
                  <a:pt x="17" y="233"/>
                  <a:pt x="18" y="231"/>
                </a:cubicBezTo>
                <a:cubicBezTo>
                  <a:pt x="18" y="231"/>
                  <a:pt x="17" y="231"/>
                  <a:pt x="17" y="230"/>
                </a:cubicBezTo>
                <a:cubicBezTo>
                  <a:pt x="17" y="230"/>
                  <a:pt x="17" y="231"/>
                  <a:pt x="17" y="230"/>
                </a:cubicBezTo>
                <a:cubicBezTo>
                  <a:pt x="17" y="232"/>
                  <a:pt x="16" y="232"/>
                  <a:pt x="15" y="234"/>
                </a:cubicBezTo>
                <a:close/>
                <a:moveTo>
                  <a:pt x="51" y="255"/>
                </a:moveTo>
                <a:cubicBezTo>
                  <a:pt x="51" y="256"/>
                  <a:pt x="50" y="257"/>
                  <a:pt x="51" y="257"/>
                </a:cubicBezTo>
                <a:cubicBezTo>
                  <a:pt x="51" y="256"/>
                  <a:pt x="52" y="256"/>
                  <a:pt x="52" y="255"/>
                </a:cubicBezTo>
                <a:cubicBezTo>
                  <a:pt x="51" y="255"/>
                  <a:pt x="51" y="255"/>
                  <a:pt x="51" y="255"/>
                </a:cubicBezTo>
                <a:close/>
                <a:moveTo>
                  <a:pt x="20" y="235"/>
                </a:moveTo>
                <a:cubicBezTo>
                  <a:pt x="19" y="235"/>
                  <a:pt x="19" y="236"/>
                  <a:pt x="19" y="236"/>
                </a:cubicBezTo>
                <a:cubicBezTo>
                  <a:pt x="20" y="236"/>
                  <a:pt x="20" y="236"/>
                  <a:pt x="20" y="236"/>
                </a:cubicBezTo>
                <a:cubicBezTo>
                  <a:pt x="20" y="236"/>
                  <a:pt x="21" y="235"/>
                  <a:pt x="21" y="235"/>
                </a:cubicBezTo>
                <a:cubicBezTo>
                  <a:pt x="20" y="235"/>
                  <a:pt x="20" y="236"/>
                  <a:pt x="20" y="235"/>
                </a:cubicBezTo>
                <a:close/>
                <a:moveTo>
                  <a:pt x="21" y="238"/>
                </a:moveTo>
                <a:cubicBezTo>
                  <a:pt x="21" y="237"/>
                  <a:pt x="22" y="237"/>
                  <a:pt x="22" y="236"/>
                </a:cubicBezTo>
                <a:cubicBezTo>
                  <a:pt x="21" y="236"/>
                  <a:pt x="21" y="237"/>
                  <a:pt x="21" y="238"/>
                </a:cubicBezTo>
                <a:close/>
                <a:moveTo>
                  <a:pt x="17" y="236"/>
                </a:moveTo>
                <a:cubicBezTo>
                  <a:pt x="18" y="236"/>
                  <a:pt x="18" y="235"/>
                  <a:pt x="18" y="235"/>
                </a:cubicBezTo>
                <a:cubicBezTo>
                  <a:pt x="18" y="235"/>
                  <a:pt x="17" y="236"/>
                  <a:pt x="17" y="236"/>
                </a:cubicBezTo>
                <a:close/>
                <a:moveTo>
                  <a:pt x="23" y="243"/>
                </a:moveTo>
                <a:cubicBezTo>
                  <a:pt x="24" y="243"/>
                  <a:pt x="25" y="241"/>
                  <a:pt x="26" y="240"/>
                </a:cubicBezTo>
                <a:cubicBezTo>
                  <a:pt x="25" y="240"/>
                  <a:pt x="25" y="240"/>
                  <a:pt x="25" y="240"/>
                </a:cubicBezTo>
                <a:cubicBezTo>
                  <a:pt x="24" y="241"/>
                  <a:pt x="24" y="242"/>
                  <a:pt x="23" y="243"/>
                </a:cubicBezTo>
                <a:close/>
                <a:moveTo>
                  <a:pt x="17" y="238"/>
                </a:moveTo>
                <a:cubicBezTo>
                  <a:pt x="17" y="237"/>
                  <a:pt x="18" y="237"/>
                  <a:pt x="18" y="236"/>
                </a:cubicBezTo>
                <a:cubicBezTo>
                  <a:pt x="17" y="236"/>
                  <a:pt x="16" y="237"/>
                  <a:pt x="17" y="238"/>
                </a:cubicBezTo>
                <a:close/>
                <a:moveTo>
                  <a:pt x="35" y="251"/>
                </a:moveTo>
                <a:cubicBezTo>
                  <a:pt x="35" y="252"/>
                  <a:pt x="36" y="250"/>
                  <a:pt x="36" y="250"/>
                </a:cubicBezTo>
                <a:lnTo>
                  <a:pt x="35" y="251"/>
                </a:lnTo>
                <a:close/>
                <a:moveTo>
                  <a:pt x="38" y="255"/>
                </a:moveTo>
                <a:cubicBezTo>
                  <a:pt x="39" y="254"/>
                  <a:pt x="39" y="254"/>
                  <a:pt x="39" y="254"/>
                </a:cubicBezTo>
                <a:cubicBezTo>
                  <a:pt x="39" y="254"/>
                  <a:pt x="38" y="254"/>
                  <a:pt x="38" y="255"/>
                </a:cubicBezTo>
                <a:close/>
                <a:moveTo>
                  <a:pt x="12" y="236"/>
                </a:moveTo>
                <a:cubicBezTo>
                  <a:pt x="12" y="236"/>
                  <a:pt x="12" y="237"/>
                  <a:pt x="12" y="237"/>
                </a:cubicBezTo>
                <a:cubicBezTo>
                  <a:pt x="13" y="236"/>
                  <a:pt x="13" y="236"/>
                  <a:pt x="13" y="236"/>
                </a:cubicBezTo>
                <a:cubicBezTo>
                  <a:pt x="13" y="236"/>
                  <a:pt x="12" y="236"/>
                  <a:pt x="12" y="236"/>
                </a:cubicBezTo>
                <a:close/>
                <a:moveTo>
                  <a:pt x="38" y="253"/>
                </a:moveTo>
                <a:cubicBezTo>
                  <a:pt x="36" y="252"/>
                  <a:pt x="36" y="252"/>
                  <a:pt x="36" y="252"/>
                </a:cubicBezTo>
                <a:cubicBezTo>
                  <a:pt x="36" y="253"/>
                  <a:pt x="37" y="254"/>
                  <a:pt x="38" y="253"/>
                </a:cubicBezTo>
                <a:close/>
                <a:moveTo>
                  <a:pt x="12" y="239"/>
                </a:moveTo>
                <a:cubicBezTo>
                  <a:pt x="13" y="238"/>
                  <a:pt x="13" y="238"/>
                  <a:pt x="13" y="238"/>
                </a:cubicBezTo>
                <a:cubicBezTo>
                  <a:pt x="13" y="238"/>
                  <a:pt x="13" y="239"/>
                  <a:pt x="13" y="238"/>
                </a:cubicBezTo>
                <a:cubicBezTo>
                  <a:pt x="12" y="238"/>
                  <a:pt x="14" y="237"/>
                  <a:pt x="13" y="237"/>
                </a:cubicBezTo>
                <a:cubicBezTo>
                  <a:pt x="12" y="237"/>
                  <a:pt x="12" y="238"/>
                  <a:pt x="12" y="239"/>
                </a:cubicBezTo>
                <a:close/>
                <a:moveTo>
                  <a:pt x="35" y="256"/>
                </a:moveTo>
                <a:cubicBezTo>
                  <a:pt x="35" y="256"/>
                  <a:pt x="36" y="257"/>
                  <a:pt x="36" y="257"/>
                </a:cubicBezTo>
                <a:cubicBezTo>
                  <a:pt x="36" y="256"/>
                  <a:pt x="35" y="256"/>
                  <a:pt x="35" y="256"/>
                </a:cubicBezTo>
                <a:close/>
                <a:moveTo>
                  <a:pt x="27" y="255"/>
                </a:moveTo>
                <a:cubicBezTo>
                  <a:pt x="27" y="255"/>
                  <a:pt x="28" y="254"/>
                  <a:pt x="28" y="254"/>
                </a:cubicBezTo>
                <a:cubicBezTo>
                  <a:pt x="27" y="254"/>
                  <a:pt x="27" y="254"/>
                  <a:pt x="27" y="255"/>
                </a:cubicBezTo>
                <a:close/>
                <a:moveTo>
                  <a:pt x="8" y="244"/>
                </a:moveTo>
                <a:cubicBezTo>
                  <a:pt x="7" y="244"/>
                  <a:pt x="7" y="244"/>
                  <a:pt x="7" y="244"/>
                </a:cubicBezTo>
                <a:cubicBezTo>
                  <a:pt x="8" y="245"/>
                  <a:pt x="8" y="243"/>
                  <a:pt x="7" y="243"/>
                </a:cubicBezTo>
                <a:cubicBezTo>
                  <a:pt x="7" y="243"/>
                  <a:pt x="7" y="243"/>
                  <a:pt x="8" y="244"/>
                </a:cubicBezTo>
                <a:close/>
                <a:moveTo>
                  <a:pt x="6" y="247"/>
                </a:moveTo>
                <a:cubicBezTo>
                  <a:pt x="7" y="248"/>
                  <a:pt x="9" y="244"/>
                  <a:pt x="8" y="244"/>
                </a:cubicBezTo>
                <a:cubicBezTo>
                  <a:pt x="7" y="245"/>
                  <a:pt x="7" y="246"/>
                  <a:pt x="6" y="247"/>
                </a:cubicBezTo>
                <a:close/>
                <a:moveTo>
                  <a:pt x="11" y="248"/>
                </a:moveTo>
                <a:cubicBezTo>
                  <a:pt x="12" y="248"/>
                  <a:pt x="12" y="247"/>
                  <a:pt x="11" y="247"/>
                </a:cubicBezTo>
                <a:cubicBezTo>
                  <a:pt x="11" y="247"/>
                  <a:pt x="11" y="248"/>
                  <a:pt x="11" y="248"/>
                </a:cubicBezTo>
                <a:close/>
                <a:moveTo>
                  <a:pt x="32" y="264"/>
                </a:moveTo>
                <a:cubicBezTo>
                  <a:pt x="33" y="264"/>
                  <a:pt x="33" y="264"/>
                  <a:pt x="33" y="263"/>
                </a:cubicBezTo>
                <a:cubicBezTo>
                  <a:pt x="32" y="263"/>
                  <a:pt x="32" y="263"/>
                  <a:pt x="32" y="264"/>
                </a:cubicBezTo>
                <a:close/>
                <a:moveTo>
                  <a:pt x="10" y="250"/>
                </a:moveTo>
                <a:cubicBezTo>
                  <a:pt x="10" y="250"/>
                  <a:pt x="11" y="249"/>
                  <a:pt x="11" y="249"/>
                </a:cubicBezTo>
                <a:cubicBezTo>
                  <a:pt x="10" y="248"/>
                  <a:pt x="10" y="248"/>
                  <a:pt x="10" y="248"/>
                </a:cubicBezTo>
                <a:cubicBezTo>
                  <a:pt x="10" y="249"/>
                  <a:pt x="9" y="249"/>
                  <a:pt x="10" y="250"/>
                </a:cubicBezTo>
                <a:close/>
                <a:moveTo>
                  <a:pt x="7" y="252"/>
                </a:moveTo>
                <a:cubicBezTo>
                  <a:pt x="7" y="251"/>
                  <a:pt x="9" y="249"/>
                  <a:pt x="8" y="248"/>
                </a:cubicBezTo>
                <a:cubicBezTo>
                  <a:pt x="8" y="249"/>
                  <a:pt x="6" y="251"/>
                  <a:pt x="7" y="252"/>
                </a:cubicBezTo>
                <a:close/>
                <a:moveTo>
                  <a:pt x="3" y="247"/>
                </a:moveTo>
                <a:cubicBezTo>
                  <a:pt x="3" y="246"/>
                  <a:pt x="4" y="246"/>
                  <a:pt x="4" y="246"/>
                </a:cubicBezTo>
                <a:cubicBezTo>
                  <a:pt x="3" y="246"/>
                  <a:pt x="2" y="246"/>
                  <a:pt x="3" y="247"/>
                </a:cubicBezTo>
                <a:close/>
                <a:moveTo>
                  <a:pt x="0" y="255"/>
                </a:moveTo>
                <a:cubicBezTo>
                  <a:pt x="1" y="253"/>
                  <a:pt x="3" y="253"/>
                  <a:pt x="2" y="251"/>
                </a:cubicBezTo>
                <a:cubicBezTo>
                  <a:pt x="2" y="253"/>
                  <a:pt x="0" y="254"/>
                  <a:pt x="0" y="255"/>
                </a:cubicBezTo>
                <a:close/>
                <a:moveTo>
                  <a:pt x="30" y="271"/>
                </a:moveTo>
                <a:cubicBezTo>
                  <a:pt x="30" y="271"/>
                  <a:pt x="31" y="271"/>
                  <a:pt x="31" y="271"/>
                </a:cubicBezTo>
                <a:cubicBezTo>
                  <a:pt x="31" y="271"/>
                  <a:pt x="30" y="270"/>
                  <a:pt x="30" y="271"/>
                </a:cubicBezTo>
                <a:close/>
                <a:moveTo>
                  <a:pt x="34" y="274"/>
                </a:moveTo>
                <a:cubicBezTo>
                  <a:pt x="35" y="275"/>
                  <a:pt x="34" y="275"/>
                  <a:pt x="35" y="275"/>
                </a:cubicBezTo>
                <a:cubicBezTo>
                  <a:pt x="36" y="275"/>
                  <a:pt x="35" y="275"/>
                  <a:pt x="35" y="274"/>
                </a:cubicBezTo>
                <a:cubicBezTo>
                  <a:pt x="35" y="274"/>
                  <a:pt x="35" y="274"/>
                  <a:pt x="34" y="274"/>
                </a:cubicBezTo>
                <a:close/>
                <a:moveTo>
                  <a:pt x="3" y="254"/>
                </a:moveTo>
                <a:cubicBezTo>
                  <a:pt x="2" y="254"/>
                  <a:pt x="2" y="254"/>
                  <a:pt x="2" y="253"/>
                </a:cubicBezTo>
                <a:cubicBezTo>
                  <a:pt x="2" y="254"/>
                  <a:pt x="2" y="254"/>
                  <a:pt x="2" y="254"/>
                </a:cubicBezTo>
                <a:cubicBezTo>
                  <a:pt x="2" y="254"/>
                  <a:pt x="4" y="254"/>
                  <a:pt x="3" y="253"/>
                </a:cubicBezTo>
                <a:lnTo>
                  <a:pt x="3" y="254"/>
                </a:lnTo>
                <a:close/>
                <a:moveTo>
                  <a:pt x="27" y="271"/>
                </a:moveTo>
                <a:cubicBezTo>
                  <a:pt x="27" y="271"/>
                  <a:pt x="27" y="272"/>
                  <a:pt x="28" y="271"/>
                </a:cubicBezTo>
                <a:cubicBezTo>
                  <a:pt x="28" y="271"/>
                  <a:pt x="27" y="270"/>
                  <a:pt x="27" y="271"/>
                </a:cubicBezTo>
                <a:close/>
                <a:moveTo>
                  <a:pt x="31" y="278"/>
                </a:moveTo>
                <a:cubicBezTo>
                  <a:pt x="31" y="277"/>
                  <a:pt x="30" y="277"/>
                  <a:pt x="30" y="276"/>
                </a:cubicBezTo>
                <a:cubicBezTo>
                  <a:pt x="30" y="277"/>
                  <a:pt x="31" y="277"/>
                  <a:pt x="31" y="278"/>
                </a:cubicBezTo>
                <a:close/>
                <a:moveTo>
                  <a:pt x="31" y="281"/>
                </a:moveTo>
                <a:cubicBezTo>
                  <a:pt x="32" y="281"/>
                  <a:pt x="32" y="281"/>
                  <a:pt x="32" y="281"/>
                </a:cubicBezTo>
                <a:cubicBezTo>
                  <a:pt x="32" y="280"/>
                  <a:pt x="32" y="280"/>
                  <a:pt x="33" y="280"/>
                </a:cubicBezTo>
                <a:cubicBezTo>
                  <a:pt x="33" y="280"/>
                  <a:pt x="33" y="279"/>
                  <a:pt x="33" y="279"/>
                </a:cubicBezTo>
                <a:cubicBezTo>
                  <a:pt x="32" y="280"/>
                  <a:pt x="32" y="281"/>
                  <a:pt x="31" y="281"/>
                </a:cubicBezTo>
                <a:close/>
                <a:moveTo>
                  <a:pt x="782" y="255"/>
                </a:moveTo>
                <a:cubicBezTo>
                  <a:pt x="781" y="255"/>
                  <a:pt x="779" y="253"/>
                  <a:pt x="779" y="256"/>
                </a:cubicBezTo>
                <a:cubicBezTo>
                  <a:pt x="781" y="259"/>
                  <a:pt x="782" y="261"/>
                  <a:pt x="783" y="263"/>
                </a:cubicBezTo>
                <a:cubicBezTo>
                  <a:pt x="781" y="263"/>
                  <a:pt x="777" y="259"/>
                  <a:pt x="774" y="258"/>
                </a:cubicBezTo>
                <a:cubicBezTo>
                  <a:pt x="775" y="259"/>
                  <a:pt x="777" y="263"/>
                  <a:pt x="778" y="264"/>
                </a:cubicBezTo>
                <a:cubicBezTo>
                  <a:pt x="779" y="267"/>
                  <a:pt x="779" y="268"/>
                  <a:pt x="780" y="271"/>
                </a:cubicBezTo>
                <a:cubicBezTo>
                  <a:pt x="779" y="271"/>
                  <a:pt x="779" y="271"/>
                  <a:pt x="779" y="272"/>
                </a:cubicBezTo>
                <a:cubicBezTo>
                  <a:pt x="776" y="269"/>
                  <a:pt x="775" y="267"/>
                  <a:pt x="772" y="264"/>
                </a:cubicBezTo>
                <a:cubicBezTo>
                  <a:pt x="771" y="262"/>
                  <a:pt x="772" y="262"/>
                  <a:pt x="771" y="260"/>
                </a:cubicBezTo>
                <a:cubicBezTo>
                  <a:pt x="770" y="259"/>
                  <a:pt x="767" y="254"/>
                  <a:pt x="766" y="252"/>
                </a:cubicBezTo>
                <a:cubicBezTo>
                  <a:pt x="766" y="254"/>
                  <a:pt x="763" y="249"/>
                  <a:pt x="762" y="246"/>
                </a:cubicBezTo>
                <a:cubicBezTo>
                  <a:pt x="763" y="250"/>
                  <a:pt x="761" y="249"/>
                  <a:pt x="764" y="255"/>
                </a:cubicBezTo>
                <a:cubicBezTo>
                  <a:pt x="763" y="252"/>
                  <a:pt x="764" y="254"/>
                  <a:pt x="765" y="256"/>
                </a:cubicBezTo>
                <a:cubicBezTo>
                  <a:pt x="765" y="257"/>
                  <a:pt x="765" y="255"/>
                  <a:pt x="765" y="255"/>
                </a:cubicBezTo>
                <a:cubicBezTo>
                  <a:pt x="766" y="256"/>
                  <a:pt x="766" y="257"/>
                  <a:pt x="766" y="258"/>
                </a:cubicBezTo>
                <a:cubicBezTo>
                  <a:pt x="767" y="259"/>
                  <a:pt x="768" y="260"/>
                  <a:pt x="770" y="260"/>
                </a:cubicBezTo>
                <a:cubicBezTo>
                  <a:pt x="770" y="262"/>
                  <a:pt x="771" y="264"/>
                  <a:pt x="772" y="267"/>
                </a:cubicBezTo>
                <a:cubicBezTo>
                  <a:pt x="771" y="267"/>
                  <a:pt x="768" y="261"/>
                  <a:pt x="769" y="264"/>
                </a:cubicBezTo>
                <a:cubicBezTo>
                  <a:pt x="768" y="262"/>
                  <a:pt x="766" y="259"/>
                  <a:pt x="766" y="260"/>
                </a:cubicBezTo>
                <a:cubicBezTo>
                  <a:pt x="766" y="259"/>
                  <a:pt x="764" y="256"/>
                  <a:pt x="764" y="255"/>
                </a:cubicBezTo>
                <a:cubicBezTo>
                  <a:pt x="763" y="254"/>
                  <a:pt x="762" y="254"/>
                  <a:pt x="761" y="253"/>
                </a:cubicBezTo>
                <a:cubicBezTo>
                  <a:pt x="761" y="252"/>
                  <a:pt x="762" y="253"/>
                  <a:pt x="762" y="252"/>
                </a:cubicBezTo>
                <a:cubicBezTo>
                  <a:pt x="762" y="251"/>
                  <a:pt x="761" y="249"/>
                  <a:pt x="761" y="249"/>
                </a:cubicBezTo>
                <a:cubicBezTo>
                  <a:pt x="757" y="243"/>
                  <a:pt x="757" y="246"/>
                  <a:pt x="752" y="241"/>
                </a:cubicBezTo>
                <a:cubicBezTo>
                  <a:pt x="752" y="241"/>
                  <a:pt x="755" y="244"/>
                  <a:pt x="755" y="245"/>
                </a:cubicBezTo>
                <a:cubicBezTo>
                  <a:pt x="755" y="246"/>
                  <a:pt x="755" y="245"/>
                  <a:pt x="755" y="244"/>
                </a:cubicBezTo>
                <a:cubicBezTo>
                  <a:pt x="755" y="244"/>
                  <a:pt x="755" y="246"/>
                  <a:pt x="756" y="246"/>
                </a:cubicBezTo>
                <a:cubicBezTo>
                  <a:pt x="757" y="248"/>
                  <a:pt x="756" y="247"/>
                  <a:pt x="757" y="249"/>
                </a:cubicBezTo>
                <a:cubicBezTo>
                  <a:pt x="755" y="246"/>
                  <a:pt x="755" y="248"/>
                  <a:pt x="753" y="248"/>
                </a:cubicBezTo>
                <a:cubicBezTo>
                  <a:pt x="752" y="245"/>
                  <a:pt x="751" y="244"/>
                  <a:pt x="750" y="245"/>
                </a:cubicBezTo>
                <a:cubicBezTo>
                  <a:pt x="748" y="242"/>
                  <a:pt x="747" y="243"/>
                  <a:pt x="745" y="239"/>
                </a:cubicBezTo>
                <a:cubicBezTo>
                  <a:pt x="744" y="239"/>
                  <a:pt x="744" y="239"/>
                  <a:pt x="744" y="239"/>
                </a:cubicBezTo>
                <a:cubicBezTo>
                  <a:pt x="743" y="237"/>
                  <a:pt x="741" y="236"/>
                  <a:pt x="739" y="233"/>
                </a:cubicBezTo>
                <a:cubicBezTo>
                  <a:pt x="739" y="232"/>
                  <a:pt x="739" y="231"/>
                  <a:pt x="740" y="231"/>
                </a:cubicBezTo>
                <a:cubicBezTo>
                  <a:pt x="741" y="233"/>
                  <a:pt x="741" y="234"/>
                  <a:pt x="742" y="234"/>
                </a:cubicBezTo>
                <a:cubicBezTo>
                  <a:pt x="742" y="234"/>
                  <a:pt x="741" y="231"/>
                  <a:pt x="743" y="234"/>
                </a:cubicBezTo>
                <a:cubicBezTo>
                  <a:pt x="743" y="233"/>
                  <a:pt x="742" y="232"/>
                  <a:pt x="741" y="231"/>
                </a:cubicBezTo>
                <a:cubicBezTo>
                  <a:pt x="740" y="230"/>
                  <a:pt x="741" y="231"/>
                  <a:pt x="740" y="231"/>
                </a:cubicBezTo>
                <a:cubicBezTo>
                  <a:pt x="739" y="227"/>
                  <a:pt x="737" y="229"/>
                  <a:pt x="736" y="226"/>
                </a:cubicBezTo>
                <a:cubicBezTo>
                  <a:pt x="736" y="227"/>
                  <a:pt x="735" y="226"/>
                  <a:pt x="733" y="224"/>
                </a:cubicBezTo>
                <a:cubicBezTo>
                  <a:pt x="734" y="226"/>
                  <a:pt x="737" y="229"/>
                  <a:pt x="738" y="231"/>
                </a:cubicBezTo>
                <a:cubicBezTo>
                  <a:pt x="735" y="229"/>
                  <a:pt x="728" y="217"/>
                  <a:pt x="726" y="218"/>
                </a:cubicBezTo>
                <a:cubicBezTo>
                  <a:pt x="724" y="215"/>
                  <a:pt x="723" y="213"/>
                  <a:pt x="721" y="210"/>
                </a:cubicBezTo>
                <a:cubicBezTo>
                  <a:pt x="715" y="205"/>
                  <a:pt x="707" y="195"/>
                  <a:pt x="698" y="186"/>
                </a:cubicBezTo>
                <a:cubicBezTo>
                  <a:pt x="698" y="186"/>
                  <a:pt x="701" y="188"/>
                  <a:pt x="700" y="188"/>
                </a:cubicBezTo>
                <a:cubicBezTo>
                  <a:pt x="696" y="184"/>
                  <a:pt x="693" y="182"/>
                  <a:pt x="688" y="177"/>
                </a:cubicBezTo>
                <a:cubicBezTo>
                  <a:pt x="689" y="178"/>
                  <a:pt x="690" y="178"/>
                  <a:pt x="690" y="177"/>
                </a:cubicBezTo>
                <a:cubicBezTo>
                  <a:pt x="689" y="176"/>
                  <a:pt x="689" y="176"/>
                  <a:pt x="689" y="176"/>
                </a:cubicBezTo>
                <a:cubicBezTo>
                  <a:pt x="687" y="174"/>
                  <a:pt x="689" y="177"/>
                  <a:pt x="688" y="177"/>
                </a:cubicBezTo>
                <a:cubicBezTo>
                  <a:pt x="686" y="175"/>
                  <a:pt x="687" y="175"/>
                  <a:pt x="686" y="174"/>
                </a:cubicBezTo>
                <a:cubicBezTo>
                  <a:pt x="684" y="172"/>
                  <a:pt x="686" y="174"/>
                  <a:pt x="684" y="173"/>
                </a:cubicBezTo>
                <a:cubicBezTo>
                  <a:pt x="683" y="172"/>
                  <a:pt x="682" y="169"/>
                  <a:pt x="681" y="170"/>
                </a:cubicBezTo>
                <a:cubicBezTo>
                  <a:pt x="680" y="169"/>
                  <a:pt x="681" y="169"/>
                  <a:pt x="681" y="169"/>
                </a:cubicBezTo>
                <a:cubicBezTo>
                  <a:pt x="680" y="168"/>
                  <a:pt x="679" y="168"/>
                  <a:pt x="678" y="168"/>
                </a:cubicBezTo>
                <a:cubicBezTo>
                  <a:pt x="676" y="165"/>
                  <a:pt x="672" y="163"/>
                  <a:pt x="672" y="161"/>
                </a:cubicBezTo>
                <a:cubicBezTo>
                  <a:pt x="670" y="160"/>
                  <a:pt x="662" y="154"/>
                  <a:pt x="657" y="149"/>
                </a:cubicBezTo>
                <a:cubicBezTo>
                  <a:pt x="660" y="152"/>
                  <a:pt x="654" y="146"/>
                  <a:pt x="654" y="146"/>
                </a:cubicBezTo>
                <a:cubicBezTo>
                  <a:pt x="653" y="145"/>
                  <a:pt x="653" y="145"/>
                  <a:pt x="652" y="145"/>
                </a:cubicBezTo>
                <a:cubicBezTo>
                  <a:pt x="648" y="142"/>
                  <a:pt x="644" y="139"/>
                  <a:pt x="645" y="138"/>
                </a:cubicBezTo>
                <a:cubicBezTo>
                  <a:pt x="641" y="135"/>
                  <a:pt x="641" y="135"/>
                  <a:pt x="641" y="135"/>
                </a:cubicBezTo>
                <a:cubicBezTo>
                  <a:pt x="642" y="137"/>
                  <a:pt x="641" y="136"/>
                  <a:pt x="640" y="136"/>
                </a:cubicBezTo>
                <a:cubicBezTo>
                  <a:pt x="637" y="133"/>
                  <a:pt x="636" y="133"/>
                  <a:pt x="633" y="130"/>
                </a:cubicBezTo>
                <a:cubicBezTo>
                  <a:pt x="633" y="130"/>
                  <a:pt x="632" y="129"/>
                  <a:pt x="633" y="129"/>
                </a:cubicBezTo>
                <a:cubicBezTo>
                  <a:pt x="629" y="126"/>
                  <a:pt x="631" y="129"/>
                  <a:pt x="629" y="128"/>
                </a:cubicBezTo>
                <a:cubicBezTo>
                  <a:pt x="628" y="126"/>
                  <a:pt x="625" y="124"/>
                  <a:pt x="622" y="123"/>
                </a:cubicBezTo>
                <a:cubicBezTo>
                  <a:pt x="626" y="124"/>
                  <a:pt x="620" y="120"/>
                  <a:pt x="618" y="120"/>
                </a:cubicBezTo>
                <a:cubicBezTo>
                  <a:pt x="618" y="120"/>
                  <a:pt x="620" y="122"/>
                  <a:pt x="621" y="122"/>
                </a:cubicBezTo>
                <a:cubicBezTo>
                  <a:pt x="623" y="124"/>
                  <a:pt x="615" y="119"/>
                  <a:pt x="617" y="119"/>
                </a:cubicBezTo>
                <a:cubicBezTo>
                  <a:pt x="614" y="117"/>
                  <a:pt x="614" y="117"/>
                  <a:pt x="614" y="117"/>
                </a:cubicBezTo>
                <a:cubicBezTo>
                  <a:pt x="613" y="116"/>
                  <a:pt x="614" y="118"/>
                  <a:pt x="611" y="116"/>
                </a:cubicBezTo>
                <a:cubicBezTo>
                  <a:pt x="611" y="116"/>
                  <a:pt x="613" y="116"/>
                  <a:pt x="612" y="115"/>
                </a:cubicBezTo>
                <a:cubicBezTo>
                  <a:pt x="610" y="114"/>
                  <a:pt x="612" y="116"/>
                  <a:pt x="610" y="115"/>
                </a:cubicBezTo>
                <a:cubicBezTo>
                  <a:pt x="607" y="112"/>
                  <a:pt x="602" y="111"/>
                  <a:pt x="596" y="106"/>
                </a:cubicBezTo>
                <a:cubicBezTo>
                  <a:pt x="596" y="106"/>
                  <a:pt x="595" y="106"/>
                  <a:pt x="595" y="105"/>
                </a:cubicBezTo>
                <a:cubicBezTo>
                  <a:pt x="594" y="105"/>
                  <a:pt x="594" y="105"/>
                  <a:pt x="594" y="106"/>
                </a:cubicBezTo>
                <a:cubicBezTo>
                  <a:pt x="587" y="101"/>
                  <a:pt x="583" y="99"/>
                  <a:pt x="576" y="95"/>
                </a:cubicBezTo>
                <a:cubicBezTo>
                  <a:pt x="573" y="94"/>
                  <a:pt x="576" y="96"/>
                  <a:pt x="575" y="96"/>
                </a:cubicBezTo>
                <a:cubicBezTo>
                  <a:pt x="575" y="95"/>
                  <a:pt x="571" y="94"/>
                  <a:pt x="571" y="94"/>
                </a:cubicBezTo>
                <a:cubicBezTo>
                  <a:pt x="568" y="92"/>
                  <a:pt x="566" y="90"/>
                  <a:pt x="562" y="88"/>
                </a:cubicBezTo>
                <a:cubicBezTo>
                  <a:pt x="555" y="85"/>
                  <a:pt x="548" y="82"/>
                  <a:pt x="540" y="79"/>
                </a:cubicBezTo>
                <a:cubicBezTo>
                  <a:pt x="540" y="78"/>
                  <a:pt x="540" y="78"/>
                  <a:pt x="540" y="78"/>
                </a:cubicBezTo>
                <a:cubicBezTo>
                  <a:pt x="537" y="77"/>
                  <a:pt x="535" y="76"/>
                  <a:pt x="533" y="75"/>
                </a:cubicBezTo>
                <a:cubicBezTo>
                  <a:pt x="530" y="74"/>
                  <a:pt x="529" y="74"/>
                  <a:pt x="526" y="73"/>
                </a:cubicBezTo>
                <a:cubicBezTo>
                  <a:pt x="526" y="72"/>
                  <a:pt x="526" y="72"/>
                  <a:pt x="526" y="72"/>
                </a:cubicBezTo>
                <a:cubicBezTo>
                  <a:pt x="521" y="71"/>
                  <a:pt x="517" y="70"/>
                  <a:pt x="514" y="68"/>
                </a:cubicBezTo>
                <a:cubicBezTo>
                  <a:pt x="510" y="68"/>
                  <a:pt x="504" y="65"/>
                  <a:pt x="502" y="64"/>
                </a:cubicBezTo>
                <a:cubicBezTo>
                  <a:pt x="500" y="63"/>
                  <a:pt x="502" y="65"/>
                  <a:pt x="502" y="65"/>
                </a:cubicBezTo>
                <a:cubicBezTo>
                  <a:pt x="497" y="64"/>
                  <a:pt x="493" y="62"/>
                  <a:pt x="488" y="60"/>
                </a:cubicBezTo>
                <a:cubicBezTo>
                  <a:pt x="485" y="60"/>
                  <a:pt x="481" y="60"/>
                  <a:pt x="480" y="59"/>
                </a:cubicBezTo>
                <a:cubicBezTo>
                  <a:pt x="483" y="59"/>
                  <a:pt x="485" y="60"/>
                  <a:pt x="484" y="59"/>
                </a:cubicBezTo>
                <a:cubicBezTo>
                  <a:pt x="482" y="58"/>
                  <a:pt x="480" y="59"/>
                  <a:pt x="480" y="58"/>
                </a:cubicBezTo>
                <a:cubicBezTo>
                  <a:pt x="479" y="58"/>
                  <a:pt x="479" y="58"/>
                  <a:pt x="479" y="59"/>
                </a:cubicBezTo>
                <a:cubicBezTo>
                  <a:pt x="474" y="58"/>
                  <a:pt x="470" y="57"/>
                  <a:pt x="468" y="56"/>
                </a:cubicBezTo>
                <a:cubicBezTo>
                  <a:pt x="466" y="56"/>
                  <a:pt x="469" y="57"/>
                  <a:pt x="464" y="56"/>
                </a:cubicBezTo>
                <a:cubicBezTo>
                  <a:pt x="465" y="55"/>
                  <a:pt x="461" y="54"/>
                  <a:pt x="459" y="54"/>
                </a:cubicBezTo>
                <a:cubicBezTo>
                  <a:pt x="459" y="54"/>
                  <a:pt x="459" y="54"/>
                  <a:pt x="458" y="54"/>
                </a:cubicBezTo>
                <a:cubicBezTo>
                  <a:pt x="458" y="54"/>
                  <a:pt x="459" y="54"/>
                  <a:pt x="461" y="54"/>
                </a:cubicBezTo>
                <a:cubicBezTo>
                  <a:pt x="461" y="53"/>
                  <a:pt x="460" y="53"/>
                  <a:pt x="458" y="53"/>
                </a:cubicBezTo>
                <a:cubicBezTo>
                  <a:pt x="457" y="53"/>
                  <a:pt x="456" y="53"/>
                  <a:pt x="456" y="54"/>
                </a:cubicBezTo>
                <a:cubicBezTo>
                  <a:pt x="453" y="53"/>
                  <a:pt x="452" y="52"/>
                  <a:pt x="450" y="52"/>
                </a:cubicBezTo>
                <a:cubicBezTo>
                  <a:pt x="448" y="51"/>
                  <a:pt x="451" y="52"/>
                  <a:pt x="450" y="52"/>
                </a:cubicBezTo>
                <a:cubicBezTo>
                  <a:pt x="442" y="51"/>
                  <a:pt x="434" y="51"/>
                  <a:pt x="428" y="49"/>
                </a:cubicBezTo>
                <a:cubicBezTo>
                  <a:pt x="426" y="49"/>
                  <a:pt x="429" y="50"/>
                  <a:pt x="427" y="50"/>
                </a:cubicBezTo>
                <a:cubicBezTo>
                  <a:pt x="424" y="50"/>
                  <a:pt x="424" y="49"/>
                  <a:pt x="426" y="49"/>
                </a:cubicBezTo>
                <a:cubicBezTo>
                  <a:pt x="426" y="48"/>
                  <a:pt x="425" y="49"/>
                  <a:pt x="423" y="48"/>
                </a:cubicBezTo>
                <a:cubicBezTo>
                  <a:pt x="423" y="49"/>
                  <a:pt x="423" y="49"/>
                  <a:pt x="423" y="49"/>
                </a:cubicBezTo>
                <a:cubicBezTo>
                  <a:pt x="416" y="48"/>
                  <a:pt x="410" y="48"/>
                  <a:pt x="402" y="48"/>
                </a:cubicBezTo>
                <a:cubicBezTo>
                  <a:pt x="404" y="47"/>
                  <a:pt x="401" y="47"/>
                  <a:pt x="397" y="47"/>
                </a:cubicBezTo>
                <a:cubicBezTo>
                  <a:pt x="397" y="46"/>
                  <a:pt x="397" y="46"/>
                  <a:pt x="397" y="46"/>
                </a:cubicBezTo>
                <a:cubicBezTo>
                  <a:pt x="394" y="47"/>
                  <a:pt x="393" y="46"/>
                  <a:pt x="391" y="46"/>
                </a:cubicBezTo>
                <a:cubicBezTo>
                  <a:pt x="389" y="46"/>
                  <a:pt x="395" y="47"/>
                  <a:pt x="393" y="48"/>
                </a:cubicBezTo>
                <a:cubicBezTo>
                  <a:pt x="390" y="47"/>
                  <a:pt x="390" y="47"/>
                  <a:pt x="388" y="47"/>
                </a:cubicBezTo>
                <a:cubicBezTo>
                  <a:pt x="386" y="47"/>
                  <a:pt x="388" y="47"/>
                  <a:pt x="388" y="48"/>
                </a:cubicBezTo>
                <a:cubicBezTo>
                  <a:pt x="385" y="48"/>
                  <a:pt x="385" y="47"/>
                  <a:pt x="382" y="48"/>
                </a:cubicBezTo>
                <a:cubicBezTo>
                  <a:pt x="382" y="47"/>
                  <a:pt x="383" y="47"/>
                  <a:pt x="384" y="47"/>
                </a:cubicBezTo>
                <a:cubicBezTo>
                  <a:pt x="383" y="47"/>
                  <a:pt x="380" y="48"/>
                  <a:pt x="380" y="47"/>
                </a:cubicBezTo>
                <a:cubicBezTo>
                  <a:pt x="379" y="47"/>
                  <a:pt x="380" y="48"/>
                  <a:pt x="377" y="48"/>
                </a:cubicBezTo>
                <a:cubicBezTo>
                  <a:pt x="376" y="47"/>
                  <a:pt x="377" y="47"/>
                  <a:pt x="376" y="47"/>
                </a:cubicBezTo>
                <a:cubicBezTo>
                  <a:pt x="375" y="47"/>
                  <a:pt x="371" y="48"/>
                  <a:pt x="375" y="48"/>
                </a:cubicBezTo>
                <a:cubicBezTo>
                  <a:pt x="374" y="48"/>
                  <a:pt x="373" y="49"/>
                  <a:pt x="371" y="49"/>
                </a:cubicBezTo>
                <a:cubicBezTo>
                  <a:pt x="372" y="48"/>
                  <a:pt x="370" y="48"/>
                  <a:pt x="371" y="47"/>
                </a:cubicBezTo>
                <a:cubicBezTo>
                  <a:pt x="370" y="47"/>
                  <a:pt x="367" y="48"/>
                  <a:pt x="368" y="47"/>
                </a:cubicBezTo>
                <a:cubicBezTo>
                  <a:pt x="365" y="48"/>
                  <a:pt x="363" y="48"/>
                  <a:pt x="361" y="48"/>
                </a:cubicBezTo>
                <a:cubicBezTo>
                  <a:pt x="361" y="47"/>
                  <a:pt x="362" y="47"/>
                  <a:pt x="363" y="47"/>
                </a:cubicBezTo>
                <a:cubicBezTo>
                  <a:pt x="363" y="47"/>
                  <a:pt x="361" y="47"/>
                  <a:pt x="359" y="47"/>
                </a:cubicBezTo>
                <a:cubicBezTo>
                  <a:pt x="358" y="48"/>
                  <a:pt x="355" y="48"/>
                  <a:pt x="351" y="48"/>
                </a:cubicBezTo>
                <a:cubicBezTo>
                  <a:pt x="351" y="49"/>
                  <a:pt x="354" y="48"/>
                  <a:pt x="354" y="49"/>
                </a:cubicBezTo>
                <a:cubicBezTo>
                  <a:pt x="350" y="50"/>
                  <a:pt x="351" y="49"/>
                  <a:pt x="348" y="49"/>
                </a:cubicBezTo>
                <a:cubicBezTo>
                  <a:pt x="350" y="50"/>
                  <a:pt x="344" y="50"/>
                  <a:pt x="342" y="50"/>
                </a:cubicBezTo>
                <a:cubicBezTo>
                  <a:pt x="340" y="50"/>
                  <a:pt x="343" y="50"/>
                  <a:pt x="341" y="51"/>
                </a:cubicBezTo>
                <a:cubicBezTo>
                  <a:pt x="336" y="52"/>
                  <a:pt x="334" y="52"/>
                  <a:pt x="332" y="51"/>
                </a:cubicBezTo>
                <a:cubicBezTo>
                  <a:pt x="334" y="50"/>
                  <a:pt x="335" y="51"/>
                  <a:pt x="335" y="51"/>
                </a:cubicBezTo>
                <a:cubicBezTo>
                  <a:pt x="336" y="51"/>
                  <a:pt x="336" y="51"/>
                  <a:pt x="336" y="51"/>
                </a:cubicBezTo>
                <a:cubicBezTo>
                  <a:pt x="336" y="50"/>
                  <a:pt x="334" y="51"/>
                  <a:pt x="335" y="50"/>
                </a:cubicBezTo>
                <a:cubicBezTo>
                  <a:pt x="331" y="51"/>
                  <a:pt x="331" y="51"/>
                  <a:pt x="331" y="52"/>
                </a:cubicBezTo>
                <a:cubicBezTo>
                  <a:pt x="330" y="51"/>
                  <a:pt x="326" y="51"/>
                  <a:pt x="326" y="52"/>
                </a:cubicBezTo>
                <a:cubicBezTo>
                  <a:pt x="323" y="53"/>
                  <a:pt x="325" y="52"/>
                  <a:pt x="326" y="51"/>
                </a:cubicBezTo>
                <a:cubicBezTo>
                  <a:pt x="326" y="51"/>
                  <a:pt x="322" y="52"/>
                  <a:pt x="321" y="53"/>
                </a:cubicBezTo>
                <a:cubicBezTo>
                  <a:pt x="321" y="53"/>
                  <a:pt x="322" y="53"/>
                  <a:pt x="323" y="53"/>
                </a:cubicBezTo>
                <a:cubicBezTo>
                  <a:pt x="321" y="53"/>
                  <a:pt x="315" y="54"/>
                  <a:pt x="316" y="55"/>
                </a:cubicBezTo>
                <a:cubicBezTo>
                  <a:pt x="314" y="56"/>
                  <a:pt x="314" y="55"/>
                  <a:pt x="312" y="55"/>
                </a:cubicBezTo>
                <a:cubicBezTo>
                  <a:pt x="313" y="55"/>
                  <a:pt x="314" y="54"/>
                  <a:pt x="315" y="54"/>
                </a:cubicBezTo>
                <a:cubicBezTo>
                  <a:pt x="317" y="53"/>
                  <a:pt x="317" y="53"/>
                  <a:pt x="320" y="52"/>
                </a:cubicBezTo>
                <a:cubicBezTo>
                  <a:pt x="319" y="52"/>
                  <a:pt x="314" y="54"/>
                  <a:pt x="313" y="54"/>
                </a:cubicBezTo>
                <a:cubicBezTo>
                  <a:pt x="310" y="54"/>
                  <a:pt x="314" y="54"/>
                  <a:pt x="312" y="55"/>
                </a:cubicBezTo>
                <a:cubicBezTo>
                  <a:pt x="308" y="56"/>
                  <a:pt x="308" y="56"/>
                  <a:pt x="304" y="57"/>
                </a:cubicBezTo>
                <a:cubicBezTo>
                  <a:pt x="305" y="57"/>
                  <a:pt x="307" y="57"/>
                  <a:pt x="307" y="56"/>
                </a:cubicBezTo>
                <a:cubicBezTo>
                  <a:pt x="305" y="56"/>
                  <a:pt x="302" y="58"/>
                  <a:pt x="302" y="58"/>
                </a:cubicBezTo>
                <a:cubicBezTo>
                  <a:pt x="299" y="59"/>
                  <a:pt x="304" y="57"/>
                  <a:pt x="301" y="58"/>
                </a:cubicBezTo>
                <a:cubicBezTo>
                  <a:pt x="301" y="57"/>
                  <a:pt x="304" y="57"/>
                  <a:pt x="303" y="57"/>
                </a:cubicBezTo>
                <a:cubicBezTo>
                  <a:pt x="303" y="57"/>
                  <a:pt x="298" y="58"/>
                  <a:pt x="297" y="58"/>
                </a:cubicBezTo>
                <a:cubicBezTo>
                  <a:pt x="298" y="59"/>
                  <a:pt x="301" y="57"/>
                  <a:pt x="301" y="58"/>
                </a:cubicBezTo>
                <a:cubicBezTo>
                  <a:pt x="296" y="59"/>
                  <a:pt x="295" y="60"/>
                  <a:pt x="292" y="60"/>
                </a:cubicBezTo>
                <a:cubicBezTo>
                  <a:pt x="290" y="61"/>
                  <a:pt x="289" y="61"/>
                  <a:pt x="289" y="62"/>
                </a:cubicBezTo>
                <a:cubicBezTo>
                  <a:pt x="288" y="62"/>
                  <a:pt x="283" y="62"/>
                  <a:pt x="283" y="63"/>
                </a:cubicBezTo>
                <a:cubicBezTo>
                  <a:pt x="279" y="65"/>
                  <a:pt x="279" y="64"/>
                  <a:pt x="276" y="65"/>
                </a:cubicBezTo>
                <a:cubicBezTo>
                  <a:pt x="274" y="66"/>
                  <a:pt x="277" y="66"/>
                  <a:pt x="276" y="66"/>
                </a:cubicBezTo>
                <a:cubicBezTo>
                  <a:pt x="273" y="67"/>
                  <a:pt x="273" y="67"/>
                  <a:pt x="273" y="67"/>
                </a:cubicBezTo>
                <a:cubicBezTo>
                  <a:pt x="275" y="65"/>
                  <a:pt x="264" y="71"/>
                  <a:pt x="260" y="71"/>
                </a:cubicBezTo>
                <a:cubicBezTo>
                  <a:pt x="259" y="72"/>
                  <a:pt x="259" y="72"/>
                  <a:pt x="259" y="73"/>
                </a:cubicBezTo>
                <a:cubicBezTo>
                  <a:pt x="257" y="73"/>
                  <a:pt x="254" y="74"/>
                  <a:pt x="253" y="75"/>
                </a:cubicBezTo>
                <a:cubicBezTo>
                  <a:pt x="253" y="75"/>
                  <a:pt x="253" y="75"/>
                  <a:pt x="253" y="74"/>
                </a:cubicBezTo>
                <a:cubicBezTo>
                  <a:pt x="248" y="77"/>
                  <a:pt x="246" y="78"/>
                  <a:pt x="239" y="81"/>
                </a:cubicBezTo>
                <a:cubicBezTo>
                  <a:pt x="240" y="80"/>
                  <a:pt x="244" y="78"/>
                  <a:pt x="245" y="78"/>
                </a:cubicBezTo>
                <a:cubicBezTo>
                  <a:pt x="244" y="78"/>
                  <a:pt x="244" y="76"/>
                  <a:pt x="243" y="77"/>
                </a:cubicBezTo>
                <a:cubicBezTo>
                  <a:pt x="243" y="77"/>
                  <a:pt x="242" y="76"/>
                  <a:pt x="243" y="75"/>
                </a:cubicBezTo>
                <a:cubicBezTo>
                  <a:pt x="244" y="75"/>
                  <a:pt x="244" y="75"/>
                  <a:pt x="245" y="75"/>
                </a:cubicBezTo>
                <a:cubicBezTo>
                  <a:pt x="247" y="74"/>
                  <a:pt x="243" y="74"/>
                  <a:pt x="246" y="73"/>
                </a:cubicBezTo>
                <a:cubicBezTo>
                  <a:pt x="245" y="73"/>
                  <a:pt x="244" y="74"/>
                  <a:pt x="243" y="75"/>
                </a:cubicBezTo>
                <a:cubicBezTo>
                  <a:pt x="243" y="73"/>
                  <a:pt x="250" y="71"/>
                  <a:pt x="252" y="71"/>
                </a:cubicBezTo>
                <a:cubicBezTo>
                  <a:pt x="254" y="70"/>
                  <a:pt x="251" y="70"/>
                  <a:pt x="254" y="69"/>
                </a:cubicBezTo>
                <a:cubicBezTo>
                  <a:pt x="247" y="70"/>
                  <a:pt x="242" y="74"/>
                  <a:pt x="237" y="76"/>
                </a:cubicBezTo>
                <a:cubicBezTo>
                  <a:pt x="236" y="76"/>
                  <a:pt x="237" y="76"/>
                  <a:pt x="237" y="76"/>
                </a:cubicBezTo>
                <a:cubicBezTo>
                  <a:pt x="235" y="77"/>
                  <a:pt x="233" y="78"/>
                  <a:pt x="233" y="78"/>
                </a:cubicBezTo>
                <a:cubicBezTo>
                  <a:pt x="234" y="77"/>
                  <a:pt x="235" y="77"/>
                  <a:pt x="235" y="76"/>
                </a:cubicBezTo>
                <a:cubicBezTo>
                  <a:pt x="232" y="77"/>
                  <a:pt x="234" y="77"/>
                  <a:pt x="231" y="78"/>
                </a:cubicBezTo>
                <a:cubicBezTo>
                  <a:pt x="229" y="78"/>
                  <a:pt x="231" y="77"/>
                  <a:pt x="227" y="79"/>
                </a:cubicBezTo>
                <a:cubicBezTo>
                  <a:pt x="227" y="78"/>
                  <a:pt x="230" y="77"/>
                  <a:pt x="231" y="76"/>
                </a:cubicBezTo>
                <a:cubicBezTo>
                  <a:pt x="229" y="77"/>
                  <a:pt x="228" y="77"/>
                  <a:pt x="224" y="79"/>
                </a:cubicBezTo>
                <a:cubicBezTo>
                  <a:pt x="227" y="76"/>
                  <a:pt x="236" y="73"/>
                  <a:pt x="233" y="72"/>
                </a:cubicBezTo>
                <a:cubicBezTo>
                  <a:pt x="233" y="72"/>
                  <a:pt x="231" y="72"/>
                  <a:pt x="231" y="72"/>
                </a:cubicBezTo>
                <a:cubicBezTo>
                  <a:pt x="229" y="73"/>
                  <a:pt x="233" y="72"/>
                  <a:pt x="230" y="73"/>
                </a:cubicBezTo>
                <a:cubicBezTo>
                  <a:pt x="230" y="73"/>
                  <a:pt x="232" y="73"/>
                  <a:pt x="232" y="73"/>
                </a:cubicBezTo>
                <a:cubicBezTo>
                  <a:pt x="227" y="76"/>
                  <a:pt x="222" y="80"/>
                  <a:pt x="219" y="80"/>
                </a:cubicBezTo>
                <a:cubicBezTo>
                  <a:pt x="223" y="79"/>
                  <a:pt x="216" y="80"/>
                  <a:pt x="222" y="77"/>
                </a:cubicBezTo>
                <a:cubicBezTo>
                  <a:pt x="221" y="76"/>
                  <a:pt x="216" y="78"/>
                  <a:pt x="218" y="76"/>
                </a:cubicBezTo>
                <a:cubicBezTo>
                  <a:pt x="217" y="77"/>
                  <a:pt x="210" y="80"/>
                  <a:pt x="210" y="82"/>
                </a:cubicBezTo>
                <a:cubicBezTo>
                  <a:pt x="205" y="84"/>
                  <a:pt x="210" y="81"/>
                  <a:pt x="203" y="85"/>
                </a:cubicBezTo>
                <a:cubicBezTo>
                  <a:pt x="207" y="83"/>
                  <a:pt x="205" y="85"/>
                  <a:pt x="206" y="85"/>
                </a:cubicBezTo>
                <a:cubicBezTo>
                  <a:pt x="203" y="87"/>
                  <a:pt x="205" y="85"/>
                  <a:pt x="204" y="85"/>
                </a:cubicBezTo>
                <a:cubicBezTo>
                  <a:pt x="202" y="86"/>
                  <a:pt x="201" y="88"/>
                  <a:pt x="199" y="88"/>
                </a:cubicBezTo>
                <a:cubicBezTo>
                  <a:pt x="199" y="89"/>
                  <a:pt x="199" y="89"/>
                  <a:pt x="198" y="89"/>
                </a:cubicBezTo>
                <a:cubicBezTo>
                  <a:pt x="200" y="89"/>
                  <a:pt x="202" y="86"/>
                  <a:pt x="203" y="86"/>
                </a:cubicBezTo>
                <a:cubicBezTo>
                  <a:pt x="204" y="87"/>
                  <a:pt x="202" y="88"/>
                  <a:pt x="201" y="88"/>
                </a:cubicBezTo>
                <a:cubicBezTo>
                  <a:pt x="201" y="89"/>
                  <a:pt x="205" y="87"/>
                  <a:pt x="202" y="89"/>
                </a:cubicBezTo>
                <a:cubicBezTo>
                  <a:pt x="202" y="89"/>
                  <a:pt x="204" y="88"/>
                  <a:pt x="205" y="87"/>
                </a:cubicBezTo>
                <a:cubicBezTo>
                  <a:pt x="203" y="89"/>
                  <a:pt x="198" y="91"/>
                  <a:pt x="198" y="92"/>
                </a:cubicBezTo>
                <a:cubicBezTo>
                  <a:pt x="198" y="92"/>
                  <a:pt x="198" y="91"/>
                  <a:pt x="195" y="93"/>
                </a:cubicBezTo>
                <a:cubicBezTo>
                  <a:pt x="195" y="92"/>
                  <a:pt x="196" y="92"/>
                  <a:pt x="197" y="91"/>
                </a:cubicBezTo>
                <a:cubicBezTo>
                  <a:pt x="196" y="91"/>
                  <a:pt x="194" y="92"/>
                  <a:pt x="192" y="94"/>
                </a:cubicBezTo>
                <a:cubicBezTo>
                  <a:pt x="191" y="94"/>
                  <a:pt x="190" y="94"/>
                  <a:pt x="190" y="93"/>
                </a:cubicBezTo>
                <a:cubicBezTo>
                  <a:pt x="187" y="95"/>
                  <a:pt x="190" y="94"/>
                  <a:pt x="187" y="96"/>
                </a:cubicBezTo>
                <a:cubicBezTo>
                  <a:pt x="189" y="94"/>
                  <a:pt x="184" y="97"/>
                  <a:pt x="184" y="96"/>
                </a:cubicBezTo>
                <a:cubicBezTo>
                  <a:pt x="182" y="98"/>
                  <a:pt x="180" y="99"/>
                  <a:pt x="179" y="100"/>
                </a:cubicBezTo>
                <a:cubicBezTo>
                  <a:pt x="179" y="99"/>
                  <a:pt x="179" y="98"/>
                  <a:pt x="181" y="98"/>
                </a:cubicBezTo>
                <a:cubicBezTo>
                  <a:pt x="184" y="96"/>
                  <a:pt x="180" y="98"/>
                  <a:pt x="180" y="97"/>
                </a:cubicBezTo>
                <a:cubicBezTo>
                  <a:pt x="184" y="95"/>
                  <a:pt x="186" y="93"/>
                  <a:pt x="191" y="90"/>
                </a:cubicBezTo>
                <a:cubicBezTo>
                  <a:pt x="188" y="92"/>
                  <a:pt x="189" y="92"/>
                  <a:pt x="192" y="90"/>
                </a:cubicBezTo>
                <a:cubicBezTo>
                  <a:pt x="194" y="88"/>
                  <a:pt x="194" y="88"/>
                  <a:pt x="198" y="86"/>
                </a:cubicBezTo>
                <a:cubicBezTo>
                  <a:pt x="200" y="85"/>
                  <a:pt x="196" y="86"/>
                  <a:pt x="200" y="84"/>
                </a:cubicBezTo>
                <a:cubicBezTo>
                  <a:pt x="199" y="85"/>
                  <a:pt x="204" y="82"/>
                  <a:pt x="204" y="84"/>
                </a:cubicBezTo>
                <a:cubicBezTo>
                  <a:pt x="204" y="84"/>
                  <a:pt x="206" y="83"/>
                  <a:pt x="208" y="82"/>
                </a:cubicBezTo>
                <a:cubicBezTo>
                  <a:pt x="208" y="81"/>
                  <a:pt x="209" y="81"/>
                  <a:pt x="209" y="81"/>
                </a:cubicBezTo>
                <a:cubicBezTo>
                  <a:pt x="209" y="80"/>
                  <a:pt x="205" y="82"/>
                  <a:pt x="207" y="82"/>
                </a:cubicBezTo>
                <a:cubicBezTo>
                  <a:pt x="205" y="83"/>
                  <a:pt x="203" y="84"/>
                  <a:pt x="203" y="83"/>
                </a:cubicBezTo>
                <a:cubicBezTo>
                  <a:pt x="206" y="81"/>
                  <a:pt x="206" y="81"/>
                  <a:pt x="206" y="81"/>
                </a:cubicBezTo>
                <a:cubicBezTo>
                  <a:pt x="206" y="81"/>
                  <a:pt x="205" y="82"/>
                  <a:pt x="206" y="82"/>
                </a:cubicBezTo>
                <a:cubicBezTo>
                  <a:pt x="208" y="81"/>
                  <a:pt x="207" y="81"/>
                  <a:pt x="207" y="80"/>
                </a:cubicBezTo>
                <a:cubicBezTo>
                  <a:pt x="208" y="79"/>
                  <a:pt x="209" y="80"/>
                  <a:pt x="210" y="79"/>
                </a:cubicBezTo>
                <a:cubicBezTo>
                  <a:pt x="212" y="78"/>
                  <a:pt x="209" y="81"/>
                  <a:pt x="213" y="79"/>
                </a:cubicBezTo>
                <a:cubicBezTo>
                  <a:pt x="215" y="78"/>
                  <a:pt x="214" y="77"/>
                  <a:pt x="216" y="77"/>
                </a:cubicBezTo>
                <a:cubicBezTo>
                  <a:pt x="218" y="75"/>
                  <a:pt x="218" y="73"/>
                  <a:pt x="217" y="73"/>
                </a:cubicBezTo>
                <a:cubicBezTo>
                  <a:pt x="216" y="74"/>
                  <a:pt x="216" y="74"/>
                  <a:pt x="213" y="75"/>
                </a:cubicBezTo>
                <a:cubicBezTo>
                  <a:pt x="213" y="74"/>
                  <a:pt x="213" y="74"/>
                  <a:pt x="213" y="74"/>
                </a:cubicBezTo>
                <a:cubicBezTo>
                  <a:pt x="219" y="70"/>
                  <a:pt x="218" y="72"/>
                  <a:pt x="221" y="70"/>
                </a:cubicBezTo>
                <a:cubicBezTo>
                  <a:pt x="222" y="70"/>
                  <a:pt x="220" y="71"/>
                  <a:pt x="219" y="72"/>
                </a:cubicBezTo>
                <a:cubicBezTo>
                  <a:pt x="218" y="73"/>
                  <a:pt x="221" y="71"/>
                  <a:pt x="219" y="73"/>
                </a:cubicBezTo>
                <a:cubicBezTo>
                  <a:pt x="219" y="73"/>
                  <a:pt x="223" y="71"/>
                  <a:pt x="222" y="72"/>
                </a:cubicBezTo>
                <a:cubicBezTo>
                  <a:pt x="224" y="71"/>
                  <a:pt x="221" y="72"/>
                  <a:pt x="221" y="71"/>
                </a:cubicBezTo>
                <a:cubicBezTo>
                  <a:pt x="224" y="70"/>
                  <a:pt x="221" y="70"/>
                  <a:pt x="224" y="68"/>
                </a:cubicBezTo>
                <a:cubicBezTo>
                  <a:pt x="224" y="68"/>
                  <a:pt x="224" y="68"/>
                  <a:pt x="224" y="68"/>
                </a:cubicBezTo>
                <a:cubicBezTo>
                  <a:pt x="223" y="68"/>
                  <a:pt x="223" y="69"/>
                  <a:pt x="221" y="70"/>
                </a:cubicBezTo>
                <a:cubicBezTo>
                  <a:pt x="224" y="66"/>
                  <a:pt x="231" y="66"/>
                  <a:pt x="235" y="63"/>
                </a:cubicBezTo>
                <a:cubicBezTo>
                  <a:pt x="234" y="63"/>
                  <a:pt x="233" y="64"/>
                  <a:pt x="234" y="62"/>
                </a:cubicBezTo>
                <a:cubicBezTo>
                  <a:pt x="231" y="63"/>
                  <a:pt x="234" y="63"/>
                  <a:pt x="231" y="64"/>
                </a:cubicBezTo>
                <a:cubicBezTo>
                  <a:pt x="233" y="63"/>
                  <a:pt x="232" y="63"/>
                  <a:pt x="234" y="61"/>
                </a:cubicBezTo>
                <a:cubicBezTo>
                  <a:pt x="236" y="60"/>
                  <a:pt x="235" y="61"/>
                  <a:pt x="234" y="61"/>
                </a:cubicBezTo>
                <a:cubicBezTo>
                  <a:pt x="235" y="61"/>
                  <a:pt x="236" y="61"/>
                  <a:pt x="236" y="62"/>
                </a:cubicBezTo>
                <a:cubicBezTo>
                  <a:pt x="239" y="60"/>
                  <a:pt x="239" y="60"/>
                  <a:pt x="241" y="59"/>
                </a:cubicBezTo>
                <a:cubicBezTo>
                  <a:pt x="240" y="60"/>
                  <a:pt x="244" y="58"/>
                  <a:pt x="245" y="58"/>
                </a:cubicBezTo>
                <a:cubicBezTo>
                  <a:pt x="248" y="57"/>
                  <a:pt x="244" y="57"/>
                  <a:pt x="247" y="57"/>
                </a:cubicBezTo>
                <a:cubicBezTo>
                  <a:pt x="249" y="55"/>
                  <a:pt x="249" y="56"/>
                  <a:pt x="249" y="56"/>
                </a:cubicBezTo>
                <a:cubicBezTo>
                  <a:pt x="248" y="58"/>
                  <a:pt x="246" y="58"/>
                  <a:pt x="244" y="59"/>
                </a:cubicBezTo>
                <a:cubicBezTo>
                  <a:pt x="245" y="59"/>
                  <a:pt x="246" y="59"/>
                  <a:pt x="244" y="61"/>
                </a:cubicBezTo>
                <a:cubicBezTo>
                  <a:pt x="244" y="61"/>
                  <a:pt x="245" y="60"/>
                  <a:pt x="245" y="61"/>
                </a:cubicBezTo>
                <a:cubicBezTo>
                  <a:pt x="245" y="60"/>
                  <a:pt x="245" y="60"/>
                  <a:pt x="246" y="59"/>
                </a:cubicBezTo>
                <a:cubicBezTo>
                  <a:pt x="247" y="59"/>
                  <a:pt x="248" y="59"/>
                  <a:pt x="248" y="59"/>
                </a:cubicBezTo>
                <a:cubicBezTo>
                  <a:pt x="250" y="58"/>
                  <a:pt x="245" y="59"/>
                  <a:pt x="246" y="59"/>
                </a:cubicBezTo>
                <a:cubicBezTo>
                  <a:pt x="248" y="57"/>
                  <a:pt x="253" y="56"/>
                  <a:pt x="253" y="55"/>
                </a:cubicBezTo>
                <a:cubicBezTo>
                  <a:pt x="255" y="54"/>
                  <a:pt x="255" y="55"/>
                  <a:pt x="257" y="55"/>
                </a:cubicBezTo>
                <a:cubicBezTo>
                  <a:pt x="257" y="54"/>
                  <a:pt x="264" y="50"/>
                  <a:pt x="267" y="50"/>
                </a:cubicBezTo>
                <a:cubicBezTo>
                  <a:pt x="271" y="49"/>
                  <a:pt x="268" y="48"/>
                  <a:pt x="268" y="48"/>
                </a:cubicBezTo>
                <a:cubicBezTo>
                  <a:pt x="266" y="49"/>
                  <a:pt x="263" y="49"/>
                  <a:pt x="263" y="50"/>
                </a:cubicBezTo>
                <a:cubicBezTo>
                  <a:pt x="263" y="50"/>
                  <a:pt x="265" y="50"/>
                  <a:pt x="266" y="49"/>
                </a:cubicBezTo>
                <a:cubicBezTo>
                  <a:pt x="263" y="51"/>
                  <a:pt x="256" y="53"/>
                  <a:pt x="253" y="55"/>
                </a:cubicBezTo>
                <a:cubicBezTo>
                  <a:pt x="253" y="54"/>
                  <a:pt x="252" y="54"/>
                  <a:pt x="254" y="53"/>
                </a:cubicBezTo>
                <a:cubicBezTo>
                  <a:pt x="256" y="52"/>
                  <a:pt x="258" y="52"/>
                  <a:pt x="258" y="51"/>
                </a:cubicBezTo>
                <a:cubicBezTo>
                  <a:pt x="261" y="50"/>
                  <a:pt x="259" y="52"/>
                  <a:pt x="257" y="52"/>
                </a:cubicBezTo>
                <a:cubicBezTo>
                  <a:pt x="261" y="51"/>
                  <a:pt x="263" y="49"/>
                  <a:pt x="267" y="48"/>
                </a:cubicBezTo>
                <a:cubicBezTo>
                  <a:pt x="262" y="49"/>
                  <a:pt x="253" y="52"/>
                  <a:pt x="247" y="55"/>
                </a:cubicBezTo>
                <a:cubicBezTo>
                  <a:pt x="244" y="56"/>
                  <a:pt x="242" y="56"/>
                  <a:pt x="242" y="55"/>
                </a:cubicBezTo>
                <a:cubicBezTo>
                  <a:pt x="240" y="56"/>
                  <a:pt x="242" y="56"/>
                  <a:pt x="242" y="57"/>
                </a:cubicBezTo>
                <a:cubicBezTo>
                  <a:pt x="240" y="57"/>
                  <a:pt x="241" y="58"/>
                  <a:pt x="239" y="58"/>
                </a:cubicBezTo>
                <a:cubicBezTo>
                  <a:pt x="238" y="58"/>
                  <a:pt x="240" y="57"/>
                  <a:pt x="239" y="57"/>
                </a:cubicBezTo>
                <a:cubicBezTo>
                  <a:pt x="238" y="57"/>
                  <a:pt x="236" y="58"/>
                  <a:pt x="234" y="59"/>
                </a:cubicBezTo>
                <a:cubicBezTo>
                  <a:pt x="233" y="60"/>
                  <a:pt x="235" y="59"/>
                  <a:pt x="234" y="60"/>
                </a:cubicBezTo>
                <a:cubicBezTo>
                  <a:pt x="236" y="59"/>
                  <a:pt x="235" y="59"/>
                  <a:pt x="235" y="59"/>
                </a:cubicBezTo>
                <a:cubicBezTo>
                  <a:pt x="237" y="57"/>
                  <a:pt x="237" y="58"/>
                  <a:pt x="239" y="58"/>
                </a:cubicBezTo>
                <a:cubicBezTo>
                  <a:pt x="238" y="59"/>
                  <a:pt x="227" y="63"/>
                  <a:pt x="229" y="64"/>
                </a:cubicBezTo>
                <a:cubicBezTo>
                  <a:pt x="228" y="64"/>
                  <a:pt x="227" y="64"/>
                  <a:pt x="226" y="64"/>
                </a:cubicBezTo>
                <a:cubicBezTo>
                  <a:pt x="229" y="61"/>
                  <a:pt x="225" y="63"/>
                  <a:pt x="223" y="62"/>
                </a:cubicBezTo>
                <a:cubicBezTo>
                  <a:pt x="222" y="63"/>
                  <a:pt x="222" y="63"/>
                  <a:pt x="220" y="64"/>
                </a:cubicBezTo>
                <a:cubicBezTo>
                  <a:pt x="220" y="64"/>
                  <a:pt x="221" y="63"/>
                  <a:pt x="221" y="63"/>
                </a:cubicBezTo>
                <a:cubicBezTo>
                  <a:pt x="216" y="65"/>
                  <a:pt x="222" y="64"/>
                  <a:pt x="217" y="66"/>
                </a:cubicBezTo>
                <a:cubicBezTo>
                  <a:pt x="217" y="65"/>
                  <a:pt x="218" y="65"/>
                  <a:pt x="218" y="64"/>
                </a:cubicBezTo>
                <a:cubicBezTo>
                  <a:pt x="213" y="68"/>
                  <a:pt x="214" y="68"/>
                  <a:pt x="210" y="70"/>
                </a:cubicBezTo>
                <a:cubicBezTo>
                  <a:pt x="209" y="69"/>
                  <a:pt x="209" y="69"/>
                  <a:pt x="209" y="69"/>
                </a:cubicBezTo>
                <a:cubicBezTo>
                  <a:pt x="209" y="69"/>
                  <a:pt x="207" y="71"/>
                  <a:pt x="205" y="72"/>
                </a:cubicBezTo>
                <a:cubicBezTo>
                  <a:pt x="205" y="72"/>
                  <a:pt x="207" y="72"/>
                  <a:pt x="204" y="74"/>
                </a:cubicBezTo>
                <a:cubicBezTo>
                  <a:pt x="204" y="73"/>
                  <a:pt x="205" y="72"/>
                  <a:pt x="203" y="73"/>
                </a:cubicBezTo>
                <a:cubicBezTo>
                  <a:pt x="201" y="75"/>
                  <a:pt x="199" y="76"/>
                  <a:pt x="198" y="77"/>
                </a:cubicBezTo>
                <a:cubicBezTo>
                  <a:pt x="199" y="76"/>
                  <a:pt x="202" y="75"/>
                  <a:pt x="198" y="78"/>
                </a:cubicBezTo>
                <a:cubicBezTo>
                  <a:pt x="199" y="78"/>
                  <a:pt x="201" y="77"/>
                  <a:pt x="203" y="75"/>
                </a:cubicBezTo>
                <a:cubicBezTo>
                  <a:pt x="203" y="76"/>
                  <a:pt x="196" y="80"/>
                  <a:pt x="194" y="81"/>
                </a:cubicBezTo>
                <a:cubicBezTo>
                  <a:pt x="197" y="79"/>
                  <a:pt x="196" y="79"/>
                  <a:pt x="197" y="77"/>
                </a:cubicBezTo>
                <a:cubicBezTo>
                  <a:pt x="194" y="79"/>
                  <a:pt x="195" y="78"/>
                  <a:pt x="192" y="80"/>
                </a:cubicBezTo>
                <a:cubicBezTo>
                  <a:pt x="191" y="80"/>
                  <a:pt x="192" y="80"/>
                  <a:pt x="192" y="81"/>
                </a:cubicBezTo>
                <a:cubicBezTo>
                  <a:pt x="187" y="83"/>
                  <a:pt x="184" y="85"/>
                  <a:pt x="179" y="89"/>
                </a:cubicBezTo>
                <a:cubicBezTo>
                  <a:pt x="179" y="89"/>
                  <a:pt x="180" y="89"/>
                  <a:pt x="180" y="89"/>
                </a:cubicBezTo>
                <a:cubicBezTo>
                  <a:pt x="181" y="88"/>
                  <a:pt x="181" y="88"/>
                  <a:pt x="183" y="87"/>
                </a:cubicBezTo>
                <a:cubicBezTo>
                  <a:pt x="182" y="88"/>
                  <a:pt x="182" y="89"/>
                  <a:pt x="182" y="90"/>
                </a:cubicBezTo>
                <a:cubicBezTo>
                  <a:pt x="179" y="91"/>
                  <a:pt x="178" y="93"/>
                  <a:pt x="177" y="92"/>
                </a:cubicBezTo>
                <a:cubicBezTo>
                  <a:pt x="176" y="94"/>
                  <a:pt x="174" y="95"/>
                  <a:pt x="172" y="96"/>
                </a:cubicBezTo>
                <a:cubicBezTo>
                  <a:pt x="171" y="96"/>
                  <a:pt x="173" y="94"/>
                  <a:pt x="173" y="94"/>
                </a:cubicBezTo>
                <a:cubicBezTo>
                  <a:pt x="169" y="96"/>
                  <a:pt x="172" y="96"/>
                  <a:pt x="171" y="97"/>
                </a:cubicBezTo>
                <a:cubicBezTo>
                  <a:pt x="171" y="97"/>
                  <a:pt x="172" y="96"/>
                  <a:pt x="173" y="95"/>
                </a:cubicBezTo>
                <a:cubicBezTo>
                  <a:pt x="173" y="96"/>
                  <a:pt x="169" y="100"/>
                  <a:pt x="173" y="97"/>
                </a:cubicBezTo>
                <a:cubicBezTo>
                  <a:pt x="171" y="99"/>
                  <a:pt x="166" y="102"/>
                  <a:pt x="166" y="101"/>
                </a:cubicBezTo>
                <a:cubicBezTo>
                  <a:pt x="169" y="98"/>
                  <a:pt x="167" y="98"/>
                  <a:pt x="169" y="97"/>
                </a:cubicBezTo>
                <a:cubicBezTo>
                  <a:pt x="168" y="96"/>
                  <a:pt x="165" y="99"/>
                  <a:pt x="163" y="101"/>
                </a:cubicBezTo>
                <a:cubicBezTo>
                  <a:pt x="163" y="101"/>
                  <a:pt x="162" y="101"/>
                  <a:pt x="162" y="101"/>
                </a:cubicBezTo>
                <a:cubicBezTo>
                  <a:pt x="162" y="101"/>
                  <a:pt x="163" y="100"/>
                  <a:pt x="163" y="100"/>
                </a:cubicBezTo>
                <a:cubicBezTo>
                  <a:pt x="163" y="100"/>
                  <a:pt x="162" y="100"/>
                  <a:pt x="161" y="101"/>
                </a:cubicBezTo>
                <a:cubicBezTo>
                  <a:pt x="162" y="102"/>
                  <a:pt x="162" y="102"/>
                  <a:pt x="158" y="102"/>
                </a:cubicBezTo>
                <a:cubicBezTo>
                  <a:pt x="157" y="104"/>
                  <a:pt x="161" y="102"/>
                  <a:pt x="157" y="105"/>
                </a:cubicBezTo>
                <a:cubicBezTo>
                  <a:pt x="157" y="104"/>
                  <a:pt x="155" y="105"/>
                  <a:pt x="154" y="106"/>
                </a:cubicBezTo>
                <a:cubicBezTo>
                  <a:pt x="157" y="105"/>
                  <a:pt x="154" y="107"/>
                  <a:pt x="154" y="107"/>
                </a:cubicBezTo>
                <a:cubicBezTo>
                  <a:pt x="152" y="109"/>
                  <a:pt x="153" y="108"/>
                  <a:pt x="151" y="109"/>
                </a:cubicBezTo>
                <a:cubicBezTo>
                  <a:pt x="151" y="109"/>
                  <a:pt x="153" y="108"/>
                  <a:pt x="152" y="108"/>
                </a:cubicBezTo>
                <a:cubicBezTo>
                  <a:pt x="152" y="108"/>
                  <a:pt x="152" y="108"/>
                  <a:pt x="151" y="108"/>
                </a:cubicBezTo>
                <a:cubicBezTo>
                  <a:pt x="150" y="109"/>
                  <a:pt x="151" y="109"/>
                  <a:pt x="150" y="110"/>
                </a:cubicBezTo>
                <a:cubicBezTo>
                  <a:pt x="150" y="111"/>
                  <a:pt x="153" y="108"/>
                  <a:pt x="150" y="111"/>
                </a:cubicBezTo>
                <a:cubicBezTo>
                  <a:pt x="151" y="111"/>
                  <a:pt x="154" y="109"/>
                  <a:pt x="154" y="108"/>
                </a:cubicBezTo>
                <a:cubicBezTo>
                  <a:pt x="154" y="109"/>
                  <a:pt x="156" y="108"/>
                  <a:pt x="156" y="108"/>
                </a:cubicBezTo>
                <a:cubicBezTo>
                  <a:pt x="154" y="110"/>
                  <a:pt x="154" y="109"/>
                  <a:pt x="153" y="110"/>
                </a:cubicBezTo>
                <a:cubicBezTo>
                  <a:pt x="152" y="111"/>
                  <a:pt x="149" y="113"/>
                  <a:pt x="149" y="114"/>
                </a:cubicBezTo>
                <a:cubicBezTo>
                  <a:pt x="150" y="113"/>
                  <a:pt x="153" y="110"/>
                  <a:pt x="154" y="111"/>
                </a:cubicBezTo>
                <a:cubicBezTo>
                  <a:pt x="151" y="113"/>
                  <a:pt x="152" y="113"/>
                  <a:pt x="153" y="113"/>
                </a:cubicBezTo>
                <a:cubicBezTo>
                  <a:pt x="153" y="113"/>
                  <a:pt x="152" y="113"/>
                  <a:pt x="152" y="113"/>
                </a:cubicBezTo>
                <a:cubicBezTo>
                  <a:pt x="152" y="113"/>
                  <a:pt x="152" y="114"/>
                  <a:pt x="152" y="114"/>
                </a:cubicBezTo>
                <a:cubicBezTo>
                  <a:pt x="150" y="114"/>
                  <a:pt x="153" y="111"/>
                  <a:pt x="149" y="114"/>
                </a:cubicBezTo>
                <a:cubicBezTo>
                  <a:pt x="149" y="116"/>
                  <a:pt x="146" y="119"/>
                  <a:pt x="150" y="117"/>
                </a:cubicBezTo>
                <a:cubicBezTo>
                  <a:pt x="149" y="118"/>
                  <a:pt x="149" y="118"/>
                  <a:pt x="149" y="118"/>
                </a:cubicBezTo>
                <a:cubicBezTo>
                  <a:pt x="147" y="120"/>
                  <a:pt x="146" y="119"/>
                  <a:pt x="147" y="118"/>
                </a:cubicBezTo>
                <a:cubicBezTo>
                  <a:pt x="144" y="118"/>
                  <a:pt x="140" y="124"/>
                  <a:pt x="138" y="124"/>
                </a:cubicBezTo>
                <a:cubicBezTo>
                  <a:pt x="139" y="124"/>
                  <a:pt x="136" y="126"/>
                  <a:pt x="136" y="127"/>
                </a:cubicBezTo>
                <a:cubicBezTo>
                  <a:pt x="137" y="127"/>
                  <a:pt x="140" y="125"/>
                  <a:pt x="143" y="122"/>
                </a:cubicBezTo>
                <a:cubicBezTo>
                  <a:pt x="143" y="122"/>
                  <a:pt x="143" y="122"/>
                  <a:pt x="143" y="122"/>
                </a:cubicBezTo>
                <a:cubicBezTo>
                  <a:pt x="144" y="121"/>
                  <a:pt x="142" y="123"/>
                  <a:pt x="144" y="123"/>
                </a:cubicBezTo>
                <a:cubicBezTo>
                  <a:pt x="142" y="122"/>
                  <a:pt x="139" y="127"/>
                  <a:pt x="138" y="126"/>
                </a:cubicBezTo>
                <a:cubicBezTo>
                  <a:pt x="135" y="128"/>
                  <a:pt x="135" y="129"/>
                  <a:pt x="134" y="130"/>
                </a:cubicBezTo>
                <a:cubicBezTo>
                  <a:pt x="137" y="129"/>
                  <a:pt x="137" y="128"/>
                  <a:pt x="139" y="127"/>
                </a:cubicBezTo>
                <a:cubicBezTo>
                  <a:pt x="139" y="128"/>
                  <a:pt x="140" y="127"/>
                  <a:pt x="139" y="128"/>
                </a:cubicBezTo>
                <a:cubicBezTo>
                  <a:pt x="140" y="128"/>
                  <a:pt x="141" y="127"/>
                  <a:pt x="141" y="127"/>
                </a:cubicBezTo>
                <a:cubicBezTo>
                  <a:pt x="142" y="126"/>
                  <a:pt x="142" y="126"/>
                  <a:pt x="142" y="126"/>
                </a:cubicBezTo>
                <a:cubicBezTo>
                  <a:pt x="143" y="125"/>
                  <a:pt x="144" y="125"/>
                  <a:pt x="146" y="123"/>
                </a:cubicBezTo>
                <a:cubicBezTo>
                  <a:pt x="147" y="121"/>
                  <a:pt x="151" y="120"/>
                  <a:pt x="154" y="116"/>
                </a:cubicBezTo>
                <a:cubicBezTo>
                  <a:pt x="159" y="114"/>
                  <a:pt x="160" y="110"/>
                  <a:pt x="162" y="111"/>
                </a:cubicBezTo>
                <a:cubicBezTo>
                  <a:pt x="165" y="107"/>
                  <a:pt x="169" y="106"/>
                  <a:pt x="173" y="103"/>
                </a:cubicBezTo>
                <a:cubicBezTo>
                  <a:pt x="175" y="101"/>
                  <a:pt x="172" y="103"/>
                  <a:pt x="174" y="102"/>
                </a:cubicBezTo>
                <a:cubicBezTo>
                  <a:pt x="175" y="101"/>
                  <a:pt x="176" y="101"/>
                  <a:pt x="178" y="100"/>
                </a:cubicBezTo>
                <a:cubicBezTo>
                  <a:pt x="174" y="104"/>
                  <a:pt x="169" y="106"/>
                  <a:pt x="163" y="111"/>
                </a:cubicBezTo>
                <a:cubicBezTo>
                  <a:pt x="166" y="111"/>
                  <a:pt x="178" y="99"/>
                  <a:pt x="183" y="98"/>
                </a:cubicBezTo>
                <a:cubicBezTo>
                  <a:pt x="183" y="98"/>
                  <a:pt x="180" y="101"/>
                  <a:pt x="183" y="99"/>
                </a:cubicBezTo>
                <a:cubicBezTo>
                  <a:pt x="183" y="100"/>
                  <a:pt x="177" y="103"/>
                  <a:pt x="177" y="104"/>
                </a:cubicBezTo>
                <a:cubicBezTo>
                  <a:pt x="173" y="106"/>
                  <a:pt x="172" y="108"/>
                  <a:pt x="168" y="110"/>
                </a:cubicBezTo>
                <a:cubicBezTo>
                  <a:pt x="168" y="111"/>
                  <a:pt x="168" y="111"/>
                  <a:pt x="168" y="111"/>
                </a:cubicBezTo>
                <a:cubicBezTo>
                  <a:pt x="170" y="109"/>
                  <a:pt x="173" y="108"/>
                  <a:pt x="176" y="106"/>
                </a:cubicBezTo>
                <a:cubicBezTo>
                  <a:pt x="175" y="107"/>
                  <a:pt x="175" y="107"/>
                  <a:pt x="176" y="107"/>
                </a:cubicBezTo>
                <a:cubicBezTo>
                  <a:pt x="173" y="109"/>
                  <a:pt x="173" y="109"/>
                  <a:pt x="169" y="112"/>
                </a:cubicBezTo>
                <a:cubicBezTo>
                  <a:pt x="168" y="112"/>
                  <a:pt x="168" y="112"/>
                  <a:pt x="168" y="112"/>
                </a:cubicBezTo>
                <a:cubicBezTo>
                  <a:pt x="166" y="114"/>
                  <a:pt x="163" y="116"/>
                  <a:pt x="159" y="119"/>
                </a:cubicBezTo>
                <a:cubicBezTo>
                  <a:pt x="160" y="120"/>
                  <a:pt x="165" y="115"/>
                  <a:pt x="166" y="114"/>
                </a:cubicBezTo>
                <a:cubicBezTo>
                  <a:pt x="167" y="114"/>
                  <a:pt x="166" y="114"/>
                  <a:pt x="166" y="114"/>
                </a:cubicBezTo>
                <a:cubicBezTo>
                  <a:pt x="164" y="116"/>
                  <a:pt x="168" y="113"/>
                  <a:pt x="168" y="114"/>
                </a:cubicBezTo>
                <a:cubicBezTo>
                  <a:pt x="169" y="112"/>
                  <a:pt x="172" y="111"/>
                  <a:pt x="175" y="108"/>
                </a:cubicBezTo>
                <a:cubicBezTo>
                  <a:pt x="175" y="109"/>
                  <a:pt x="174" y="110"/>
                  <a:pt x="174" y="110"/>
                </a:cubicBezTo>
                <a:cubicBezTo>
                  <a:pt x="176" y="108"/>
                  <a:pt x="181" y="104"/>
                  <a:pt x="183" y="104"/>
                </a:cubicBezTo>
                <a:cubicBezTo>
                  <a:pt x="185" y="102"/>
                  <a:pt x="189" y="100"/>
                  <a:pt x="190" y="98"/>
                </a:cubicBezTo>
                <a:cubicBezTo>
                  <a:pt x="191" y="98"/>
                  <a:pt x="196" y="95"/>
                  <a:pt x="199" y="93"/>
                </a:cubicBezTo>
                <a:cubicBezTo>
                  <a:pt x="199" y="93"/>
                  <a:pt x="198" y="94"/>
                  <a:pt x="198" y="94"/>
                </a:cubicBezTo>
                <a:cubicBezTo>
                  <a:pt x="203" y="90"/>
                  <a:pt x="208" y="88"/>
                  <a:pt x="215" y="83"/>
                </a:cubicBezTo>
                <a:cubicBezTo>
                  <a:pt x="214" y="84"/>
                  <a:pt x="214" y="85"/>
                  <a:pt x="215" y="84"/>
                </a:cubicBezTo>
                <a:cubicBezTo>
                  <a:pt x="218" y="83"/>
                  <a:pt x="214" y="85"/>
                  <a:pt x="215" y="85"/>
                </a:cubicBezTo>
                <a:cubicBezTo>
                  <a:pt x="212" y="86"/>
                  <a:pt x="211" y="87"/>
                  <a:pt x="208" y="88"/>
                </a:cubicBezTo>
                <a:cubicBezTo>
                  <a:pt x="206" y="89"/>
                  <a:pt x="209" y="88"/>
                  <a:pt x="209" y="89"/>
                </a:cubicBezTo>
                <a:cubicBezTo>
                  <a:pt x="204" y="91"/>
                  <a:pt x="202" y="93"/>
                  <a:pt x="200" y="95"/>
                </a:cubicBezTo>
                <a:cubicBezTo>
                  <a:pt x="198" y="95"/>
                  <a:pt x="196" y="97"/>
                  <a:pt x="194" y="98"/>
                </a:cubicBezTo>
                <a:cubicBezTo>
                  <a:pt x="193" y="99"/>
                  <a:pt x="193" y="99"/>
                  <a:pt x="193" y="99"/>
                </a:cubicBezTo>
                <a:cubicBezTo>
                  <a:pt x="190" y="100"/>
                  <a:pt x="188" y="102"/>
                  <a:pt x="184" y="105"/>
                </a:cubicBezTo>
                <a:cubicBezTo>
                  <a:pt x="184" y="104"/>
                  <a:pt x="184" y="104"/>
                  <a:pt x="184" y="104"/>
                </a:cubicBezTo>
                <a:cubicBezTo>
                  <a:pt x="183" y="105"/>
                  <a:pt x="182" y="106"/>
                  <a:pt x="182" y="106"/>
                </a:cubicBezTo>
                <a:cubicBezTo>
                  <a:pt x="182" y="106"/>
                  <a:pt x="175" y="111"/>
                  <a:pt x="170" y="115"/>
                </a:cubicBezTo>
                <a:cubicBezTo>
                  <a:pt x="170" y="115"/>
                  <a:pt x="170" y="115"/>
                  <a:pt x="170" y="115"/>
                </a:cubicBezTo>
                <a:cubicBezTo>
                  <a:pt x="164" y="119"/>
                  <a:pt x="167" y="119"/>
                  <a:pt x="161" y="123"/>
                </a:cubicBezTo>
                <a:cubicBezTo>
                  <a:pt x="162" y="123"/>
                  <a:pt x="161" y="124"/>
                  <a:pt x="162" y="123"/>
                </a:cubicBezTo>
                <a:cubicBezTo>
                  <a:pt x="161" y="124"/>
                  <a:pt x="156" y="128"/>
                  <a:pt x="156" y="128"/>
                </a:cubicBezTo>
                <a:cubicBezTo>
                  <a:pt x="155" y="128"/>
                  <a:pt x="156" y="129"/>
                  <a:pt x="155" y="130"/>
                </a:cubicBezTo>
                <a:cubicBezTo>
                  <a:pt x="152" y="130"/>
                  <a:pt x="154" y="128"/>
                  <a:pt x="154" y="127"/>
                </a:cubicBezTo>
                <a:cubicBezTo>
                  <a:pt x="151" y="129"/>
                  <a:pt x="154" y="128"/>
                  <a:pt x="151" y="131"/>
                </a:cubicBezTo>
                <a:cubicBezTo>
                  <a:pt x="151" y="131"/>
                  <a:pt x="152" y="130"/>
                  <a:pt x="152" y="131"/>
                </a:cubicBezTo>
                <a:cubicBezTo>
                  <a:pt x="149" y="133"/>
                  <a:pt x="150" y="133"/>
                  <a:pt x="148" y="135"/>
                </a:cubicBezTo>
                <a:cubicBezTo>
                  <a:pt x="146" y="136"/>
                  <a:pt x="146" y="137"/>
                  <a:pt x="145" y="138"/>
                </a:cubicBezTo>
                <a:cubicBezTo>
                  <a:pt x="145" y="137"/>
                  <a:pt x="145" y="137"/>
                  <a:pt x="142" y="139"/>
                </a:cubicBezTo>
                <a:cubicBezTo>
                  <a:pt x="140" y="141"/>
                  <a:pt x="144" y="138"/>
                  <a:pt x="143" y="139"/>
                </a:cubicBezTo>
                <a:cubicBezTo>
                  <a:pt x="142" y="140"/>
                  <a:pt x="139" y="142"/>
                  <a:pt x="141" y="141"/>
                </a:cubicBezTo>
                <a:cubicBezTo>
                  <a:pt x="141" y="141"/>
                  <a:pt x="139" y="143"/>
                  <a:pt x="139" y="142"/>
                </a:cubicBezTo>
                <a:cubicBezTo>
                  <a:pt x="138" y="144"/>
                  <a:pt x="137" y="145"/>
                  <a:pt x="135" y="148"/>
                </a:cubicBezTo>
                <a:cubicBezTo>
                  <a:pt x="139" y="145"/>
                  <a:pt x="143" y="141"/>
                  <a:pt x="147" y="137"/>
                </a:cubicBezTo>
                <a:cubicBezTo>
                  <a:pt x="149" y="137"/>
                  <a:pt x="147" y="138"/>
                  <a:pt x="149" y="137"/>
                </a:cubicBezTo>
                <a:cubicBezTo>
                  <a:pt x="151" y="135"/>
                  <a:pt x="151" y="135"/>
                  <a:pt x="151" y="134"/>
                </a:cubicBezTo>
                <a:cubicBezTo>
                  <a:pt x="154" y="132"/>
                  <a:pt x="152" y="134"/>
                  <a:pt x="151" y="135"/>
                </a:cubicBezTo>
                <a:cubicBezTo>
                  <a:pt x="152" y="135"/>
                  <a:pt x="154" y="133"/>
                  <a:pt x="156" y="132"/>
                </a:cubicBezTo>
                <a:cubicBezTo>
                  <a:pt x="153" y="132"/>
                  <a:pt x="159" y="128"/>
                  <a:pt x="161" y="127"/>
                </a:cubicBezTo>
                <a:cubicBezTo>
                  <a:pt x="163" y="125"/>
                  <a:pt x="159" y="129"/>
                  <a:pt x="157" y="130"/>
                </a:cubicBezTo>
                <a:cubicBezTo>
                  <a:pt x="159" y="130"/>
                  <a:pt x="156" y="132"/>
                  <a:pt x="156" y="133"/>
                </a:cubicBezTo>
                <a:cubicBezTo>
                  <a:pt x="155" y="134"/>
                  <a:pt x="150" y="138"/>
                  <a:pt x="150" y="139"/>
                </a:cubicBezTo>
                <a:cubicBezTo>
                  <a:pt x="148" y="140"/>
                  <a:pt x="146" y="141"/>
                  <a:pt x="145" y="143"/>
                </a:cubicBezTo>
                <a:cubicBezTo>
                  <a:pt x="144" y="143"/>
                  <a:pt x="145" y="143"/>
                  <a:pt x="145" y="142"/>
                </a:cubicBezTo>
                <a:cubicBezTo>
                  <a:pt x="144" y="145"/>
                  <a:pt x="143" y="144"/>
                  <a:pt x="141" y="145"/>
                </a:cubicBezTo>
                <a:cubicBezTo>
                  <a:pt x="139" y="147"/>
                  <a:pt x="142" y="145"/>
                  <a:pt x="142" y="146"/>
                </a:cubicBezTo>
                <a:cubicBezTo>
                  <a:pt x="140" y="147"/>
                  <a:pt x="141" y="147"/>
                  <a:pt x="139" y="148"/>
                </a:cubicBezTo>
                <a:cubicBezTo>
                  <a:pt x="138" y="148"/>
                  <a:pt x="138" y="147"/>
                  <a:pt x="140" y="145"/>
                </a:cubicBezTo>
                <a:cubicBezTo>
                  <a:pt x="140" y="145"/>
                  <a:pt x="139" y="145"/>
                  <a:pt x="139" y="145"/>
                </a:cubicBezTo>
                <a:cubicBezTo>
                  <a:pt x="137" y="148"/>
                  <a:pt x="135" y="150"/>
                  <a:pt x="136" y="151"/>
                </a:cubicBezTo>
                <a:cubicBezTo>
                  <a:pt x="134" y="153"/>
                  <a:pt x="135" y="151"/>
                  <a:pt x="133" y="152"/>
                </a:cubicBezTo>
                <a:cubicBezTo>
                  <a:pt x="133" y="153"/>
                  <a:pt x="134" y="153"/>
                  <a:pt x="131" y="156"/>
                </a:cubicBezTo>
                <a:cubicBezTo>
                  <a:pt x="131" y="155"/>
                  <a:pt x="131" y="155"/>
                  <a:pt x="130" y="155"/>
                </a:cubicBezTo>
                <a:cubicBezTo>
                  <a:pt x="130" y="156"/>
                  <a:pt x="129" y="157"/>
                  <a:pt x="129" y="158"/>
                </a:cubicBezTo>
                <a:cubicBezTo>
                  <a:pt x="125" y="161"/>
                  <a:pt x="122" y="164"/>
                  <a:pt x="119" y="167"/>
                </a:cubicBezTo>
                <a:cubicBezTo>
                  <a:pt x="118" y="168"/>
                  <a:pt x="118" y="168"/>
                  <a:pt x="118" y="168"/>
                </a:cubicBezTo>
                <a:cubicBezTo>
                  <a:pt x="116" y="169"/>
                  <a:pt x="117" y="169"/>
                  <a:pt x="115" y="171"/>
                </a:cubicBezTo>
                <a:cubicBezTo>
                  <a:pt x="113" y="171"/>
                  <a:pt x="111" y="174"/>
                  <a:pt x="109" y="175"/>
                </a:cubicBezTo>
                <a:cubicBezTo>
                  <a:pt x="110" y="174"/>
                  <a:pt x="110" y="174"/>
                  <a:pt x="110" y="173"/>
                </a:cubicBezTo>
                <a:cubicBezTo>
                  <a:pt x="114" y="170"/>
                  <a:pt x="118" y="163"/>
                  <a:pt x="121" y="162"/>
                </a:cubicBezTo>
                <a:cubicBezTo>
                  <a:pt x="125" y="157"/>
                  <a:pt x="129" y="153"/>
                  <a:pt x="133" y="151"/>
                </a:cubicBezTo>
                <a:cubicBezTo>
                  <a:pt x="134" y="150"/>
                  <a:pt x="134" y="149"/>
                  <a:pt x="134" y="149"/>
                </a:cubicBezTo>
                <a:cubicBezTo>
                  <a:pt x="134" y="148"/>
                  <a:pt x="130" y="152"/>
                  <a:pt x="130" y="150"/>
                </a:cubicBezTo>
                <a:cubicBezTo>
                  <a:pt x="131" y="150"/>
                  <a:pt x="131" y="150"/>
                  <a:pt x="131" y="150"/>
                </a:cubicBezTo>
                <a:cubicBezTo>
                  <a:pt x="133" y="149"/>
                  <a:pt x="133" y="148"/>
                  <a:pt x="135" y="147"/>
                </a:cubicBezTo>
                <a:cubicBezTo>
                  <a:pt x="126" y="153"/>
                  <a:pt x="125" y="155"/>
                  <a:pt x="119" y="161"/>
                </a:cubicBezTo>
                <a:cubicBezTo>
                  <a:pt x="118" y="160"/>
                  <a:pt x="122" y="157"/>
                  <a:pt x="123" y="155"/>
                </a:cubicBezTo>
                <a:cubicBezTo>
                  <a:pt x="121" y="157"/>
                  <a:pt x="123" y="155"/>
                  <a:pt x="121" y="156"/>
                </a:cubicBezTo>
                <a:cubicBezTo>
                  <a:pt x="121" y="155"/>
                  <a:pt x="123" y="153"/>
                  <a:pt x="123" y="153"/>
                </a:cubicBezTo>
                <a:cubicBezTo>
                  <a:pt x="125" y="151"/>
                  <a:pt x="125" y="153"/>
                  <a:pt x="123" y="155"/>
                </a:cubicBezTo>
                <a:cubicBezTo>
                  <a:pt x="123" y="155"/>
                  <a:pt x="127" y="151"/>
                  <a:pt x="125" y="153"/>
                </a:cubicBezTo>
                <a:cubicBezTo>
                  <a:pt x="128" y="151"/>
                  <a:pt x="128" y="151"/>
                  <a:pt x="131" y="148"/>
                </a:cubicBezTo>
                <a:cubicBezTo>
                  <a:pt x="132" y="145"/>
                  <a:pt x="130" y="145"/>
                  <a:pt x="125" y="149"/>
                </a:cubicBezTo>
                <a:cubicBezTo>
                  <a:pt x="120" y="156"/>
                  <a:pt x="111" y="162"/>
                  <a:pt x="106" y="170"/>
                </a:cubicBezTo>
                <a:cubicBezTo>
                  <a:pt x="104" y="170"/>
                  <a:pt x="103" y="171"/>
                  <a:pt x="102" y="172"/>
                </a:cubicBezTo>
                <a:cubicBezTo>
                  <a:pt x="101" y="173"/>
                  <a:pt x="100" y="174"/>
                  <a:pt x="100" y="174"/>
                </a:cubicBezTo>
                <a:cubicBezTo>
                  <a:pt x="100" y="175"/>
                  <a:pt x="100" y="175"/>
                  <a:pt x="99" y="176"/>
                </a:cubicBezTo>
                <a:cubicBezTo>
                  <a:pt x="100" y="176"/>
                  <a:pt x="100" y="176"/>
                  <a:pt x="100" y="175"/>
                </a:cubicBezTo>
                <a:cubicBezTo>
                  <a:pt x="101" y="176"/>
                  <a:pt x="99" y="176"/>
                  <a:pt x="100" y="177"/>
                </a:cubicBezTo>
                <a:cubicBezTo>
                  <a:pt x="99" y="176"/>
                  <a:pt x="98" y="175"/>
                  <a:pt x="97" y="175"/>
                </a:cubicBezTo>
                <a:cubicBezTo>
                  <a:pt x="97" y="175"/>
                  <a:pt x="97" y="176"/>
                  <a:pt x="97" y="176"/>
                </a:cubicBezTo>
                <a:cubicBezTo>
                  <a:pt x="97" y="175"/>
                  <a:pt x="96" y="177"/>
                  <a:pt x="96" y="176"/>
                </a:cubicBezTo>
                <a:cubicBezTo>
                  <a:pt x="97" y="175"/>
                  <a:pt x="97" y="174"/>
                  <a:pt x="98" y="175"/>
                </a:cubicBezTo>
                <a:cubicBezTo>
                  <a:pt x="98" y="174"/>
                  <a:pt x="97" y="174"/>
                  <a:pt x="98" y="174"/>
                </a:cubicBezTo>
                <a:cubicBezTo>
                  <a:pt x="97" y="173"/>
                  <a:pt x="96" y="175"/>
                  <a:pt x="95" y="176"/>
                </a:cubicBezTo>
                <a:cubicBezTo>
                  <a:pt x="95" y="176"/>
                  <a:pt x="95" y="177"/>
                  <a:pt x="94" y="177"/>
                </a:cubicBezTo>
                <a:cubicBezTo>
                  <a:pt x="95" y="178"/>
                  <a:pt x="95" y="177"/>
                  <a:pt x="96" y="177"/>
                </a:cubicBezTo>
                <a:cubicBezTo>
                  <a:pt x="95" y="178"/>
                  <a:pt x="95" y="178"/>
                  <a:pt x="94" y="178"/>
                </a:cubicBezTo>
                <a:cubicBezTo>
                  <a:pt x="94" y="179"/>
                  <a:pt x="95" y="179"/>
                  <a:pt x="95" y="179"/>
                </a:cubicBezTo>
                <a:cubicBezTo>
                  <a:pt x="94" y="179"/>
                  <a:pt x="92" y="179"/>
                  <a:pt x="92" y="180"/>
                </a:cubicBezTo>
                <a:cubicBezTo>
                  <a:pt x="92" y="180"/>
                  <a:pt x="92" y="180"/>
                  <a:pt x="93" y="180"/>
                </a:cubicBezTo>
                <a:cubicBezTo>
                  <a:pt x="93" y="180"/>
                  <a:pt x="93" y="181"/>
                  <a:pt x="93" y="181"/>
                </a:cubicBezTo>
                <a:cubicBezTo>
                  <a:pt x="92" y="181"/>
                  <a:pt x="92" y="180"/>
                  <a:pt x="92" y="181"/>
                </a:cubicBezTo>
                <a:cubicBezTo>
                  <a:pt x="91" y="181"/>
                  <a:pt x="92" y="181"/>
                  <a:pt x="92" y="181"/>
                </a:cubicBezTo>
                <a:cubicBezTo>
                  <a:pt x="92" y="182"/>
                  <a:pt x="91" y="181"/>
                  <a:pt x="91" y="182"/>
                </a:cubicBezTo>
                <a:cubicBezTo>
                  <a:pt x="90" y="182"/>
                  <a:pt x="90" y="183"/>
                  <a:pt x="89" y="183"/>
                </a:cubicBezTo>
                <a:cubicBezTo>
                  <a:pt x="89" y="183"/>
                  <a:pt x="90" y="182"/>
                  <a:pt x="90" y="183"/>
                </a:cubicBezTo>
                <a:cubicBezTo>
                  <a:pt x="89" y="183"/>
                  <a:pt x="89" y="183"/>
                  <a:pt x="88" y="183"/>
                </a:cubicBezTo>
                <a:cubicBezTo>
                  <a:pt x="87" y="184"/>
                  <a:pt x="88" y="184"/>
                  <a:pt x="88" y="184"/>
                </a:cubicBezTo>
                <a:cubicBezTo>
                  <a:pt x="87" y="184"/>
                  <a:pt x="87" y="186"/>
                  <a:pt x="86" y="186"/>
                </a:cubicBezTo>
                <a:cubicBezTo>
                  <a:pt x="86" y="186"/>
                  <a:pt x="86" y="186"/>
                  <a:pt x="86" y="186"/>
                </a:cubicBezTo>
                <a:cubicBezTo>
                  <a:pt x="86" y="186"/>
                  <a:pt x="86" y="186"/>
                  <a:pt x="85" y="186"/>
                </a:cubicBezTo>
                <a:cubicBezTo>
                  <a:pt x="85" y="186"/>
                  <a:pt x="86" y="186"/>
                  <a:pt x="86" y="186"/>
                </a:cubicBezTo>
                <a:cubicBezTo>
                  <a:pt x="84" y="188"/>
                  <a:pt x="83" y="190"/>
                  <a:pt x="81" y="192"/>
                </a:cubicBezTo>
                <a:cubicBezTo>
                  <a:pt x="81" y="192"/>
                  <a:pt x="81" y="192"/>
                  <a:pt x="81" y="192"/>
                </a:cubicBezTo>
                <a:cubicBezTo>
                  <a:pt x="81" y="193"/>
                  <a:pt x="82" y="192"/>
                  <a:pt x="81" y="193"/>
                </a:cubicBezTo>
                <a:cubicBezTo>
                  <a:pt x="81" y="193"/>
                  <a:pt x="81" y="193"/>
                  <a:pt x="81" y="193"/>
                </a:cubicBezTo>
                <a:cubicBezTo>
                  <a:pt x="80" y="193"/>
                  <a:pt x="80" y="194"/>
                  <a:pt x="80" y="193"/>
                </a:cubicBezTo>
                <a:cubicBezTo>
                  <a:pt x="79" y="193"/>
                  <a:pt x="81" y="192"/>
                  <a:pt x="80" y="192"/>
                </a:cubicBezTo>
                <a:cubicBezTo>
                  <a:pt x="80" y="191"/>
                  <a:pt x="80" y="192"/>
                  <a:pt x="80" y="192"/>
                </a:cubicBezTo>
                <a:cubicBezTo>
                  <a:pt x="79" y="191"/>
                  <a:pt x="80" y="191"/>
                  <a:pt x="81" y="190"/>
                </a:cubicBezTo>
                <a:cubicBezTo>
                  <a:pt x="81" y="191"/>
                  <a:pt x="80" y="191"/>
                  <a:pt x="81" y="191"/>
                </a:cubicBezTo>
                <a:cubicBezTo>
                  <a:pt x="81" y="191"/>
                  <a:pt x="82" y="191"/>
                  <a:pt x="82" y="190"/>
                </a:cubicBezTo>
                <a:cubicBezTo>
                  <a:pt x="82" y="190"/>
                  <a:pt x="81" y="191"/>
                  <a:pt x="81" y="190"/>
                </a:cubicBezTo>
                <a:cubicBezTo>
                  <a:pt x="81" y="189"/>
                  <a:pt x="82" y="190"/>
                  <a:pt x="82" y="190"/>
                </a:cubicBezTo>
                <a:cubicBezTo>
                  <a:pt x="83" y="189"/>
                  <a:pt x="82" y="189"/>
                  <a:pt x="81" y="189"/>
                </a:cubicBezTo>
                <a:cubicBezTo>
                  <a:pt x="81" y="189"/>
                  <a:pt x="81" y="190"/>
                  <a:pt x="81" y="190"/>
                </a:cubicBezTo>
                <a:cubicBezTo>
                  <a:pt x="80" y="190"/>
                  <a:pt x="82" y="188"/>
                  <a:pt x="82" y="188"/>
                </a:cubicBezTo>
                <a:cubicBezTo>
                  <a:pt x="83" y="188"/>
                  <a:pt x="82" y="189"/>
                  <a:pt x="82" y="189"/>
                </a:cubicBezTo>
                <a:cubicBezTo>
                  <a:pt x="83" y="189"/>
                  <a:pt x="83" y="188"/>
                  <a:pt x="83" y="189"/>
                </a:cubicBezTo>
                <a:cubicBezTo>
                  <a:pt x="83" y="188"/>
                  <a:pt x="83" y="188"/>
                  <a:pt x="83" y="187"/>
                </a:cubicBezTo>
                <a:cubicBezTo>
                  <a:pt x="86" y="183"/>
                  <a:pt x="86" y="183"/>
                  <a:pt x="86" y="183"/>
                </a:cubicBezTo>
                <a:cubicBezTo>
                  <a:pt x="86" y="184"/>
                  <a:pt x="86" y="183"/>
                  <a:pt x="87" y="184"/>
                </a:cubicBezTo>
                <a:cubicBezTo>
                  <a:pt x="87" y="183"/>
                  <a:pt x="87" y="183"/>
                  <a:pt x="86" y="183"/>
                </a:cubicBezTo>
                <a:cubicBezTo>
                  <a:pt x="87" y="183"/>
                  <a:pt x="86" y="182"/>
                  <a:pt x="87" y="182"/>
                </a:cubicBezTo>
                <a:cubicBezTo>
                  <a:pt x="87" y="182"/>
                  <a:pt x="87" y="182"/>
                  <a:pt x="87" y="183"/>
                </a:cubicBezTo>
                <a:cubicBezTo>
                  <a:pt x="88" y="182"/>
                  <a:pt x="87" y="182"/>
                  <a:pt x="87" y="182"/>
                </a:cubicBezTo>
                <a:cubicBezTo>
                  <a:pt x="89" y="179"/>
                  <a:pt x="92" y="175"/>
                  <a:pt x="95" y="172"/>
                </a:cubicBezTo>
                <a:cubicBezTo>
                  <a:pt x="95" y="172"/>
                  <a:pt x="95" y="172"/>
                  <a:pt x="95" y="172"/>
                </a:cubicBezTo>
                <a:cubicBezTo>
                  <a:pt x="95" y="172"/>
                  <a:pt x="95" y="171"/>
                  <a:pt x="95" y="171"/>
                </a:cubicBezTo>
                <a:cubicBezTo>
                  <a:pt x="95" y="170"/>
                  <a:pt x="95" y="171"/>
                  <a:pt x="95" y="171"/>
                </a:cubicBezTo>
                <a:cubicBezTo>
                  <a:pt x="95" y="171"/>
                  <a:pt x="95" y="171"/>
                  <a:pt x="95" y="170"/>
                </a:cubicBezTo>
                <a:cubicBezTo>
                  <a:pt x="94" y="170"/>
                  <a:pt x="94" y="170"/>
                  <a:pt x="94" y="171"/>
                </a:cubicBezTo>
                <a:cubicBezTo>
                  <a:pt x="93" y="170"/>
                  <a:pt x="94" y="169"/>
                  <a:pt x="95" y="169"/>
                </a:cubicBezTo>
                <a:cubicBezTo>
                  <a:pt x="95" y="169"/>
                  <a:pt x="94" y="169"/>
                  <a:pt x="95" y="170"/>
                </a:cubicBezTo>
                <a:cubicBezTo>
                  <a:pt x="95" y="170"/>
                  <a:pt x="95" y="169"/>
                  <a:pt x="95" y="169"/>
                </a:cubicBezTo>
                <a:cubicBezTo>
                  <a:pt x="96" y="170"/>
                  <a:pt x="95" y="170"/>
                  <a:pt x="95" y="170"/>
                </a:cubicBezTo>
                <a:cubicBezTo>
                  <a:pt x="96" y="170"/>
                  <a:pt x="96" y="170"/>
                  <a:pt x="96" y="170"/>
                </a:cubicBezTo>
                <a:cubicBezTo>
                  <a:pt x="96" y="168"/>
                  <a:pt x="103" y="164"/>
                  <a:pt x="102" y="163"/>
                </a:cubicBezTo>
                <a:cubicBezTo>
                  <a:pt x="105" y="161"/>
                  <a:pt x="102" y="163"/>
                  <a:pt x="105" y="161"/>
                </a:cubicBezTo>
                <a:cubicBezTo>
                  <a:pt x="107" y="157"/>
                  <a:pt x="113" y="152"/>
                  <a:pt x="118" y="147"/>
                </a:cubicBezTo>
                <a:cubicBezTo>
                  <a:pt x="116" y="151"/>
                  <a:pt x="121" y="145"/>
                  <a:pt x="123" y="143"/>
                </a:cubicBezTo>
                <a:cubicBezTo>
                  <a:pt x="123" y="143"/>
                  <a:pt x="123" y="143"/>
                  <a:pt x="123" y="143"/>
                </a:cubicBezTo>
                <a:cubicBezTo>
                  <a:pt x="124" y="142"/>
                  <a:pt x="124" y="143"/>
                  <a:pt x="126" y="141"/>
                </a:cubicBezTo>
                <a:cubicBezTo>
                  <a:pt x="124" y="141"/>
                  <a:pt x="130" y="137"/>
                  <a:pt x="128" y="138"/>
                </a:cubicBezTo>
                <a:cubicBezTo>
                  <a:pt x="129" y="136"/>
                  <a:pt x="131" y="136"/>
                  <a:pt x="131" y="136"/>
                </a:cubicBezTo>
                <a:cubicBezTo>
                  <a:pt x="132" y="135"/>
                  <a:pt x="131" y="135"/>
                  <a:pt x="131" y="135"/>
                </a:cubicBezTo>
                <a:cubicBezTo>
                  <a:pt x="133" y="134"/>
                  <a:pt x="133" y="133"/>
                  <a:pt x="136" y="131"/>
                </a:cubicBezTo>
                <a:cubicBezTo>
                  <a:pt x="135" y="132"/>
                  <a:pt x="136" y="132"/>
                  <a:pt x="137" y="131"/>
                </a:cubicBezTo>
                <a:cubicBezTo>
                  <a:pt x="141" y="128"/>
                  <a:pt x="136" y="130"/>
                  <a:pt x="139" y="128"/>
                </a:cubicBezTo>
                <a:cubicBezTo>
                  <a:pt x="138" y="128"/>
                  <a:pt x="136" y="130"/>
                  <a:pt x="135" y="130"/>
                </a:cubicBezTo>
                <a:cubicBezTo>
                  <a:pt x="134" y="131"/>
                  <a:pt x="134" y="132"/>
                  <a:pt x="134" y="132"/>
                </a:cubicBezTo>
                <a:cubicBezTo>
                  <a:pt x="130" y="134"/>
                  <a:pt x="128" y="137"/>
                  <a:pt x="123" y="141"/>
                </a:cubicBezTo>
                <a:cubicBezTo>
                  <a:pt x="122" y="141"/>
                  <a:pt x="121" y="143"/>
                  <a:pt x="122" y="141"/>
                </a:cubicBezTo>
                <a:cubicBezTo>
                  <a:pt x="121" y="142"/>
                  <a:pt x="120" y="143"/>
                  <a:pt x="117" y="145"/>
                </a:cubicBezTo>
                <a:cubicBezTo>
                  <a:pt x="121" y="141"/>
                  <a:pt x="127" y="135"/>
                  <a:pt x="130" y="134"/>
                </a:cubicBezTo>
                <a:cubicBezTo>
                  <a:pt x="131" y="133"/>
                  <a:pt x="130" y="132"/>
                  <a:pt x="131" y="132"/>
                </a:cubicBezTo>
                <a:cubicBezTo>
                  <a:pt x="129" y="133"/>
                  <a:pt x="130" y="133"/>
                  <a:pt x="128" y="135"/>
                </a:cubicBezTo>
                <a:cubicBezTo>
                  <a:pt x="131" y="131"/>
                  <a:pt x="126" y="134"/>
                  <a:pt x="127" y="132"/>
                </a:cubicBezTo>
                <a:cubicBezTo>
                  <a:pt x="125" y="133"/>
                  <a:pt x="125" y="133"/>
                  <a:pt x="125" y="133"/>
                </a:cubicBezTo>
                <a:cubicBezTo>
                  <a:pt x="124" y="134"/>
                  <a:pt x="127" y="133"/>
                  <a:pt x="125" y="135"/>
                </a:cubicBezTo>
                <a:cubicBezTo>
                  <a:pt x="126" y="134"/>
                  <a:pt x="126" y="134"/>
                  <a:pt x="126" y="134"/>
                </a:cubicBezTo>
                <a:cubicBezTo>
                  <a:pt x="113" y="146"/>
                  <a:pt x="113" y="146"/>
                  <a:pt x="113" y="146"/>
                </a:cubicBezTo>
                <a:cubicBezTo>
                  <a:pt x="112" y="146"/>
                  <a:pt x="112" y="146"/>
                  <a:pt x="113" y="145"/>
                </a:cubicBezTo>
                <a:cubicBezTo>
                  <a:pt x="111" y="147"/>
                  <a:pt x="111" y="147"/>
                  <a:pt x="111" y="147"/>
                </a:cubicBezTo>
                <a:cubicBezTo>
                  <a:pt x="111" y="148"/>
                  <a:pt x="112" y="146"/>
                  <a:pt x="113" y="146"/>
                </a:cubicBezTo>
                <a:cubicBezTo>
                  <a:pt x="113" y="147"/>
                  <a:pt x="111" y="147"/>
                  <a:pt x="110" y="148"/>
                </a:cubicBezTo>
                <a:cubicBezTo>
                  <a:pt x="106" y="153"/>
                  <a:pt x="106" y="153"/>
                  <a:pt x="106" y="153"/>
                </a:cubicBezTo>
                <a:cubicBezTo>
                  <a:pt x="106" y="150"/>
                  <a:pt x="103" y="155"/>
                  <a:pt x="100" y="157"/>
                </a:cubicBezTo>
                <a:cubicBezTo>
                  <a:pt x="101" y="156"/>
                  <a:pt x="104" y="154"/>
                  <a:pt x="104" y="152"/>
                </a:cubicBezTo>
                <a:cubicBezTo>
                  <a:pt x="108" y="149"/>
                  <a:pt x="109" y="148"/>
                  <a:pt x="111" y="145"/>
                </a:cubicBezTo>
                <a:cubicBezTo>
                  <a:pt x="110" y="145"/>
                  <a:pt x="109" y="147"/>
                  <a:pt x="108" y="148"/>
                </a:cubicBezTo>
                <a:cubicBezTo>
                  <a:pt x="108" y="145"/>
                  <a:pt x="106" y="148"/>
                  <a:pt x="103" y="152"/>
                </a:cubicBezTo>
                <a:cubicBezTo>
                  <a:pt x="105" y="150"/>
                  <a:pt x="103" y="150"/>
                  <a:pt x="101" y="151"/>
                </a:cubicBezTo>
                <a:cubicBezTo>
                  <a:pt x="103" y="149"/>
                  <a:pt x="103" y="149"/>
                  <a:pt x="104" y="149"/>
                </a:cubicBezTo>
                <a:cubicBezTo>
                  <a:pt x="105" y="148"/>
                  <a:pt x="105" y="147"/>
                  <a:pt x="107" y="145"/>
                </a:cubicBezTo>
                <a:cubicBezTo>
                  <a:pt x="108" y="144"/>
                  <a:pt x="108" y="146"/>
                  <a:pt x="109" y="144"/>
                </a:cubicBezTo>
                <a:cubicBezTo>
                  <a:pt x="111" y="142"/>
                  <a:pt x="109" y="141"/>
                  <a:pt x="113" y="139"/>
                </a:cubicBezTo>
                <a:cubicBezTo>
                  <a:pt x="113" y="139"/>
                  <a:pt x="111" y="141"/>
                  <a:pt x="111" y="141"/>
                </a:cubicBezTo>
                <a:cubicBezTo>
                  <a:pt x="114" y="139"/>
                  <a:pt x="114" y="138"/>
                  <a:pt x="113" y="138"/>
                </a:cubicBezTo>
                <a:cubicBezTo>
                  <a:pt x="115" y="136"/>
                  <a:pt x="115" y="137"/>
                  <a:pt x="115" y="137"/>
                </a:cubicBezTo>
                <a:cubicBezTo>
                  <a:pt x="115" y="136"/>
                  <a:pt x="118" y="134"/>
                  <a:pt x="118" y="133"/>
                </a:cubicBezTo>
                <a:cubicBezTo>
                  <a:pt x="118" y="133"/>
                  <a:pt x="116" y="134"/>
                  <a:pt x="115" y="135"/>
                </a:cubicBezTo>
                <a:cubicBezTo>
                  <a:pt x="116" y="134"/>
                  <a:pt x="116" y="134"/>
                  <a:pt x="117" y="132"/>
                </a:cubicBezTo>
                <a:cubicBezTo>
                  <a:pt x="115" y="134"/>
                  <a:pt x="115" y="134"/>
                  <a:pt x="116" y="132"/>
                </a:cubicBezTo>
                <a:cubicBezTo>
                  <a:pt x="115" y="132"/>
                  <a:pt x="115" y="132"/>
                  <a:pt x="115" y="132"/>
                </a:cubicBezTo>
                <a:cubicBezTo>
                  <a:pt x="114" y="133"/>
                  <a:pt x="113" y="134"/>
                  <a:pt x="112" y="135"/>
                </a:cubicBezTo>
                <a:cubicBezTo>
                  <a:pt x="111" y="136"/>
                  <a:pt x="112" y="134"/>
                  <a:pt x="109" y="137"/>
                </a:cubicBezTo>
                <a:cubicBezTo>
                  <a:pt x="111" y="135"/>
                  <a:pt x="109" y="136"/>
                  <a:pt x="110" y="134"/>
                </a:cubicBezTo>
                <a:cubicBezTo>
                  <a:pt x="112" y="133"/>
                  <a:pt x="110" y="133"/>
                  <a:pt x="111" y="133"/>
                </a:cubicBezTo>
                <a:cubicBezTo>
                  <a:pt x="112" y="131"/>
                  <a:pt x="115" y="128"/>
                  <a:pt x="116" y="127"/>
                </a:cubicBezTo>
                <a:cubicBezTo>
                  <a:pt x="118" y="126"/>
                  <a:pt x="119" y="125"/>
                  <a:pt x="120" y="126"/>
                </a:cubicBezTo>
                <a:cubicBezTo>
                  <a:pt x="121" y="125"/>
                  <a:pt x="121" y="124"/>
                  <a:pt x="121" y="124"/>
                </a:cubicBezTo>
                <a:cubicBezTo>
                  <a:pt x="121" y="124"/>
                  <a:pt x="119" y="125"/>
                  <a:pt x="119" y="124"/>
                </a:cubicBezTo>
                <a:cubicBezTo>
                  <a:pt x="122" y="121"/>
                  <a:pt x="125" y="119"/>
                  <a:pt x="126" y="117"/>
                </a:cubicBezTo>
                <a:cubicBezTo>
                  <a:pt x="127" y="116"/>
                  <a:pt x="127" y="116"/>
                  <a:pt x="128" y="116"/>
                </a:cubicBezTo>
                <a:cubicBezTo>
                  <a:pt x="142" y="104"/>
                  <a:pt x="148" y="99"/>
                  <a:pt x="162" y="88"/>
                </a:cubicBezTo>
                <a:cubicBezTo>
                  <a:pt x="163" y="89"/>
                  <a:pt x="163" y="89"/>
                  <a:pt x="164" y="88"/>
                </a:cubicBezTo>
                <a:cubicBezTo>
                  <a:pt x="166" y="86"/>
                  <a:pt x="163" y="88"/>
                  <a:pt x="163" y="88"/>
                </a:cubicBezTo>
                <a:cubicBezTo>
                  <a:pt x="175" y="79"/>
                  <a:pt x="184" y="73"/>
                  <a:pt x="197" y="65"/>
                </a:cubicBezTo>
                <a:cubicBezTo>
                  <a:pt x="197" y="65"/>
                  <a:pt x="196" y="65"/>
                  <a:pt x="195" y="66"/>
                </a:cubicBezTo>
                <a:cubicBezTo>
                  <a:pt x="196" y="65"/>
                  <a:pt x="197" y="65"/>
                  <a:pt x="199" y="63"/>
                </a:cubicBezTo>
                <a:cubicBezTo>
                  <a:pt x="199" y="64"/>
                  <a:pt x="199" y="64"/>
                  <a:pt x="201" y="63"/>
                </a:cubicBezTo>
                <a:cubicBezTo>
                  <a:pt x="202" y="63"/>
                  <a:pt x="201" y="62"/>
                  <a:pt x="201" y="62"/>
                </a:cubicBezTo>
                <a:cubicBezTo>
                  <a:pt x="203" y="61"/>
                  <a:pt x="203" y="61"/>
                  <a:pt x="203" y="62"/>
                </a:cubicBezTo>
                <a:cubicBezTo>
                  <a:pt x="207" y="60"/>
                  <a:pt x="211" y="58"/>
                  <a:pt x="214" y="56"/>
                </a:cubicBezTo>
                <a:cubicBezTo>
                  <a:pt x="213" y="56"/>
                  <a:pt x="212" y="57"/>
                  <a:pt x="210" y="57"/>
                </a:cubicBezTo>
                <a:cubicBezTo>
                  <a:pt x="214" y="54"/>
                  <a:pt x="214" y="57"/>
                  <a:pt x="222" y="53"/>
                </a:cubicBezTo>
                <a:cubicBezTo>
                  <a:pt x="222" y="52"/>
                  <a:pt x="218" y="54"/>
                  <a:pt x="217" y="54"/>
                </a:cubicBezTo>
                <a:cubicBezTo>
                  <a:pt x="219" y="52"/>
                  <a:pt x="216" y="54"/>
                  <a:pt x="216" y="53"/>
                </a:cubicBezTo>
                <a:cubicBezTo>
                  <a:pt x="215" y="53"/>
                  <a:pt x="214" y="54"/>
                  <a:pt x="214" y="54"/>
                </a:cubicBezTo>
                <a:cubicBezTo>
                  <a:pt x="212" y="54"/>
                  <a:pt x="215" y="53"/>
                  <a:pt x="210" y="56"/>
                </a:cubicBezTo>
                <a:cubicBezTo>
                  <a:pt x="211" y="54"/>
                  <a:pt x="217" y="52"/>
                  <a:pt x="219" y="50"/>
                </a:cubicBezTo>
                <a:cubicBezTo>
                  <a:pt x="220" y="50"/>
                  <a:pt x="219" y="51"/>
                  <a:pt x="221" y="50"/>
                </a:cubicBezTo>
                <a:cubicBezTo>
                  <a:pt x="227" y="46"/>
                  <a:pt x="237" y="41"/>
                  <a:pt x="245" y="39"/>
                </a:cubicBezTo>
                <a:cubicBezTo>
                  <a:pt x="246" y="40"/>
                  <a:pt x="242" y="40"/>
                  <a:pt x="241" y="41"/>
                </a:cubicBezTo>
                <a:cubicBezTo>
                  <a:pt x="242" y="41"/>
                  <a:pt x="244" y="40"/>
                  <a:pt x="245" y="40"/>
                </a:cubicBezTo>
                <a:cubicBezTo>
                  <a:pt x="247" y="39"/>
                  <a:pt x="249" y="39"/>
                  <a:pt x="254" y="37"/>
                </a:cubicBezTo>
                <a:cubicBezTo>
                  <a:pt x="252" y="37"/>
                  <a:pt x="247" y="38"/>
                  <a:pt x="253" y="36"/>
                </a:cubicBezTo>
                <a:cubicBezTo>
                  <a:pt x="252" y="36"/>
                  <a:pt x="250" y="37"/>
                  <a:pt x="251" y="36"/>
                </a:cubicBezTo>
                <a:cubicBezTo>
                  <a:pt x="252" y="36"/>
                  <a:pt x="254" y="35"/>
                  <a:pt x="255" y="35"/>
                </a:cubicBezTo>
                <a:cubicBezTo>
                  <a:pt x="257" y="35"/>
                  <a:pt x="255" y="34"/>
                  <a:pt x="258" y="33"/>
                </a:cubicBezTo>
                <a:cubicBezTo>
                  <a:pt x="259" y="34"/>
                  <a:pt x="259" y="34"/>
                  <a:pt x="259" y="34"/>
                </a:cubicBezTo>
                <a:cubicBezTo>
                  <a:pt x="263" y="32"/>
                  <a:pt x="265" y="32"/>
                  <a:pt x="267" y="31"/>
                </a:cubicBezTo>
                <a:cubicBezTo>
                  <a:pt x="273" y="28"/>
                  <a:pt x="273" y="30"/>
                  <a:pt x="279" y="27"/>
                </a:cubicBezTo>
                <a:cubicBezTo>
                  <a:pt x="280" y="27"/>
                  <a:pt x="279" y="27"/>
                  <a:pt x="279" y="28"/>
                </a:cubicBezTo>
                <a:cubicBezTo>
                  <a:pt x="282" y="27"/>
                  <a:pt x="285" y="26"/>
                  <a:pt x="285" y="25"/>
                </a:cubicBezTo>
                <a:cubicBezTo>
                  <a:pt x="288" y="26"/>
                  <a:pt x="294" y="23"/>
                  <a:pt x="301" y="22"/>
                </a:cubicBezTo>
                <a:cubicBezTo>
                  <a:pt x="301" y="21"/>
                  <a:pt x="301" y="21"/>
                  <a:pt x="301" y="21"/>
                </a:cubicBezTo>
                <a:cubicBezTo>
                  <a:pt x="301" y="21"/>
                  <a:pt x="297" y="22"/>
                  <a:pt x="296" y="22"/>
                </a:cubicBezTo>
                <a:cubicBezTo>
                  <a:pt x="298" y="21"/>
                  <a:pt x="297" y="22"/>
                  <a:pt x="298" y="21"/>
                </a:cubicBezTo>
                <a:cubicBezTo>
                  <a:pt x="301" y="20"/>
                  <a:pt x="301" y="20"/>
                  <a:pt x="301" y="20"/>
                </a:cubicBezTo>
                <a:cubicBezTo>
                  <a:pt x="301" y="20"/>
                  <a:pt x="297" y="21"/>
                  <a:pt x="297" y="21"/>
                </a:cubicBezTo>
                <a:cubicBezTo>
                  <a:pt x="300" y="19"/>
                  <a:pt x="301" y="19"/>
                  <a:pt x="305" y="18"/>
                </a:cubicBezTo>
                <a:cubicBezTo>
                  <a:pt x="305" y="19"/>
                  <a:pt x="307" y="18"/>
                  <a:pt x="306" y="19"/>
                </a:cubicBezTo>
                <a:cubicBezTo>
                  <a:pt x="308" y="18"/>
                  <a:pt x="309" y="17"/>
                  <a:pt x="309" y="18"/>
                </a:cubicBezTo>
                <a:cubicBezTo>
                  <a:pt x="316" y="16"/>
                  <a:pt x="316" y="16"/>
                  <a:pt x="322" y="15"/>
                </a:cubicBezTo>
                <a:cubicBezTo>
                  <a:pt x="325" y="15"/>
                  <a:pt x="325" y="14"/>
                  <a:pt x="327" y="13"/>
                </a:cubicBezTo>
                <a:cubicBezTo>
                  <a:pt x="329" y="12"/>
                  <a:pt x="329" y="13"/>
                  <a:pt x="330" y="13"/>
                </a:cubicBezTo>
                <a:cubicBezTo>
                  <a:pt x="332" y="13"/>
                  <a:pt x="332" y="12"/>
                  <a:pt x="334" y="12"/>
                </a:cubicBezTo>
                <a:cubicBezTo>
                  <a:pt x="336" y="12"/>
                  <a:pt x="338" y="11"/>
                  <a:pt x="338" y="12"/>
                </a:cubicBezTo>
                <a:cubicBezTo>
                  <a:pt x="337" y="12"/>
                  <a:pt x="338" y="12"/>
                  <a:pt x="337" y="12"/>
                </a:cubicBezTo>
                <a:cubicBezTo>
                  <a:pt x="337" y="12"/>
                  <a:pt x="336" y="12"/>
                  <a:pt x="336" y="12"/>
                </a:cubicBezTo>
                <a:cubicBezTo>
                  <a:pt x="336" y="13"/>
                  <a:pt x="340" y="11"/>
                  <a:pt x="341" y="12"/>
                </a:cubicBezTo>
                <a:cubicBezTo>
                  <a:pt x="343" y="12"/>
                  <a:pt x="337" y="12"/>
                  <a:pt x="340" y="11"/>
                </a:cubicBezTo>
                <a:cubicBezTo>
                  <a:pt x="342" y="11"/>
                  <a:pt x="342" y="11"/>
                  <a:pt x="342" y="11"/>
                </a:cubicBezTo>
                <a:cubicBezTo>
                  <a:pt x="344" y="11"/>
                  <a:pt x="344" y="11"/>
                  <a:pt x="345" y="11"/>
                </a:cubicBezTo>
                <a:cubicBezTo>
                  <a:pt x="346" y="10"/>
                  <a:pt x="340" y="11"/>
                  <a:pt x="342" y="10"/>
                </a:cubicBezTo>
                <a:cubicBezTo>
                  <a:pt x="347" y="10"/>
                  <a:pt x="347" y="10"/>
                  <a:pt x="347" y="10"/>
                </a:cubicBezTo>
                <a:cubicBezTo>
                  <a:pt x="347" y="9"/>
                  <a:pt x="347" y="9"/>
                  <a:pt x="345" y="9"/>
                </a:cubicBezTo>
                <a:cubicBezTo>
                  <a:pt x="349" y="8"/>
                  <a:pt x="350" y="10"/>
                  <a:pt x="354" y="10"/>
                </a:cubicBezTo>
                <a:cubicBezTo>
                  <a:pt x="356" y="10"/>
                  <a:pt x="358" y="9"/>
                  <a:pt x="360" y="9"/>
                </a:cubicBezTo>
                <a:cubicBezTo>
                  <a:pt x="361" y="9"/>
                  <a:pt x="359" y="9"/>
                  <a:pt x="361" y="9"/>
                </a:cubicBezTo>
                <a:cubicBezTo>
                  <a:pt x="360" y="9"/>
                  <a:pt x="359" y="9"/>
                  <a:pt x="358" y="9"/>
                </a:cubicBezTo>
                <a:cubicBezTo>
                  <a:pt x="355" y="8"/>
                  <a:pt x="363" y="8"/>
                  <a:pt x="360" y="8"/>
                </a:cubicBezTo>
                <a:cubicBezTo>
                  <a:pt x="361" y="7"/>
                  <a:pt x="362" y="9"/>
                  <a:pt x="364" y="8"/>
                </a:cubicBezTo>
                <a:cubicBezTo>
                  <a:pt x="367" y="8"/>
                  <a:pt x="362" y="8"/>
                  <a:pt x="363" y="7"/>
                </a:cubicBezTo>
                <a:cubicBezTo>
                  <a:pt x="364" y="7"/>
                  <a:pt x="365" y="7"/>
                  <a:pt x="365" y="7"/>
                </a:cubicBezTo>
                <a:cubicBezTo>
                  <a:pt x="366" y="7"/>
                  <a:pt x="367" y="8"/>
                  <a:pt x="367" y="8"/>
                </a:cubicBezTo>
                <a:cubicBezTo>
                  <a:pt x="367" y="9"/>
                  <a:pt x="370" y="8"/>
                  <a:pt x="371" y="9"/>
                </a:cubicBezTo>
                <a:cubicBezTo>
                  <a:pt x="374" y="8"/>
                  <a:pt x="371" y="8"/>
                  <a:pt x="372" y="8"/>
                </a:cubicBezTo>
                <a:cubicBezTo>
                  <a:pt x="372" y="7"/>
                  <a:pt x="371" y="8"/>
                  <a:pt x="371" y="8"/>
                </a:cubicBezTo>
                <a:cubicBezTo>
                  <a:pt x="371" y="7"/>
                  <a:pt x="379" y="9"/>
                  <a:pt x="381" y="7"/>
                </a:cubicBezTo>
                <a:cubicBezTo>
                  <a:pt x="384" y="7"/>
                  <a:pt x="386" y="8"/>
                  <a:pt x="390" y="7"/>
                </a:cubicBezTo>
                <a:cubicBezTo>
                  <a:pt x="390" y="7"/>
                  <a:pt x="389" y="7"/>
                  <a:pt x="390" y="7"/>
                </a:cubicBezTo>
                <a:cubicBezTo>
                  <a:pt x="387" y="6"/>
                  <a:pt x="389" y="6"/>
                  <a:pt x="386" y="5"/>
                </a:cubicBezTo>
                <a:cubicBezTo>
                  <a:pt x="388" y="6"/>
                  <a:pt x="389" y="7"/>
                  <a:pt x="391" y="6"/>
                </a:cubicBezTo>
                <a:cubicBezTo>
                  <a:pt x="392" y="6"/>
                  <a:pt x="392" y="7"/>
                  <a:pt x="394" y="7"/>
                </a:cubicBezTo>
                <a:cubicBezTo>
                  <a:pt x="395" y="7"/>
                  <a:pt x="395" y="6"/>
                  <a:pt x="395" y="6"/>
                </a:cubicBezTo>
                <a:cubicBezTo>
                  <a:pt x="396" y="6"/>
                  <a:pt x="399" y="6"/>
                  <a:pt x="397" y="6"/>
                </a:cubicBezTo>
                <a:cubicBezTo>
                  <a:pt x="401" y="5"/>
                  <a:pt x="402" y="7"/>
                  <a:pt x="401" y="7"/>
                </a:cubicBezTo>
                <a:cubicBezTo>
                  <a:pt x="408" y="7"/>
                  <a:pt x="400" y="5"/>
                  <a:pt x="400" y="4"/>
                </a:cubicBezTo>
                <a:cubicBezTo>
                  <a:pt x="402" y="5"/>
                  <a:pt x="404" y="4"/>
                  <a:pt x="401" y="4"/>
                </a:cubicBezTo>
                <a:cubicBezTo>
                  <a:pt x="406" y="3"/>
                  <a:pt x="402" y="5"/>
                  <a:pt x="407" y="5"/>
                </a:cubicBezTo>
                <a:cubicBezTo>
                  <a:pt x="411" y="4"/>
                  <a:pt x="406" y="3"/>
                  <a:pt x="410" y="3"/>
                </a:cubicBezTo>
                <a:cubicBezTo>
                  <a:pt x="408" y="2"/>
                  <a:pt x="400" y="3"/>
                  <a:pt x="399" y="2"/>
                </a:cubicBezTo>
                <a:cubicBezTo>
                  <a:pt x="400" y="1"/>
                  <a:pt x="404" y="2"/>
                  <a:pt x="404" y="2"/>
                </a:cubicBezTo>
                <a:cubicBezTo>
                  <a:pt x="407" y="2"/>
                  <a:pt x="407" y="1"/>
                  <a:pt x="412" y="2"/>
                </a:cubicBezTo>
                <a:cubicBezTo>
                  <a:pt x="411" y="2"/>
                  <a:pt x="413" y="2"/>
                  <a:pt x="412" y="3"/>
                </a:cubicBezTo>
                <a:cubicBezTo>
                  <a:pt x="415" y="3"/>
                  <a:pt x="415" y="1"/>
                  <a:pt x="419" y="1"/>
                </a:cubicBezTo>
                <a:cubicBezTo>
                  <a:pt x="417" y="2"/>
                  <a:pt x="416" y="2"/>
                  <a:pt x="421" y="2"/>
                </a:cubicBezTo>
                <a:cubicBezTo>
                  <a:pt x="420" y="3"/>
                  <a:pt x="417" y="3"/>
                  <a:pt x="417" y="2"/>
                </a:cubicBezTo>
                <a:cubicBezTo>
                  <a:pt x="416" y="2"/>
                  <a:pt x="416" y="3"/>
                  <a:pt x="415" y="3"/>
                </a:cubicBezTo>
                <a:cubicBezTo>
                  <a:pt x="414" y="3"/>
                  <a:pt x="417" y="3"/>
                  <a:pt x="417" y="4"/>
                </a:cubicBezTo>
                <a:cubicBezTo>
                  <a:pt x="419" y="4"/>
                  <a:pt x="418" y="3"/>
                  <a:pt x="416" y="3"/>
                </a:cubicBezTo>
                <a:cubicBezTo>
                  <a:pt x="417" y="3"/>
                  <a:pt x="421" y="3"/>
                  <a:pt x="421" y="4"/>
                </a:cubicBezTo>
                <a:cubicBezTo>
                  <a:pt x="418" y="4"/>
                  <a:pt x="427" y="5"/>
                  <a:pt x="424" y="5"/>
                </a:cubicBezTo>
                <a:cubicBezTo>
                  <a:pt x="427" y="5"/>
                  <a:pt x="427" y="6"/>
                  <a:pt x="430" y="6"/>
                </a:cubicBezTo>
                <a:cubicBezTo>
                  <a:pt x="426" y="5"/>
                  <a:pt x="427" y="5"/>
                  <a:pt x="425" y="4"/>
                </a:cubicBezTo>
                <a:cubicBezTo>
                  <a:pt x="426" y="4"/>
                  <a:pt x="428" y="4"/>
                  <a:pt x="430" y="4"/>
                </a:cubicBezTo>
                <a:cubicBezTo>
                  <a:pt x="427" y="4"/>
                  <a:pt x="430" y="4"/>
                  <a:pt x="428" y="4"/>
                </a:cubicBezTo>
                <a:cubicBezTo>
                  <a:pt x="429" y="5"/>
                  <a:pt x="432" y="5"/>
                  <a:pt x="433" y="5"/>
                </a:cubicBezTo>
                <a:cubicBezTo>
                  <a:pt x="434" y="5"/>
                  <a:pt x="431" y="5"/>
                  <a:pt x="431" y="4"/>
                </a:cubicBezTo>
                <a:cubicBezTo>
                  <a:pt x="432" y="4"/>
                  <a:pt x="438" y="5"/>
                  <a:pt x="438" y="5"/>
                </a:cubicBezTo>
                <a:cubicBezTo>
                  <a:pt x="442" y="6"/>
                  <a:pt x="445" y="6"/>
                  <a:pt x="453" y="7"/>
                </a:cubicBezTo>
                <a:cubicBezTo>
                  <a:pt x="453" y="7"/>
                  <a:pt x="452" y="7"/>
                  <a:pt x="451" y="7"/>
                </a:cubicBezTo>
                <a:cubicBezTo>
                  <a:pt x="451" y="7"/>
                  <a:pt x="453" y="7"/>
                  <a:pt x="453" y="7"/>
                </a:cubicBezTo>
                <a:cubicBezTo>
                  <a:pt x="452" y="8"/>
                  <a:pt x="450" y="7"/>
                  <a:pt x="447" y="6"/>
                </a:cubicBezTo>
                <a:cubicBezTo>
                  <a:pt x="447" y="7"/>
                  <a:pt x="447" y="7"/>
                  <a:pt x="447" y="7"/>
                </a:cubicBezTo>
                <a:cubicBezTo>
                  <a:pt x="448" y="7"/>
                  <a:pt x="453" y="8"/>
                  <a:pt x="453" y="9"/>
                </a:cubicBezTo>
                <a:cubicBezTo>
                  <a:pt x="454" y="8"/>
                  <a:pt x="456" y="7"/>
                  <a:pt x="453" y="6"/>
                </a:cubicBezTo>
                <a:cubicBezTo>
                  <a:pt x="454" y="6"/>
                  <a:pt x="457" y="7"/>
                  <a:pt x="455" y="6"/>
                </a:cubicBezTo>
                <a:cubicBezTo>
                  <a:pt x="456" y="6"/>
                  <a:pt x="458" y="7"/>
                  <a:pt x="460" y="7"/>
                </a:cubicBezTo>
                <a:cubicBezTo>
                  <a:pt x="460" y="7"/>
                  <a:pt x="459" y="7"/>
                  <a:pt x="458" y="6"/>
                </a:cubicBezTo>
                <a:cubicBezTo>
                  <a:pt x="460" y="6"/>
                  <a:pt x="465" y="7"/>
                  <a:pt x="465" y="6"/>
                </a:cubicBezTo>
                <a:cubicBezTo>
                  <a:pt x="466" y="7"/>
                  <a:pt x="466" y="7"/>
                  <a:pt x="465" y="7"/>
                </a:cubicBezTo>
                <a:cubicBezTo>
                  <a:pt x="466" y="7"/>
                  <a:pt x="469" y="8"/>
                  <a:pt x="468" y="8"/>
                </a:cubicBezTo>
                <a:cubicBezTo>
                  <a:pt x="466" y="8"/>
                  <a:pt x="466" y="8"/>
                  <a:pt x="463" y="7"/>
                </a:cubicBezTo>
                <a:cubicBezTo>
                  <a:pt x="463" y="8"/>
                  <a:pt x="464" y="8"/>
                  <a:pt x="464" y="8"/>
                </a:cubicBezTo>
                <a:cubicBezTo>
                  <a:pt x="468" y="9"/>
                  <a:pt x="467" y="8"/>
                  <a:pt x="470" y="9"/>
                </a:cubicBezTo>
                <a:cubicBezTo>
                  <a:pt x="470" y="8"/>
                  <a:pt x="473" y="8"/>
                  <a:pt x="477" y="9"/>
                </a:cubicBezTo>
                <a:cubicBezTo>
                  <a:pt x="476" y="10"/>
                  <a:pt x="474" y="9"/>
                  <a:pt x="471" y="9"/>
                </a:cubicBezTo>
                <a:cubicBezTo>
                  <a:pt x="472" y="9"/>
                  <a:pt x="472" y="10"/>
                  <a:pt x="472" y="10"/>
                </a:cubicBezTo>
                <a:cubicBezTo>
                  <a:pt x="473" y="10"/>
                  <a:pt x="475" y="10"/>
                  <a:pt x="476" y="10"/>
                </a:cubicBezTo>
                <a:cubicBezTo>
                  <a:pt x="478" y="10"/>
                  <a:pt x="478" y="11"/>
                  <a:pt x="478" y="11"/>
                </a:cubicBezTo>
                <a:cubicBezTo>
                  <a:pt x="479" y="11"/>
                  <a:pt x="481" y="11"/>
                  <a:pt x="483" y="12"/>
                </a:cubicBezTo>
                <a:cubicBezTo>
                  <a:pt x="483" y="11"/>
                  <a:pt x="484" y="11"/>
                  <a:pt x="482" y="11"/>
                </a:cubicBezTo>
                <a:cubicBezTo>
                  <a:pt x="483" y="10"/>
                  <a:pt x="485" y="11"/>
                  <a:pt x="484" y="12"/>
                </a:cubicBezTo>
                <a:cubicBezTo>
                  <a:pt x="485" y="12"/>
                  <a:pt x="486" y="11"/>
                  <a:pt x="487" y="12"/>
                </a:cubicBezTo>
                <a:cubicBezTo>
                  <a:pt x="487" y="12"/>
                  <a:pt x="485" y="10"/>
                  <a:pt x="490" y="11"/>
                </a:cubicBezTo>
                <a:cubicBezTo>
                  <a:pt x="490" y="10"/>
                  <a:pt x="485" y="10"/>
                  <a:pt x="484" y="9"/>
                </a:cubicBezTo>
                <a:cubicBezTo>
                  <a:pt x="482" y="9"/>
                  <a:pt x="481" y="9"/>
                  <a:pt x="482" y="9"/>
                </a:cubicBezTo>
                <a:cubicBezTo>
                  <a:pt x="480" y="9"/>
                  <a:pt x="481" y="9"/>
                  <a:pt x="478" y="8"/>
                </a:cubicBezTo>
                <a:cubicBezTo>
                  <a:pt x="478" y="8"/>
                  <a:pt x="482" y="9"/>
                  <a:pt x="481" y="7"/>
                </a:cubicBezTo>
                <a:cubicBezTo>
                  <a:pt x="484" y="8"/>
                  <a:pt x="482" y="8"/>
                  <a:pt x="482" y="8"/>
                </a:cubicBezTo>
                <a:cubicBezTo>
                  <a:pt x="486" y="9"/>
                  <a:pt x="486" y="9"/>
                  <a:pt x="489" y="9"/>
                </a:cubicBezTo>
                <a:cubicBezTo>
                  <a:pt x="489" y="9"/>
                  <a:pt x="487" y="9"/>
                  <a:pt x="487" y="8"/>
                </a:cubicBezTo>
                <a:cubicBezTo>
                  <a:pt x="491" y="9"/>
                  <a:pt x="493" y="10"/>
                  <a:pt x="496" y="11"/>
                </a:cubicBezTo>
                <a:cubicBezTo>
                  <a:pt x="495" y="11"/>
                  <a:pt x="495" y="10"/>
                  <a:pt x="495" y="11"/>
                </a:cubicBezTo>
                <a:cubicBezTo>
                  <a:pt x="496" y="11"/>
                  <a:pt x="499" y="12"/>
                  <a:pt x="499" y="11"/>
                </a:cubicBezTo>
                <a:cubicBezTo>
                  <a:pt x="500" y="12"/>
                  <a:pt x="500" y="12"/>
                  <a:pt x="501" y="13"/>
                </a:cubicBezTo>
                <a:cubicBezTo>
                  <a:pt x="505" y="13"/>
                  <a:pt x="510" y="15"/>
                  <a:pt x="512" y="16"/>
                </a:cubicBezTo>
                <a:cubicBezTo>
                  <a:pt x="514" y="17"/>
                  <a:pt x="512" y="15"/>
                  <a:pt x="510" y="14"/>
                </a:cubicBezTo>
                <a:cubicBezTo>
                  <a:pt x="510" y="14"/>
                  <a:pt x="516" y="16"/>
                  <a:pt x="514" y="16"/>
                </a:cubicBezTo>
                <a:cubicBezTo>
                  <a:pt x="516" y="17"/>
                  <a:pt x="519" y="18"/>
                  <a:pt x="520" y="18"/>
                </a:cubicBezTo>
                <a:cubicBezTo>
                  <a:pt x="519" y="17"/>
                  <a:pt x="518" y="17"/>
                  <a:pt x="517" y="17"/>
                </a:cubicBezTo>
                <a:cubicBezTo>
                  <a:pt x="520" y="17"/>
                  <a:pt x="527" y="19"/>
                  <a:pt x="532" y="21"/>
                </a:cubicBezTo>
                <a:cubicBezTo>
                  <a:pt x="529" y="19"/>
                  <a:pt x="537" y="22"/>
                  <a:pt x="537" y="22"/>
                </a:cubicBezTo>
                <a:cubicBezTo>
                  <a:pt x="539" y="22"/>
                  <a:pt x="538" y="23"/>
                  <a:pt x="540" y="23"/>
                </a:cubicBezTo>
                <a:cubicBezTo>
                  <a:pt x="539" y="23"/>
                  <a:pt x="538" y="23"/>
                  <a:pt x="536" y="22"/>
                </a:cubicBezTo>
                <a:cubicBezTo>
                  <a:pt x="536" y="23"/>
                  <a:pt x="543" y="25"/>
                  <a:pt x="545" y="25"/>
                </a:cubicBezTo>
                <a:cubicBezTo>
                  <a:pt x="545" y="25"/>
                  <a:pt x="542" y="25"/>
                  <a:pt x="540" y="24"/>
                </a:cubicBezTo>
                <a:cubicBezTo>
                  <a:pt x="543" y="24"/>
                  <a:pt x="547" y="25"/>
                  <a:pt x="551" y="27"/>
                </a:cubicBezTo>
                <a:cubicBezTo>
                  <a:pt x="551" y="27"/>
                  <a:pt x="550" y="27"/>
                  <a:pt x="552" y="28"/>
                </a:cubicBezTo>
                <a:cubicBezTo>
                  <a:pt x="551" y="28"/>
                  <a:pt x="549" y="26"/>
                  <a:pt x="549" y="27"/>
                </a:cubicBezTo>
                <a:cubicBezTo>
                  <a:pt x="550" y="28"/>
                  <a:pt x="552" y="28"/>
                  <a:pt x="552" y="29"/>
                </a:cubicBezTo>
                <a:cubicBezTo>
                  <a:pt x="554" y="30"/>
                  <a:pt x="550" y="28"/>
                  <a:pt x="551" y="29"/>
                </a:cubicBezTo>
                <a:cubicBezTo>
                  <a:pt x="555" y="29"/>
                  <a:pt x="555" y="30"/>
                  <a:pt x="558" y="30"/>
                </a:cubicBezTo>
                <a:cubicBezTo>
                  <a:pt x="562" y="32"/>
                  <a:pt x="569" y="34"/>
                  <a:pt x="569" y="35"/>
                </a:cubicBezTo>
                <a:cubicBezTo>
                  <a:pt x="571" y="36"/>
                  <a:pt x="570" y="35"/>
                  <a:pt x="571" y="35"/>
                </a:cubicBezTo>
                <a:cubicBezTo>
                  <a:pt x="572" y="36"/>
                  <a:pt x="575" y="37"/>
                  <a:pt x="573" y="37"/>
                </a:cubicBezTo>
                <a:cubicBezTo>
                  <a:pt x="575" y="38"/>
                  <a:pt x="575" y="38"/>
                  <a:pt x="577" y="39"/>
                </a:cubicBezTo>
                <a:cubicBezTo>
                  <a:pt x="577" y="39"/>
                  <a:pt x="575" y="39"/>
                  <a:pt x="576" y="39"/>
                </a:cubicBezTo>
                <a:cubicBezTo>
                  <a:pt x="578" y="40"/>
                  <a:pt x="578" y="39"/>
                  <a:pt x="579" y="39"/>
                </a:cubicBezTo>
                <a:cubicBezTo>
                  <a:pt x="579" y="38"/>
                  <a:pt x="576" y="38"/>
                  <a:pt x="576" y="38"/>
                </a:cubicBezTo>
                <a:cubicBezTo>
                  <a:pt x="576" y="37"/>
                  <a:pt x="580" y="39"/>
                  <a:pt x="579" y="39"/>
                </a:cubicBezTo>
                <a:cubicBezTo>
                  <a:pt x="581" y="40"/>
                  <a:pt x="581" y="40"/>
                  <a:pt x="583" y="40"/>
                </a:cubicBezTo>
                <a:cubicBezTo>
                  <a:pt x="586" y="42"/>
                  <a:pt x="586" y="42"/>
                  <a:pt x="589" y="44"/>
                </a:cubicBezTo>
                <a:cubicBezTo>
                  <a:pt x="587" y="43"/>
                  <a:pt x="587" y="42"/>
                  <a:pt x="586" y="42"/>
                </a:cubicBezTo>
                <a:cubicBezTo>
                  <a:pt x="585" y="40"/>
                  <a:pt x="593" y="44"/>
                  <a:pt x="594" y="45"/>
                </a:cubicBezTo>
                <a:cubicBezTo>
                  <a:pt x="594" y="45"/>
                  <a:pt x="591" y="43"/>
                  <a:pt x="590" y="43"/>
                </a:cubicBezTo>
                <a:cubicBezTo>
                  <a:pt x="592" y="45"/>
                  <a:pt x="596" y="46"/>
                  <a:pt x="598" y="48"/>
                </a:cubicBezTo>
                <a:cubicBezTo>
                  <a:pt x="600" y="49"/>
                  <a:pt x="597" y="46"/>
                  <a:pt x="599" y="47"/>
                </a:cubicBezTo>
                <a:cubicBezTo>
                  <a:pt x="600" y="48"/>
                  <a:pt x="601" y="49"/>
                  <a:pt x="603" y="50"/>
                </a:cubicBezTo>
                <a:cubicBezTo>
                  <a:pt x="603" y="50"/>
                  <a:pt x="606" y="52"/>
                  <a:pt x="606" y="51"/>
                </a:cubicBezTo>
                <a:cubicBezTo>
                  <a:pt x="612" y="54"/>
                  <a:pt x="615" y="56"/>
                  <a:pt x="620" y="59"/>
                </a:cubicBezTo>
                <a:cubicBezTo>
                  <a:pt x="619" y="58"/>
                  <a:pt x="619" y="59"/>
                  <a:pt x="619" y="59"/>
                </a:cubicBezTo>
                <a:cubicBezTo>
                  <a:pt x="624" y="60"/>
                  <a:pt x="634" y="67"/>
                  <a:pt x="640" y="71"/>
                </a:cubicBezTo>
                <a:cubicBezTo>
                  <a:pt x="642" y="72"/>
                  <a:pt x="641" y="71"/>
                  <a:pt x="643" y="73"/>
                </a:cubicBezTo>
                <a:cubicBezTo>
                  <a:pt x="643" y="73"/>
                  <a:pt x="643" y="73"/>
                  <a:pt x="644" y="73"/>
                </a:cubicBezTo>
                <a:cubicBezTo>
                  <a:pt x="644" y="73"/>
                  <a:pt x="643" y="72"/>
                  <a:pt x="642" y="72"/>
                </a:cubicBezTo>
                <a:cubicBezTo>
                  <a:pt x="645" y="73"/>
                  <a:pt x="651" y="78"/>
                  <a:pt x="653" y="78"/>
                </a:cubicBezTo>
                <a:cubicBezTo>
                  <a:pt x="655" y="80"/>
                  <a:pt x="658" y="83"/>
                  <a:pt x="661" y="84"/>
                </a:cubicBezTo>
                <a:cubicBezTo>
                  <a:pt x="665" y="87"/>
                  <a:pt x="675" y="94"/>
                  <a:pt x="680" y="98"/>
                </a:cubicBezTo>
                <a:cubicBezTo>
                  <a:pt x="680" y="98"/>
                  <a:pt x="679" y="97"/>
                  <a:pt x="679" y="98"/>
                </a:cubicBezTo>
                <a:cubicBezTo>
                  <a:pt x="681" y="99"/>
                  <a:pt x="682" y="100"/>
                  <a:pt x="684" y="102"/>
                </a:cubicBezTo>
                <a:cubicBezTo>
                  <a:pt x="685" y="102"/>
                  <a:pt x="683" y="101"/>
                  <a:pt x="684" y="101"/>
                </a:cubicBezTo>
                <a:cubicBezTo>
                  <a:pt x="688" y="104"/>
                  <a:pt x="693" y="109"/>
                  <a:pt x="699" y="114"/>
                </a:cubicBezTo>
                <a:cubicBezTo>
                  <a:pt x="698" y="114"/>
                  <a:pt x="698" y="114"/>
                  <a:pt x="699" y="115"/>
                </a:cubicBezTo>
                <a:cubicBezTo>
                  <a:pt x="701" y="117"/>
                  <a:pt x="702" y="118"/>
                  <a:pt x="703" y="118"/>
                </a:cubicBezTo>
                <a:cubicBezTo>
                  <a:pt x="705" y="120"/>
                  <a:pt x="704" y="119"/>
                  <a:pt x="705" y="120"/>
                </a:cubicBezTo>
                <a:cubicBezTo>
                  <a:pt x="707" y="122"/>
                  <a:pt x="704" y="119"/>
                  <a:pt x="705" y="119"/>
                </a:cubicBezTo>
                <a:cubicBezTo>
                  <a:pt x="707" y="121"/>
                  <a:pt x="707" y="121"/>
                  <a:pt x="709" y="123"/>
                </a:cubicBezTo>
                <a:cubicBezTo>
                  <a:pt x="705" y="121"/>
                  <a:pt x="715" y="129"/>
                  <a:pt x="718" y="132"/>
                </a:cubicBezTo>
                <a:cubicBezTo>
                  <a:pt x="716" y="131"/>
                  <a:pt x="717" y="131"/>
                  <a:pt x="716" y="129"/>
                </a:cubicBezTo>
                <a:cubicBezTo>
                  <a:pt x="716" y="129"/>
                  <a:pt x="717" y="130"/>
                  <a:pt x="717" y="130"/>
                </a:cubicBezTo>
                <a:cubicBezTo>
                  <a:pt x="722" y="135"/>
                  <a:pt x="722" y="134"/>
                  <a:pt x="723" y="137"/>
                </a:cubicBezTo>
                <a:cubicBezTo>
                  <a:pt x="724" y="138"/>
                  <a:pt x="723" y="136"/>
                  <a:pt x="724" y="136"/>
                </a:cubicBezTo>
                <a:cubicBezTo>
                  <a:pt x="727" y="139"/>
                  <a:pt x="727" y="140"/>
                  <a:pt x="728" y="141"/>
                </a:cubicBezTo>
                <a:cubicBezTo>
                  <a:pt x="729" y="142"/>
                  <a:pt x="732" y="144"/>
                  <a:pt x="732" y="145"/>
                </a:cubicBezTo>
                <a:cubicBezTo>
                  <a:pt x="732" y="146"/>
                  <a:pt x="735" y="148"/>
                  <a:pt x="734" y="148"/>
                </a:cubicBezTo>
                <a:cubicBezTo>
                  <a:pt x="736" y="149"/>
                  <a:pt x="736" y="149"/>
                  <a:pt x="737" y="150"/>
                </a:cubicBezTo>
                <a:cubicBezTo>
                  <a:pt x="738" y="150"/>
                  <a:pt x="735" y="148"/>
                  <a:pt x="734" y="147"/>
                </a:cubicBezTo>
                <a:cubicBezTo>
                  <a:pt x="736" y="147"/>
                  <a:pt x="734" y="144"/>
                  <a:pt x="736" y="144"/>
                </a:cubicBezTo>
                <a:cubicBezTo>
                  <a:pt x="739" y="150"/>
                  <a:pt x="741" y="155"/>
                  <a:pt x="745" y="161"/>
                </a:cubicBezTo>
                <a:cubicBezTo>
                  <a:pt x="747" y="163"/>
                  <a:pt x="742" y="157"/>
                  <a:pt x="747" y="162"/>
                </a:cubicBezTo>
                <a:cubicBezTo>
                  <a:pt x="747" y="161"/>
                  <a:pt x="745" y="159"/>
                  <a:pt x="746" y="160"/>
                </a:cubicBezTo>
                <a:cubicBezTo>
                  <a:pt x="744" y="157"/>
                  <a:pt x="744" y="158"/>
                  <a:pt x="743" y="156"/>
                </a:cubicBezTo>
                <a:cubicBezTo>
                  <a:pt x="743" y="156"/>
                  <a:pt x="745" y="158"/>
                  <a:pt x="746" y="159"/>
                </a:cubicBezTo>
                <a:cubicBezTo>
                  <a:pt x="746" y="159"/>
                  <a:pt x="745" y="156"/>
                  <a:pt x="747" y="158"/>
                </a:cubicBezTo>
                <a:cubicBezTo>
                  <a:pt x="746" y="156"/>
                  <a:pt x="744" y="153"/>
                  <a:pt x="745" y="154"/>
                </a:cubicBezTo>
                <a:cubicBezTo>
                  <a:pt x="747" y="156"/>
                  <a:pt x="748" y="158"/>
                  <a:pt x="749" y="159"/>
                </a:cubicBezTo>
                <a:cubicBezTo>
                  <a:pt x="749" y="160"/>
                  <a:pt x="752" y="165"/>
                  <a:pt x="750" y="164"/>
                </a:cubicBezTo>
                <a:cubicBezTo>
                  <a:pt x="752" y="166"/>
                  <a:pt x="751" y="167"/>
                  <a:pt x="751" y="167"/>
                </a:cubicBezTo>
                <a:cubicBezTo>
                  <a:pt x="753" y="170"/>
                  <a:pt x="756" y="173"/>
                  <a:pt x="757" y="174"/>
                </a:cubicBezTo>
                <a:cubicBezTo>
                  <a:pt x="757" y="173"/>
                  <a:pt x="755" y="172"/>
                  <a:pt x="754" y="170"/>
                </a:cubicBezTo>
                <a:cubicBezTo>
                  <a:pt x="754" y="168"/>
                  <a:pt x="759" y="172"/>
                  <a:pt x="756" y="168"/>
                </a:cubicBezTo>
                <a:cubicBezTo>
                  <a:pt x="757" y="169"/>
                  <a:pt x="757" y="170"/>
                  <a:pt x="759" y="173"/>
                </a:cubicBezTo>
                <a:cubicBezTo>
                  <a:pt x="759" y="174"/>
                  <a:pt x="757" y="173"/>
                  <a:pt x="760" y="177"/>
                </a:cubicBezTo>
                <a:cubicBezTo>
                  <a:pt x="759" y="176"/>
                  <a:pt x="759" y="175"/>
                  <a:pt x="758" y="175"/>
                </a:cubicBezTo>
                <a:cubicBezTo>
                  <a:pt x="760" y="177"/>
                  <a:pt x="760" y="179"/>
                  <a:pt x="762" y="181"/>
                </a:cubicBezTo>
                <a:cubicBezTo>
                  <a:pt x="762" y="182"/>
                  <a:pt x="762" y="181"/>
                  <a:pt x="764" y="182"/>
                </a:cubicBezTo>
                <a:cubicBezTo>
                  <a:pt x="765" y="184"/>
                  <a:pt x="766" y="187"/>
                  <a:pt x="767" y="186"/>
                </a:cubicBezTo>
                <a:cubicBezTo>
                  <a:pt x="768" y="186"/>
                  <a:pt x="765" y="183"/>
                  <a:pt x="764" y="182"/>
                </a:cubicBezTo>
                <a:cubicBezTo>
                  <a:pt x="762" y="178"/>
                  <a:pt x="767" y="183"/>
                  <a:pt x="764" y="178"/>
                </a:cubicBezTo>
                <a:cubicBezTo>
                  <a:pt x="766" y="180"/>
                  <a:pt x="766" y="181"/>
                  <a:pt x="766" y="179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70" y="185"/>
                  <a:pt x="768" y="190"/>
                  <a:pt x="774" y="194"/>
                </a:cubicBezTo>
                <a:cubicBezTo>
                  <a:pt x="773" y="192"/>
                  <a:pt x="774" y="192"/>
                  <a:pt x="776" y="194"/>
                </a:cubicBezTo>
                <a:cubicBezTo>
                  <a:pt x="775" y="192"/>
                  <a:pt x="774" y="188"/>
                  <a:pt x="776" y="190"/>
                </a:cubicBezTo>
                <a:cubicBezTo>
                  <a:pt x="782" y="200"/>
                  <a:pt x="774" y="198"/>
                  <a:pt x="781" y="209"/>
                </a:cubicBezTo>
                <a:cubicBezTo>
                  <a:pt x="782" y="211"/>
                  <a:pt x="782" y="210"/>
                  <a:pt x="784" y="211"/>
                </a:cubicBezTo>
                <a:cubicBezTo>
                  <a:pt x="782" y="207"/>
                  <a:pt x="785" y="207"/>
                  <a:pt x="785" y="203"/>
                </a:cubicBezTo>
                <a:cubicBezTo>
                  <a:pt x="789" y="210"/>
                  <a:pt x="784" y="206"/>
                  <a:pt x="788" y="212"/>
                </a:cubicBezTo>
                <a:cubicBezTo>
                  <a:pt x="786" y="212"/>
                  <a:pt x="788" y="216"/>
                  <a:pt x="786" y="217"/>
                </a:cubicBezTo>
                <a:cubicBezTo>
                  <a:pt x="787" y="218"/>
                  <a:pt x="788" y="218"/>
                  <a:pt x="789" y="220"/>
                </a:cubicBezTo>
                <a:cubicBezTo>
                  <a:pt x="788" y="220"/>
                  <a:pt x="787" y="218"/>
                  <a:pt x="787" y="219"/>
                </a:cubicBezTo>
                <a:cubicBezTo>
                  <a:pt x="788" y="221"/>
                  <a:pt x="789" y="223"/>
                  <a:pt x="791" y="226"/>
                </a:cubicBezTo>
                <a:cubicBezTo>
                  <a:pt x="793" y="227"/>
                  <a:pt x="790" y="222"/>
                  <a:pt x="793" y="224"/>
                </a:cubicBezTo>
                <a:cubicBezTo>
                  <a:pt x="792" y="220"/>
                  <a:pt x="793" y="220"/>
                  <a:pt x="795" y="221"/>
                </a:cubicBezTo>
                <a:cubicBezTo>
                  <a:pt x="798" y="227"/>
                  <a:pt x="796" y="231"/>
                  <a:pt x="795" y="230"/>
                </a:cubicBezTo>
                <a:cubicBezTo>
                  <a:pt x="795" y="231"/>
                  <a:pt x="796" y="233"/>
                  <a:pt x="796" y="234"/>
                </a:cubicBezTo>
                <a:cubicBezTo>
                  <a:pt x="793" y="231"/>
                  <a:pt x="796" y="239"/>
                  <a:pt x="792" y="235"/>
                </a:cubicBezTo>
                <a:cubicBezTo>
                  <a:pt x="794" y="238"/>
                  <a:pt x="793" y="237"/>
                  <a:pt x="792" y="236"/>
                </a:cubicBezTo>
                <a:cubicBezTo>
                  <a:pt x="794" y="240"/>
                  <a:pt x="794" y="243"/>
                  <a:pt x="797" y="248"/>
                </a:cubicBezTo>
                <a:cubicBezTo>
                  <a:pt x="797" y="246"/>
                  <a:pt x="797" y="245"/>
                  <a:pt x="799" y="248"/>
                </a:cubicBezTo>
                <a:cubicBezTo>
                  <a:pt x="799" y="247"/>
                  <a:pt x="798" y="246"/>
                  <a:pt x="798" y="245"/>
                </a:cubicBezTo>
                <a:cubicBezTo>
                  <a:pt x="798" y="244"/>
                  <a:pt x="799" y="247"/>
                  <a:pt x="800" y="247"/>
                </a:cubicBezTo>
                <a:cubicBezTo>
                  <a:pt x="800" y="246"/>
                  <a:pt x="799" y="246"/>
                  <a:pt x="798" y="244"/>
                </a:cubicBezTo>
                <a:cubicBezTo>
                  <a:pt x="799" y="244"/>
                  <a:pt x="800" y="246"/>
                  <a:pt x="800" y="246"/>
                </a:cubicBezTo>
                <a:cubicBezTo>
                  <a:pt x="802" y="250"/>
                  <a:pt x="800" y="249"/>
                  <a:pt x="801" y="252"/>
                </a:cubicBezTo>
                <a:cubicBezTo>
                  <a:pt x="799" y="250"/>
                  <a:pt x="800" y="252"/>
                  <a:pt x="799" y="251"/>
                </a:cubicBezTo>
                <a:cubicBezTo>
                  <a:pt x="800" y="252"/>
                  <a:pt x="801" y="254"/>
                  <a:pt x="802" y="256"/>
                </a:cubicBezTo>
                <a:cubicBezTo>
                  <a:pt x="800" y="254"/>
                  <a:pt x="800" y="256"/>
                  <a:pt x="799" y="255"/>
                </a:cubicBezTo>
                <a:cubicBezTo>
                  <a:pt x="799" y="256"/>
                  <a:pt x="800" y="257"/>
                  <a:pt x="800" y="258"/>
                </a:cubicBezTo>
                <a:cubicBezTo>
                  <a:pt x="798" y="257"/>
                  <a:pt x="797" y="261"/>
                  <a:pt x="794" y="257"/>
                </a:cubicBezTo>
                <a:cubicBezTo>
                  <a:pt x="794" y="258"/>
                  <a:pt x="795" y="260"/>
                  <a:pt x="794" y="260"/>
                </a:cubicBezTo>
                <a:cubicBezTo>
                  <a:pt x="792" y="255"/>
                  <a:pt x="791" y="256"/>
                  <a:pt x="790" y="256"/>
                </a:cubicBezTo>
                <a:cubicBezTo>
                  <a:pt x="792" y="259"/>
                  <a:pt x="794" y="261"/>
                  <a:pt x="795" y="265"/>
                </a:cubicBezTo>
                <a:cubicBezTo>
                  <a:pt x="793" y="262"/>
                  <a:pt x="795" y="266"/>
                  <a:pt x="793" y="262"/>
                </a:cubicBezTo>
                <a:cubicBezTo>
                  <a:pt x="792" y="267"/>
                  <a:pt x="790" y="268"/>
                  <a:pt x="787" y="266"/>
                </a:cubicBezTo>
                <a:cubicBezTo>
                  <a:pt x="786" y="263"/>
                  <a:pt x="784" y="260"/>
                  <a:pt x="784" y="259"/>
                </a:cubicBezTo>
                <a:cubicBezTo>
                  <a:pt x="784" y="258"/>
                  <a:pt x="783" y="258"/>
                  <a:pt x="783" y="257"/>
                </a:cubicBezTo>
                <a:cubicBezTo>
                  <a:pt x="783" y="257"/>
                  <a:pt x="783" y="258"/>
                  <a:pt x="784" y="259"/>
                </a:cubicBezTo>
                <a:cubicBezTo>
                  <a:pt x="783" y="258"/>
                  <a:pt x="782" y="256"/>
                  <a:pt x="782" y="255"/>
                </a:cubicBezTo>
                <a:close/>
                <a:moveTo>
                  <a:pt x="340" y="50"/>
                </a:moveTo>
                <a:cubicBezTo>
                  <a:pt x="338" y="51"/>
                  <a:pt x="336" y="51"/>
                  <a:pt x="336" y="51"/>
                </a:cubicBezTo>
                <a:cubicBezTo>
                  <a:pt x="338" y="51"/>
                  <a:pt x="340" y="51"/>
                  <a:pt x="340" y="50"/>
                </a:cubicBezTo>
                <a:close/>
                <a:moveTo>
                  <a:pt x="236" y="74"/>
                </a:moveTo>
                <a:cubicBezTo>
                  <a:pt x="236" y="74"/>
                  <a:pt x="235" y="75"/>
                  <a:pt x="235" y="74"/>
                </a:cubicBezTo>
                <a:cubicBezTo>
                  <a:pt x="234" y="75"/>
                  <a:pt x="233" y="75"/>
                  <a:pt x="233" y="76"/>
                </a:cubicBezTo>
                <a:cubicBezTo>
                  <a:pt x="236" y="75"/>
                  <a:pt x="230" y="77"/>
                  <a:pt x="232" y="77"/>
                </a:cubicBezTo>
                <a:cubicBezTo>
                  <a:pt x="234" y="76"/>
                  <a:pt x="235" y="75"/>
                  <a:pt x="236" y="74"/>
                </a:cubicBezTo>
                <a:close/>
                <a:moveTo>
                  <a:pt x="231" y="76"/>
                </a:moveTo>
                <a:cubicBezTo>
                  <a:pt x="232" y="75"/>
                  <a:pt x="233" y="76"/>
                  <a:pt x="234" y="74"/>
                </a:cubicBezTo>
                <a:cubicBezTo>
                  <a:pt x="234" y="75"/>
                  <a:pt x="236" y="72"/>
                  <a:pt x="237" y="71"/>
                </a:cubicBezTo>
                <a:cubicBezTo>
                  <a:pt x="233" y="73"/>
                  <a:pt x="233" y="74"/>
                  <a:pt x="231" y="76"/>
                </a:cubicBezTo>
                <a:close/>
                <a:moveTo>
                  <a:pt x="162" y="116"/>
                </a:moveTo>
                <a:cubicBezTo>
                  <a:pt x="164" y="115"/>
                  <a:pt x="164" y="115"/>
                  <a:pt x="164" y="115"/>
                </a:cubicBezTo>
                <a:cubicBezTo>
                  <a:pt x="162" y="115"/>
                  <a:pt x="165" y="114"/>
                  <a:pt x="167" y="112"/>
                </a:cubicBezTo>
                <a:cubicBezTo>
                  <a:pt x="165" y="113"/>
                  <a:pt x="164" y="114"/>
                  <a:pt x="164" y="114"/>
                </a:cubicBezTo>
                <a:cubicBezTo>
                  <a:pt x="167" y="111"/>
                  <a:pt x="164" y="113"/>
                  <a:pt x="165" y="111"/>
                </a:cubicBezTo>
                <a:cubicBezTo>
                  <a:pt x="164" y="112"/>
                  <a:pt x="162" y="113"/>
                  <a:pt x="162" y="114"/>
                </a:cubicBezTo>
                <a:cubicBezTo>
                  <a:pt x="168" y="110"/>
                  <a:pt x="160" y="115"/>
                  <a:pt x="162" y="114"/>
                </a:cubicBezTo>
                <a:cubicBezTo>
                  <a:pt x="166" y="112"/>
                  <a:pt x="161" y="116"/>
                  <a:pt x="162" y="116"/>
                </a:cubicBezTo>
                <a:close/>
                <a:moveTo>
                  <a:pt x="132" y="113"/>
                </a:moveTo>
                <a:cubicBezTo>
                  <a:pt x="134" y="112"/>
                  <a:pt x="135" y="111"/>
                  <a:pt x="134" y="111"/>
                </a:cubicBezTo>
                <a:cubicBezTo>
                  <a:pt x="132" y="113"/>
                  <a:pt x="132" y="113"/>
                  <a:pt x="132" y="113"/>
                </a:cubicBezTo>
                <a:close/>
                <a:moveTo>
                  <a:pt x="788" y="254"/>
                </a:moveTo>
                <a:cubicBezTo>
                  <a:pt x="788" y="256"/>
                  <a:pt x="790" y="259"/>
                  <a:pt x="791" y="260"/>
                </a:cubicBezTo>
                <a:cubicBezTo>
                  <a:pt x="790" y="258"/>
                  <a:pt x="789" y="255"/>
                  <a:pt x="788" y="254"/>
                </a:cubicBezTo>
                <a:close/>
                <a:moveTo>
                  <a:pt x="792" y="242"/>
                </a:moveTo>
                <a:cubicBezTo>
                  <a:pt x="793" y="245"/>
                  <a:pt x="794" y="247"/>
                  <a:pt x="796" y="250"/>
                </a:cubicBezTo>
                <a:cubicBezTo>
                  <a:pt x="797" y="249"/>
                  <a:pt x="792" y="240"/>
                  <a:pt x="790" y="237"/>
                </a:cubicBezTo>
                <a:cubicBezTo>
                  <a:pt x="790" y="239"/>
                  <a:pt x="794" y="244"/>
                  <a:pt x="795" y="246"/>
                </a:cubicBezTo>
                <a:cubicBezTo>
                  <a:pt x="794" y="246"/>
                  <a:pt x="793" y="243"/>
                  <a:pt x="792" y="242"/>
                </a:cubicBezTo>
                <a:close/>
                <a:moveTo>
                  <a:pt x="787" y="245"/>
                </a:moveTo>
                <a:cubicBezTo>
                  <a:pt x="787" y="245"/>
                  <a:pt x="787" y="247"/>
                  <a:pt x="786" y="246"/>
                </a:cubicBezTo>
                <a:cubicBezTo>
                  <a:pt x="788" y="248"/>
                  <a:pt x="789" y="252"/>
                  <a:pt x="790" y="253"/>
                </a:cubicBezTo>
                <a:cubicBezTo>
                  <a:pt x="789" y="250"/>
                  <a:pt x="788" y="247"/>
                  <a:pt x="787" y="245"/>
                </a:cubicBezTo>
                <a:close/>
                <a:moveTo>
                  <a:pt x="779" y="256"/>
                </a:moveTo>
                <a:cubicBezTo>
                  <a:pt x="779" y="256"/>
                  <a:pt x="776" y="252"/>
                  <a:pt x="777" y="255"/>
                </a:cubicBezTo>
                <a:cubicBezTo>
                  <a:pt x="778" y="255"/>
                  <a:pt x="778" y="255"/>
                  <a:pt x="779" y="257"/>
                </a:cubicBezTo>
                <a:cubicBezTo>
                  <a:pt x="779" y="258"/>
                  <a:pt x="779" y="258"/>
                  <a:pt x="779" y="258"/>
                </a:cubicBezTo>
                <a:cubicBezTo>
                  <a:pt x="780" y="258"/>
                  <a:pt x="780" y="258"/>
                  <a:pt x="779" y="256"/>
                </a:cubicBezTo>
                <a:close/>
                <a:moveTo>
                  <a:pt x="785" y="244"/>
                </a:moveTo>
                <a:cubicBezTo>
                  <a:pt x="787" y="249"/>
                  <a:pt x="783" y="241"/>
                  <a:pt x="784" y="244"/>
                </a:cubicBezTo>
                <a:cubicBezTo>
                  <a:pt x="786" y="246"/>
                  <a:pt x="784" y="246"/>
                  <a:pt x="785" y="247"/>
                </a:cubicBezTo>
                <a:cubicBezTo>
                  <a:pt x="785" y="246"/>
                  <a:pt x="787" y="249"/>
                  <a:pt x="787" y="249"/>
                </a:cubicBezTo>
                <a:cubicBezTo>
                  <a:pt x="786" y="247"/>
                  <a:pt x="786" y="245"/>
                  <a:pt x="785" y="244"/>
                </a:cubicBezTo>
                <a:close/>
                <a:moveTo>
                  <a:pt x="789" y="230"/>
                </a:moveTo>
                <a:cubicBezTo>
                  <a:pt x="790" y="231"/>
                  <a:pt x="791" y="232"/>
                  <a:pt x="792" y="233"/>
                </a:cubicBezTo>
                <a:cubicBezTo>
                  <a:pt x="790" y="230"/>
                  <a:pt x="789" y="228"/>
                  <a:pt x="790" y="229"/>
                </a:cubicBezTo>
                <a:cubicBezTo>
                  <a:pt x="788" y="225"/>
                  <a:pt x="789" y="224"/>
                  <a:pt x="787" y="222"/>
                </a:cubicBezTo>
                <a:cubicBezTo>
                  <a:pt x="787" y="222"/>
                  <a:pt x="787" y="224"/>
                  <a:pt x="786" y="224"/>
                </a:cubicBezTo>
                <a:cubicBezTo>
                  <a:pt x="788" y="225"/>
                  <a:pt x="788" y="226"/>
                  <a:pt x="789" y="227"/>
                </a:cubicBezTo>
                <a:cubicBezTo>
                  <a:pt x="789" y="228"/>
                  <a:pt x="789" y="229"/>
                  <a:pt x="789" y="229"/>
                </a:cubicBezTo>
                <a:cubicBezTo>
                  <a:pt x="788" y="226"/>
                  <a:pt x="787" y="226"/>
                  <a:pt x="785" y="224"/>
                </a:cubicBezTo>
                <a:cubicBezTo>
                  <a:pt x="787" y="227"/>
                  <a:pt x="786" y="227"/>
                  <a:pt x="785" y="226"/>
                </a:cubicBezTo>
                <a:cubicBezTo>
                  <a:pt x="787" y="230"/>
                  <a:pt x="786" y="228"/>
                  <a:pt x="787" y="231"/>
                </a:cubicBezTo>
                <a:cubicBezTo>
                  <a:pt x="788" y="231"/>
                  <a:pt x="789" y="234"/>
                  <a:pt x="790" y="235"/>
                </a:cubicBezTo>
                <a:cubicBezTo>
                  <a:pt x="790" y="235"/>
                  <a:pt x="792" y="237"/>
                  <a:pt x="791" y="235"/>
                </a:cubicBezTo>
                <a:cubicBezTo>
                  <a:pt x="790" y="235"/>
                  <a:pt x="790" y="233"/>
                  <a:pt x="789" y="232"/>
                </a:cubicBezTo>
                <a:cubicBezTo>
                  <a:pt x="789" y="232"/>
                  <a:pt x="790" y="235"/>
                  <a:pt x="789" y="233"/>
                </a:cubicBezTo>
                <a:cubicBezTo>
                  <a:pt x="789" y="233"/>
                  <a:pt x="787" y="230"/>
                  <a:pt x="788" y="230"/>
                </a:cubicBezTo>
                <a:cubicBezTo>
                  <a:pt x="789" y="232"/>
                  <a:pt x="790" y="234"/>
                  <a:pt x="792" y="235"/>
                </a:cubicBezTo>
                <a:cubicBezTo>
                  <a:pt x="791" y="234"/>
                  <a:pt x="789" y="231"/>
                  <a:pt x="789" y="230"/>
                </a:cubicBezTo>
                <a:close/>
                <a:moveTo>
                  <a:pt x="788" y="235"/>
                </a:moveTo>
                <a:cubicBezTo>
                  <a:pt x="788" y="233"/>
                  <a:pt x="786" y="229"/>
                  <a:pt x="785" y="229"/>
                </a:cubicBezTo>
                <a:cubicBezTo>
                  <a:pt x="787" y="231"/>
                  <a:pt x="787" y="234"/>
                  <a:pt x="788" y="235"/>
                </a:cubicBezTo>
                <a:close/>
                <a:moveTo>
                  <a:pt x="756" y="236"/>
                </a:moveTo>
                <a:cubicBezTo>
                  <a:pt x="755" y="236"/>
                  <a:pt x="757" y="239"/>
                  <a:pt x="758" y="240"/>
                </a:cubicBezTo>
                <a:cubicBezTo>
                  <a:pt x="760" y="241"/>
                  <a:pt x="759" y="242"/>
                  <a:pt x="760" y="244"/>
                </a:cubicBezTo>
                <a:cubicBezTo>
                  <a:pt x="760" y="243"/>
                  <a:pt x="762" y="245"/>
                  <a:pt x="761" y="242"/>
                </a:cubicBezTo>
                <a:cubicBezTo>
                  <a:pt x="759" y="241"/>
                  <a:pt x="759" y="241"/>
                  <a:pt x="756" y="236"/>
                </a:cubicBezTo>
                <a:close/>
                <a:moveTo>
                  <a:pt x="780" y="220"/>
                </a:moveTo>
                <a:cubicBezTo>
                  <a:pt x="781" y="222"/>
                  <a:pt x="781" y="223"/>
                  <a:pt x="782" y="225"/>
                </a:cubicBezTo>
                <a:cubicBezTo>
                  <a:pt x="783" y="226"/>
                  <a:pt x="784" y="227"/>
                  <a:pt x="785" y="228"/>
                </a:cubicBezTo>
                <a:cubicBezTo>
                  <a:pt x="783" y="225"/>
                  <a:pt x="782" y="222"/>
                  <a:pt x="780" y="220"/>
                </a:cubicBezTo>
                <a:close/>
                <a:moveTo>
                  <a:pt x="787" y="219"/>
                </a:moveTo>
                <a:cubicBezTo>
                  <a:pt x="786" y="219"/>
                  <a:pt x="786" y="220"/>
                  <a:pt x="787" y="221"/>
                </a:cubicBezTo>
                <a:cubicBezTo>
                  <a:pt x="787" y="221"/>
                  <a:pt x="789" y="225"/>
                  <a:pt x="789" y="223"/>
                </a:cubicBezTo>
                <a:cubicBezTo>
                  <a:pt x="787" y="221"/>
                  <a:pt x="787" y="220"/>
                  <a:pt x="787" y="219"/>
                </a:cubicBezTo>
                <a:close/>
                <a:moveTo>
                  <a:pt x="781" y="226"/>
                </a:moveTo>
                <a:cubicBezTo>
                  <a:pt x="781" y="227"/>
                  <a:pt x="780" y="223"/>
                  <a:pt x="779" y="224"/>
                </a:cubicBezTo>
                <a:cubicBezTo>
                  <a:pt x="780" y="224"/>
                  <a:pt x="780" y="225"/>
                  <a:pt x="779" y="225"/>
                </a:cubicBezTo>
                <a:cubicBezTo>
                  <a:pt x="781" y="228"/>
                  <a:pt x="783" y="228"/>
                  <a:pt x="781" y="226"/>
                </a:cubicBezTo>
                <a:close/>
                <a:moveTo>
                  <a:pt x="760" y="233"/>
                </a:moveTo>
                <a:cubicBezTo>
                  <a:pt x="761" y="237"/>
                  <a:pt x="756" y="230"/>
                  <a:pt x="756" y="233"/>
                </a:cubicBezTo>
                <a:cubicBezTo>
                  <a:pt x="758" y="234"/>
                  <a:pt x="760" y="235"/>
                  <a:pt x="762" y="237"/>
                </a:cubicBezTo>
                <a:cubicBezTo>
                  <a:pt x="761" y="235"/>
                  <a:pt x="761" y="233"/>
                  <a:pt x="760" y="233"/>
                </a:cubicBezTo>
                <a:close/>
                <a:moveTo>
                  <a:pt x="754" y="232"/>
                </a:moveTo>
                <a:cubicBezTo>
                  <a:pt x="755" y="231"/>
                  <a:pt x="756" y="235"/>
                  <a:pt x="757" y="236"/>
                </a:cubicBezTo>
                <a:cubicBezTo>
                  <a:pt x="757" y="234"/>
                  <a:pt x="753" y="229"/>
                  <a:pt x="754" y="232"/>
                </a:cubicBezTo>
                <a:close/>
                <a:moveTo>
                  <a:pt x="747" y="236"/>
                </a:moveTo>
                <a:cubicBezTo>
                  <a:pt x="746" y="236"/>
                  <a:pt x="748" y="238"/>
                  <a:pt x="748" y="239"/>
                </a:cubicBezTo>
                <a:cubicBezTo>
                  <a:pt x="749" y="239"/>
                  <a:pt x="749" y="240"/>
                  <a:pt x="749" y="239"/>
                </a:cubicBezTo>
                <a:cubicBezTo>
                  <a:pt x="748" y="239"/>
                  <a:pt x="748" y="237"/>
                  <a:pt x="747" y="236"/>
                </a:cubicBezTo>
                <a:close/>
                <a:moveTo>
                  <a:pt x="753" y="170"/>
                </a:moveTo>
                <a:cubicBezTo>
                  <a:pt x="752" y="170"/>
                  <a:pt x="752" y="170"/>
                  <a:pt x="753" y="172"/>
                </a:cubicBezTo>
                <a:cubicBezTo>
                  <a:pt x="754" y="172"/>
                  <a:pt x="755" y="172"/>
                  <a:pt x="756" y="173"/>
                </a:cubicBezTo>
                <a:cubicBezTo>
                  <a:pt x="754" y="172"/>
                  <a:pt x="753" y="171"/>
                  <a:pt x="753" y="170"/>
                </a:cubicBezTo>
                <a:close/>
                <a:moveTo>
                  <a:pt x="747" y="163"/>
                </a:moveTo>
                <a:cubicBezTo>
                  <a:pt x="746" y="162"/>
                  <a:pt x="745" y="163"/>
                  <a:pt x="746" y="165"/>
                </a:cubicBezTo>
                <a:cubicBezTo>
                  <a:pt x="746" y="164"/>
                  <a:pt x="749" y="168"/>
                  <a:pt x="749" y="167"/>
                </a:cubicBezTo>
                <a:cubicBezTo>
                  <a:pt x="746" y="163"/>
                  <a:pt x="748" y="165"/>
                  <a:pt x="747" y="163"/>
                </a:cubicBezTo>
                <a:close/>
                <a:moveTo>
                  <a:pt x="726" y="156"/>
                </a:moveTo>
                <a:cubicBezTo>
                  <a:pt x="725" y="156"/>
                  <a:pt x="728" y="159"/>
                  <a:pt x="729" y="160"/>
                </a:cubicBezTo>
                <a:cubicBezTo>
                  <a:pt x="730" y="160"/>
                  <a:pt x="728" y="158"/>
                  <a:pt x="726" y="156"/>
                </a:cubicBezTo>
                <a:close/>
                <a:moveTo>
                  <a:pt x="723" y="152"/>
                </a:moveTo>
                <a:cubicBezTo>
                  <a:pt x="722" y="152"/>
                  <a:pt x="721" y="151"/>
                  <a:pt x="721" y="150"/>
                </a:cubicBezTo>
                <a:cubicBezTo>
                  <a:pt x="720" y="150"/>
                  <a:pt x="720" y="151"/>
                  <a:pt x="721" y="152"/>
                </a:cubicBezTo>
                <a:cubicBezTo>
                  <a:pt x="722" y="151"/>
                  <a:pt x="725" y="155"/>
                  <a:pt x="724" y="153"/>
                </a:cubicBezTo>
                <a:cubicBezTo>
                  <a:pt x="723" y="153"/>
                  <a:pt x="723" y="153"/>
                  <a:pt x="723" y="152"/>
                </a:cubicBezTo>
                <a:close/>
                <a:moveTo>
                  <a:pt x="726" y="146"/>
                </a:moveTo>
                <a:cubicBezTo>
                  <a:pt x="727" y="147"/>
                  <a:pt x="726" y="147"/>
                  <a:pt x="728" y="149"/>
                </a:cubicBezTo>
                <a:cubicBezTo>
                  <a:pt x="729" y="150"/>
                  <a:pt x="727" y="147"/>
                  <a:pt x="726" y="146"/>
                </a:cubicBezTo>
                <a:close/>
                <a:moveTo>
                  <a:pt x="717" y="154"/>
                </a:moveTo>
                <a:cubicBezTo>
                  <a:pt x="718" y="156"/>
                  <a:pt x="715" y="152"/>
                  <a:pt x="714" y="152"/>
                </a:cubicBezTo>
                <a:cubicBezTo>
                  <a:pt x="714" y="153"/>
                  <a:pt x="716" y="154"/>
                  <a:pt x="717" y="156"/>
                </a:cubicBezTo>
                <a:cubicBezTo>
                  <a:pt x="718" y="156"/>
                  <a:pt x="718" y="155"/>
                  <a:pt x="717" y="154"/>
                </a:cubicBezTo>
                <a:close/>
                <a:moveTo>
                  <a:pt x="723" y="138"/>
                </a:moveTo>
                <a:cubicBezTo>
                  <a:pt x="726" y="140"/>
                  <a:pt x="727" y="142"/>
                  <a:pt x="728" y="143"/>
                </a:cubicBezTo>
                <a:cubicBezTo>
                  <a:pt x="727" y="141"/>
                  <a:pt x="725" y="139"/>
                  <a:pt x="723" y="138"/>
                </a:cubicBezTo>
                <a:close/>
                <a:moveTo>
                  <a:pt x="723" y="139"/>
                </a:moveTo>
                <a:cubicBezTo>
                  <a:pt x="723" y="138"/>
                  <a:pt x="722" y="137"/>
                  <a:pt x="721" y="137"/>
                </a:cubicBezTo>
                <a:cubicBezTo>
                  <a:pt x="720" y="136"/>
                  <a:pt x="720" y="136"/>
                  <a:pt x="720" y="137"/>
                </a:cubicBezTo>
                <a:cubicBezTo>
                  <a:pt x="721" y="139"/>
                  <a:pt x="722" y="140"/>
                  <a:pt x="723" y="141"/>
                </a:cubicBezTo>
                <a:cubicBezTo>
                  <a:pt x="722" y="139"/>
                  <a:pt x="720" y="138"/>
                  <a:pt x="721" y="137"/>
                </a:cubicBezTo>
                <a:cubicBezTo>
                  <a:pt x="723" y="139"/>
                  <a:pt x="724" y="140"/>
                  <a:pt x="725" y="140"/>
                </a:cubicBezTo>
                <a:cubicBezTo>
                  <a:pt x="724" y="139"/>
                  <a:pt x="724" y="139"/>
                  <a:pt x="723" y="139"/>
                </a:cubicBezTo>
                <a:close/>
                <a:moveTo>
                  <a:pt x="722" y="140"/>
                </a:moveTo>
                <a:cubicBezTo>
                  <a:pt x="719" y="137"/>
                  <a:pt x="719" y="137"/>
                  <a:pt x="719" y="137"/>
                </a:cubicBezTo>
                <a:cubicBezTo>
                  <a:pt x="718" y="137"/>
                  <a:pt x="720" y="140"/>
                  <a:pt x="721" y="141"/>
                </a:cubicBezTo>
                <a:cubicBezTo>
                  <a:pt x="722" y="141"/>
                  <a:pt x="722" y="141"/>
                  <a:pt x="722" y="140"/>
                </a:cubicBezTo>
                <a:close/>
                <a:moveTo>
                  <a:pt x="721" y="134"/>
                </a:moveTo>
                <a:cubicBezTo>
                  <a:pt x="720" y="134"/>
                  <a:pt x="719" y="134"/>
                  <a:pt x="719" y="134"/>
                </a:cubicBezTo>
                <a:cubicBezTo>
                  <a:pt x="723" y="138"/>
                  <a:pt x="724" y="137"/>
                  <a:pt x="721" y="134"/>
                </a:cubicBezTo>
                <a:close/>
                <a:moveTo>
                  <a:pt x="714" y="136"/>
                </a:moveTo>
                <a:cubicBezTo>
                  <a:pt x="715" y="135"/>
                  <a:pt x="715" y="135"/>
                  <a:pt x="714" y="134"/>
                </a:cubicBezTo>
                <a:cubicBezTo>
                  <a:pt x="713" y="133"/>
                  <a:pt x="712" y="134"/>
                  <a:pt x="714" y="136"/>
                </a:cubicBezTo>
                <a:close/>
                <a:moveTo>
                  <a:pt x="697" y="113"/>
                </a:moveTo>
                <a:cubicBezTo>
                  <a:pt x="698" y="114"/>
                  <a:pt x="698" y="113"/>
                  <a:pt x="697" y="113"/>
                </a:cubicBezTo>
                <a:cubicBezTo>
                  <a:pt x="696" y="113"/>
                  <a:pt x="694" y="110"/>
                  <a:pt x="693" y="110"/>
                </a:cubicBezTo>
                <a:cubicBezTo>
                  <a:pt x="695" y="112"/>
                  <a:pt x="698" y="116"/>
                  <a:pt x="700" y="117"/>
                </a:cubicBezTo>
                <a:cubicBezTo>
                  <a:pt x="699" y="116"/>
                  <a:pt x="696" y="113"/>
                  <a:pt x="697" y="113"/>
                </a:cubicBezTo>
                <a:close/>
                <a:moveTo>
                  <a:pt x="662" y="153"/>
                </a:moveTo>
                <a:cubicBezTo>
                  <a:pt x="663" y="154"/>
                  <a:pt x="665" y="156"/>
                  <a:pt x="666" y="156"/>
                </a:cubicBezTo>
                <a:cubicBezTo>
                  <a:pt x="665" y="155"/>
                  <a:pt x="663" y="152"/>
                  <a:pt x="662" y="153"/>
                </a:cubicBezTo>
                <a:close/>
                <a:moveTo>
                  <a:pt x="685" y="103"/>
                </a:moveTo>
                <a:cubicBezTo>
                  <a:pt x="687" y="104"/>
                  <a:pt x="686" y="104"/>
                  <a:pt x="687" y="105"/>
                </a:cubicBezTo>
                <a:cubicBezTo>
                  <a:pt x="688" y="106"/>
                  <a:pt x="689" y="106"/>
                  <a:pt x="689" y="106"/>
                </a:cubicBezTo>
                <a:cubicBezTo>
                  <a:pt x="688" y="105"/>
                  <a:pt x="687" y="103"/>
                  <a:pt x="685" y="103"/>
                </a:cubicBezTo>
                <a:close/>
                <a:moveTo>
                  <a:pt x="599" y="49"/>
                </a:moveTo>
                <a:cubicBezTo>
                  <a:pt x="600" y="50"/>
                  <a:pt x="603" y="51"/>
                  <a:pt x="603" y="50"/>
                </a:cubicBezTo>
                <a:cubicBezTo>
                  <a:pt x="600" y="49"/>
                  <a:pt x="601" y="50"/>
                  <a:pt x="599" y="49"/>
                </a:cubicBezTo>
                <a:close/>
                <a:moveTo>
                  <a:pt x="579" y="43"/>
                </a:moveTo>
                <a:cubicBezTo>
                  <a:pt x="579" y="42"/>
                  <a:pt x="584" y="44"/>
                  <a:pt x="581" y="43"/>
                </a:cubicBezTo>
                <a:cubicBezTo>
                  <a:pt x="581" y="43"/>
                  <a:pt x="576" y="41"/>
                  <a:pt x="579" y="43"/>
                </a:cubicBezTo>
                <a:close/>
                <a:moveTo>
                  <a:pt x="568" y="37"/>
                </a:moveTo>
                <a:cubicBezTo>
                  <a:pt x="568" y="36"/>
                  <a:pt x="570" y="37"/>
                  <a:pt x="571" y="38"/>
                </a:cubicBezTo>
                <a:cubicBezTo>
                  <a:pt x="573" y="38"/>
                  <a:pt x="568" y="36"/>
                  <a:pt x="567" y="36"/>
                </a:cubicBezTo>
                <a:cubicBezTo>
                  <a:pt x="570" y="37"/>
                  <a:pt x="565" y="36"/>
                  <a:pt x="568" y="37"/>
                </a:cubicBezTo>
                <a:close/>
                <a:moveTo>
                  <a:pt x="562" y="33"/>
                </a:moveTo>
                <a:cubicBezTo>
                  <a:pt x="563" y="34"/>
                  <a:pt x="563" y="33"/>
                  <a:pt x="565" y="33"/>
                </a:cubicBezTo>
                <a:cubicBezTo>
                  <a:pt x="567" y="35"/>
                  <a:pt x="567" y="35"/>
                  <a:pt x="567" y="35"/>
                </a:cubicBezTo>
                <a:cubicBezTo>
                  <a:pt x="570" y="35"/>
                  <a:pt x="558" y="30"/>
                  <a:pt x="562" y="33"/>
                </a:cubicBezTo>
                <a:close/>
                <a:moveTo>
                  <a:pt x="533" y="22"/>
                </a:moveTo>
                <a:cubicBezTo>
                  <a:pt x="531" y="22"/>
                  <a:pt x="527" y="19"/>
                  <a:pt x="523" y="19"/>
                </a:cubicBezTo>
                <a:cubicBezTo>
                  <a:pt x="524" y="20"/>
                  <a:pt x="519" y="18"/>
                  <a:pt x="519" y="19"/>
                </a:cubicBezTo>
                <a:cubicBezTo>
                  <a:pt x="522" y="20"/>
                  <a:pt x="520" y="20"/>
                  <a:pt x="524" y="21"/>
                </a:cubicBezTo>
                <a:cubicBezTo>
                  <a:pt x="522" y="19"/>
                  <a:pt x="526" y="20"/>
                  <a:pt x="528" y="20"/>
                </a:cubicBezTo>
                <a:cubicBezTo>
                  <a:pt x="529" y="21"/>
                  <a:pt x="532" y="22"/>
                  <a:pt x="535" y="23"/>
                </a:cubicBezTo>
                <a:cubicBezTo>
                  <a:pt x="534" y="23"/>
                  <a:pt x="535" y="22"/>
                  <a:pt x="533" y="22"/>
                </a:cubicBezTo>
                <a:close/>
                <a:moveTo>
                  <a:pt x="513" y="21"/>
                </a:moveTo>
                <a:cubicBezTo>
                  <a:pt x="515" y="21"/>
                  <a:pt x="520" y="24"/>
                  <a:pt x="520" y="23"/>
                </a:cubicBezTo>
                <a:cubicBezTo>
                  <a:pt x="516" y="22"/>
                  <a:pt x="514" y="21"/>
                  <a:pt x="513" y="21"/>
                </a:cubicBezTo>
                <a:close/>
                <a:moveTo>
                  <a:pt x="499" y="13"/>
                </a:moveTo>
                <a:cubicBezTo>
                  <a:pt x="501" y="14"/>
                  <a:pt x="499" y="14"/>
                  <a:pt x="502" y="15"/>
                </a:cubicBezTo>
                <a:cubicBezTo>
                  <a:pt x="501" y="14"/>
                  <a:pt x="504" y="14"/>
                  <a:pt x="502" y="14"/>
                </a:cubicBezTo>
                <a:cubicBezTo>
                  <a:pt x="502" y="14"/>
                  <a:pt x="499" y="13"/>
                  <a:pt x="499" y="13"/>
                </a:cubicBezTo>
                <a:close/>
                <a:moveTo>
                  <a:pt x="497" y="13"/>
                </a:moveTo>
                <a:cubicBezTo>
                  <a:pt x="502" y="15"/>
                  <a:pt x="497" y="14"/>
                  <a:pt x="497" y="15"/>
                </a:cubicBezTo>
                <a:cubicBezTo>
                  <a:pt x="499" y="15"/>
                  <a:pt x="500" y="16"/>
                  <a:pt x="501" y="16"/>
                </a:cubicBezTo>
                <a:cubicBezTo>
                  <a:pt x="500" y="15"/>
                  <a:pt x="499" y="13"/>
                  <a:pt x="497" y="13"/>
                </a:cubicBezTo>
                <a:close/>
                <a:moveTo>
                  <a:pt x="494" y="15"/>
                </a:moveTo>
                <a:cubicBezTo>
                  <a:pt x="494" y="14"/>
                  <a:pt x="496" y="15"/>
                  <a:pt x="496" y="14"/>
                </a:cubicBezTo>
                <a:cubicBezTo>
                  <a:pt x="492" y="13"/>
                  <a:pt x="493" y="14"/>
                  <a:pt x="494" y="15"/>
                </a:cubicBezTo>
                <a:close/>
                <a:moveTo>
                  <a:pt x="441" y="7"/>
                </a:moveTo>
                <a:cubicBezTo>
                  <a:pt x="441" y="7"/>
                  <a:pt x="443" y="7"/>
                  <a:pt x="445" y="7"/>
                </a:cubicBezTo>
                <a:cubicBezTo>
                  <a:pt x="444" y="7"/>
                  <a:pt x="445" y="7"/>
                  <a:pt x="444" y="7"/>
                </a:cubicBezTo>
                <a:cubicBezTo>
                  <a:pt x="444" y="7"/>
                  <a:pt x="439" y="7"/>
                  <a:pt x="441" y="7"/>
                </a:cubicBezTo>
                <a:close/>
                <a:moveTo>
                  <a:pt x="436" y="6"/>
                </a:moveTo>
                <a:cubicBezTo>
                  <a:pt x="433" y="6"/>
                  <a:pt x="434" y="5"/>
                  <a:pt x="431" y="6"/>
                </a:cubicBezTo>
                <a:cubicBezTo>
                  <a:pt x="431" y="6"/>
                  <a:pt x="433" y="6"/>
                  <a:pt x="432" y="7"/>
                </a:cubicBezTo>
                <a:cubicBezTo>
                  <a:pt x="434" y="7"/>
                  <a:pt x="436" y="8"/>
                  <a:pt x="437" y="7"/>
                </a:cubicBezTo>
                <a:cubicBezTo>
                  <a:pt x="432" y="7"/>
                  <a:pt x="433" y="6"/>
                  <a:pt x="436" y="6"/>
                </a:cubicBezTo>
                <a:close/>
                <a:moveTo>
                  <a:pt x="424" y="8"/>
                </a:moveTo>
                <a:cubicBezTo>
                  <a:pt x="420" y="7"/>
                  <a:pt x="426" y="6"/>
                  <a:pt x="421" y="7"/>
                </a:cubicBezTo>
                <a:cubicBezTo>
                  <a:pt x="423" y="7"/>
                  <a:pt x="420" y="8"/>
                  <a:pt x="424" y="8"/>
                </a:cubicBezTo>
                <a:close/>
                <a:moveTo>
                  <a:pt x="415" y="4"/>
                </a:moveTo>
                <a:cubicBezTo>
                  <a:pt x="415" y="4"/>
                  <a:pt x="414" y="4"/>
                  <a:pt x="413" y="4"/>
                </a:cubicBezTo>
                <a:cubicBezTo>
                  <a:pt x="415" y="4"/>
                  <a:pt x="417" y="5"/>
                  <a:pt x="420" y="5"/>
                </a:cubicBezTo>
                <a:cubicBezTo>
                  <a:pt x="420" y="4"/>
                  <a:pt x="417" y="4"/>
                  <a:pt x="415" y="4"/>
                </a:cubicBezTo>
                <a:close/>
                <a:moveTo>
                  <a:pt x="417" y="5"/>
                </a:moveTo>
                <a:cubicBezTo>
                  <a:pt x="417" y="6"/>
                  <a:pt x="414" y="6"/>
                  <a:pt x="412" y="5"/>
                </a:cubicBezTo>
                <a:cubicBezTo>
                  <a:pt x="412" y="6"/>
                  <a:pt x="415" y="6"/>
                  <a:pt x="416" y="7"/>
                </a:cubicBezTo>
                <a:cubicBezTo>
                  <a:pt x="416" y="7"/>
                  <a:pt x="417" y="7"/>
                  <a:pt x="418" y="7"/>
                </a:cubicBezTo>
                <a:cubicBezTo>
                  <a:pt x="413" y="6"/>
                  <a:pt x="418" y="6"/>
                  <a:pt x="419" y="6"/>
                </a:cubicBezTo>
                <a:cubicBezTo>
                  <a:pt x="419" y="6"/>
                  <a:pt x="419" y="5"/>
                  <a:pt x="417" y="5"/>
                </a:cubicBezTo>
                <a:close/>
                <a:moveTo>
                  <a:pt x="412" y="4"/>
                </a:moveTo>
                <a:cubicBezTo>
                  <a:pt x="409" y="4"/>
                  <a:pt x="409" y="5"/>
                  <a:pt x="410" y="5"/>
                </a:cubicBezTo>
                <a:cubicBezTo>
                  <a:pt x="409" y="4"/>
                  <a:pt x="414" y="5"/>
                  <a:pt x="413" y="5"/>
                </a:cubicBezTo>
                <a:cubicBezTo>
                  <a:pt x="410" y="4"/>
                  <a:pt x="413" y="4"/>
                  <a:pt x="412" y="4"/>
                </a:cubicBezTo>
                <a:close/>
                <a:moveTo>
                  <a:pt x="409" y="5"/>
                </a:moveTo>
                <a:cubicBezTo>
                  <a:pt x="405" y="5"/>
                  <a:pt x="405" y="5"/>
                  <a:pt x="405" y="5"/>
                </a:cubicBezTo>
                <a:cubicBezTo>
                  <a:pt x="404" y="6"/>
                  <a:pt x="408" y="6"/>
                  <a:pt x="407" y="7"/>
                </a:cubicBezTo>
                <a:cubicBezTo>
                  <a:pt x="409" y="7"/>
                  <a:pt x="409" y="7"/>
                  <a:pt x="412" y="8"/>
                </a:cubicBezTo>
                <a:cubicBezTo>
                  <a:pt x="411" y="7"/>
                  <a:pt x="404" y="6"/>
                  <a:pt x="409" y="5"/>
                </a:cubicBezTo>
                <a:close/>
                <a:moveTo>
                  <a:pt x="391" y="7"/>
                </a:moveTo>
                <a:cubicBezTo>
                  <a:pt x="393" y="7"/>
                  <a:pt x="395" y="7"/>
                  <a:pt x="397" y="7"/>
                </a:cubicBezTo>
                <a:cubicBezTo>
                  <a:pt x="397" y="7"/>
                  <a:pt x="397" y="7"/>
                  <a:pt x="397" y="7"/>
                </a:cubicBezTo>
                <a:cubicBezTo>
                  <a:pt x="395" y="7"/>
                  <a:pt x="393" y="7"/>
                  <a:pt x="391" y="7"/>
                </a:cubicBezTo>
                <a:close/>
                <a:moveTo>
                  <a:pt x="376" y="46"/>
                </a:moveTo>
                <a:cubicBezTo>
                  <a:pt x="376" y="47"/>
                  <a:pt x="379" y="47"/>
                  <a:pt x="380" y="47"/>
                </a:cubicBezTo>
                <a:cubicBezTo>
                  <a:pt x="378" y="47"/>
                  <a:pt x="378" y="46"/>
                  <a:pt x="376" y="46"/>
                </a:cubicBezTo>
                <a:close/>
                <a:moveTo>
                  <a:pt x="354" y="47"/>
                </a:moveTo>
                <a:cubicBezTo>
                  <a:pt x="353" y="48"/>
                  <a:pt x="359" y="47"/>
                  <a:pt x="359" y="47"/>
                </a:cubicBezTo>
                <a:cubicBezTo>
                  <a:pt x="357" y="47"/>
                  <a:pt x="357" y="46"/>
                  <a:pt x="354" y="47"/>
                </a:cubicBezTo>
                <a:close/>
                <a:moveTo>
                  <a:pt x="323" y="15"/>
                </a:moveTo>
                <a:cubicBezTo>
                  <a:pt x="323" y="16"/>
                  <a:pt x="322" y="16"/>
                  <a:pt x="324" y="16"/>
                </a:cubicBezTo>
                <a:cubicBezTo>
                  <a:pt x="326" y="16"/>
                  <a:pt x="326" y="15"/>
                  <a:pt x="323" y="15"/>
                </a:cubicBezTo>
                <a:close/>
                <a:moveTo>
                  <a:pt x="325" y="47"/>
                </a:moveTo>
                <a:cubicBezTo>
                  <a:pt x="324" y="48"/>
                  <a:pt x="328" y="47"/>
                  <a:pt x="329" y="46"/>
                </a:cubicBezTo>
                <a:cubicBezTo>
                  <a:pt x="327" y="47"/>
                  <a:pt x="327" y="46"/>
                  <a:pt x="325" y="47"/>
                </a:cubicBezTo>
                <a:close/>
                <a:moveTo>
                  <a:pt x="321" y="51"/>
                </a:moveTo>
                <a:cubicBezTo>
                  <a:pt x="324" y="50"/>
                  <a:pt x="323" y="50"/>
                  <a:pt x="321" y="51"/>
                </a:cubicBezTo>
                <a:cubicBezTo>
                  <a:pt x="323" y="51"/>
                  <a:pt x="325" y="50"/>
                  <a:pt x="327" y="50"/>
                </a:cubicBezTo>
                <a:cubicBezTo>
                  <a:pt x="328" y="50"/>
                  <a:pt x="328" y="49"/>
                  <a:pt x="328" y="49"/>
                </a:cubicBezTo>
                <a:cubicBezTo>
                  <a:pt x="325" y="50"/>
                  <a:pt x="321" y="49"/>
                  <a:pt x="321" y="51"/>
                </a:cubicBezTo>
                <a:close/>
                <a:moveTo>
                  <a:pt x="316" y="18"/>
                </a:moveTo>
                <a:cubicBezTo>
                  <a:pt x="319" y="17"/>
                  <a:pt x="317" y="18"/>
                  <a:pt x="320" y="18"/>
                </a:cubicBezTo>
                <a:cubicBezTo>
                  <a:pt x="319" y="17"/>
                  <a:pt x="321" y="17"/>
                  <a:pt x="321" y="16"/>
                </a:cubicBezTo>
                <a:cubicBezTo>
                  <a:pt x="318" y="17"/>
                  <a:pt x="319" y="17"/>
                  <a:pt x="317" y="17"/>
                </a:cubicBezTo>
                <a:cubicBezTo>
                  <a:pt x="317" y="17"/>
                  <a:pt x="317" y="17"/>
                  <a:pt x="316" y="18"/>
                </a:cubicBezTo>
                <a:close/>
                <a:moveTo>
                  <a:pt x="311" y="35"/>
                </a:moveTo>
                <a:cubicBezTo>
                  <a:pt x="312" y="34"/>
                  <a:pt x="316" y="34"/>
                  <a:pt x="315" y="34"/>
                </a:cubicBezTo>
                <a:cubicBezTo>
                  <a:pt x="314" y="34"/>
                  <a:pt x="308" y="35"/>
                  <a:pt x="311" y="35"/>
                </a:cubicBezTo>
                <a:close/>
                <a:moveTo>
                  <a:pt x="314" y="49"/>
                </a:moveTo>
                <a:cubicBezTo>
                  <a:pt x="314" y="50"/>
                  <a:pt x="318" y="49"/>
                  <a:pt x="318" y="49"/>
                </a:cubicBezTo>
                <a:lnTo>
                  <a:pt x="314" y="49"/>
                </a:lnTo>
                <a:close/>
                <a:moveTo>
                  <a:pt x="308" y="47"/>
                </a:moveTo>
                <a:cubicBezTo>
                  <a:pt x="308" y="48"/>
                  <a:pt x="314" y="46"/>
                  <a:pt x="315" y="46"/>
                </a:cubicBezTo>
                <a:cubicBezTo>
                  <a:pt x="315" y="46"/>
                  <a:pt x="315" y="45"/>
                  <a:pt x="316" y="45"/>
                </a:cubicBezTo>
                <a:cubicBezTo>
                  <a:pt x="313" y="46"/>
                  <a:pt x="309" y="47"/>
                  <a:pt x="308" y="47"/>
                </a:cubicBezTo>
                <a:close/>
                <a:moveTo>
                  <a:pt x="302" y="21"/>
                </a:moveTo>
                <a:cubicBezTo>
                  <a:pt x="305" y="21"/>
                  <a:pt x="305" y="20"/>
                  <a:pt x="306" y="20"/>
                </a:cubicBezTo>
                <a:cubicBezTo>
                  <a:pt x="306" y="19"/>
                  <a:pt x="307" y="19"/>
                  <a:pt x="307" y="19"/>
                </a:cubicBezTo>
                <a:cubicBezTo>
                  <a:pt x="304" y="20"/>
                  <a:pt x="303" y="20"/>
                  <a:pt x="302" y="21"/>
                </a:cubicBezTo>
                <a:close/>
                <a:moveTo>
                  <a:pt x="314" y="52"/>
                </a:moveTo>
                <a:cubicBezTo>
                  <a:pt x="313" y="52"/>
                  <a:pt x="311" y="53"/>
                  <a:pt x="311" y="53"/>
                </a:cubicBezTo>
                <a:cubicBezTo>
                  <a:pt x="314" y="52"/>
                  <a:pt x="313" y="53"/>
                  <a:pt x="315" y="52"/>
                </a:cubicBezTo>
                <a:cubicBezTo>
                  <a:pt x="315" y="52"/>
                  <a:pt x="315" y="52"/>
                  <a:pt x="314" y="52"/>
                </a:cubicBezTo>
                <a:close/>
                <a:moveTo>
                  <a:pt x="309" y="42"/>
                </a:moveTo>
                <a:cubicBezTo>
                  <a:pt x="307" y="43"/>
                  <a:pt x="305" y="43"/>
                  <a:pt x="304" y="44"/>
                </a:cubicBezTo>
                <a:cubicBezTo>
                  <a:pt x="306" y="44"/>
                  <a:pt x="309" y="43"/>
                  <a:pt x="310" y="42"/>
                </a:cubicBezTo>
                <a:cubicBezTo>
                  <a:pt x="310" y="42"/>
                  <a:pt x="310" y="41"/>
                  <a:pt x="309" y="41"/>
                </a:cubicBezTo>
                <a:lnTo>
                  <a:pt x="309" y="42"/>
                </a:lnTo>
                <a:close/>
                <a:moveTo>
                  <a:pt x="306" y="49"/>
                </a:moveTo>
                <a:cubicBezTo>
                  <a:pt x="308" y="49"/>
                  <a:pt x="309" y="49"/>
                  <a:pt x="310" y="49"/>
                </a:cubicBezTo>
                <a:cubicBezTo>
                  <a:pt x="310" y="48"/>
                  <a:pt x="310" y="48"/>
                  <a:pt x="311" y="48"/>
                </a:cubicBezTo>
                <a:cubicBezTo>
                  <a:pt x="311" y="48"/>
                  <a:pt x="311" y="48"/>
                  <a:pt x="311" y="48"/>
                </a:cubicBezTo>
                <a:cubicBezTo>
                  <a:pt x="308" y="49"/>
                  <a:pt x="307" y="48"/>
                  <a:pt x="306" y="49"/>
                </a:cubicBezTo>
                <a:close/>
                <a:moveTo>
                  <a:pt x="306" y="51"/>
                </a:moveTo>
                <a:cubicBezTo>
                  <a:pt x="307" y="51"/>
                  <a:pt x="308" y="50"/>
                  <a:pt x="309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07" y="50"/>
                  <a:pt x="304" y="51"/>
                  <a:pt x="306" y="51"/>
                </a:cubicBezTo>
                <a:close/>
                <a:moveTo>
                  <a:pt x="307" y="53"/>
                </a:moveTo>
                <a:cubicBezTo>
                  <a:pt x="309" y="53"/>
                  <a:pt x="306" y="54"/>
                  <a:pt x="306" y="54"/>
                </a:cubicBezTo>
                <a:cubicBezTo>
                  <a:pt x="309" y="54"/>
                  <a:pt x="310" y="53"/>
                  <a:pt x="311" y="52"/>
                </a:cubicBezTo>
                <a:cubicBezTo>
                  <a:pt x="310" y="52"/>
                  <a:pt x="308" y="53"/>
                  <a:pt x="307" y="53"/>
                </a:cubicBezTo>
                <a:close/>
                <a:moveTo>
                  <a:pt x="308" y="54"/>
                </a:moveTo>
                <a:cubicBezTo>
                  <a:pt x="305" y="55"/>
                  <a:pt x="306" y="55"/>
                  <a:pt x="305" y="56"/>
                </a:cubicBezTo>
                <a:cubicBezTo>
                  <a:pt x="308" y="55"/>
                  <a:pt x="309" y="56"/>
                  <a:pt x="310" y="55"/>
                </a:cubicBezTo>
                <a:cubicBezTo>
                  <a:pt x="308" y="55"/>
                  <a:pt x="308" y="55"/>
                  <a:pt x="308" y="54"/>
                </a:cubicBezTo>
                <a:close/>
                <a:moveTo>
                  <a:pt x="302" y="38"/>
                </a:moveTo>
                <a:cubicBezTo>
                  <a:pt x="300" y="39"/>
                  <a:pt x="300" y="39"/>
                  <a:pt x="300" y="40"/>
                </a:cubicBezTo>
                <a:cubicBezTo>
                  <a:pt x="303" y="39"/>
                  <a:pt x="303" y="39"/>
                  <a:pt x="302" y="38"/>
                </a:cubicBezTo>
                <a:close/>
                <a:moveTo>
                  <a:pt x="301" y="46"/>
                </a:moveTo>
                <a:cubicBezTo>
                  <a:pt x="300" y="47"/>
                  <a:pt x="300" y="47"/>
                  <a:pt x="299" y="47"/>
                </a:cubicBezTo>
                <a:cubicBezTo>
                  <a:pt x="299" y="47"/>
                  <a:pt x="297" y="48"/>
                  <a:pt x="299" y="48"/>
                </a:cubicBezTo>
                <a:cubicBezTo>
                  <a:pt x="300" y="47"/>
                  <a:pt x="305" y="45"/>
                  <a:pt x="302" y="46"/>
                </a:cubicBezTo>
                <a:cubicBezTo>
                  <a:pt x="302" y="46"/>
                  <a:pt x="301" y="46"/>
                  <a:pt x="301" y="46"/>
                </a:cubicBezTo>
                <a:close/>
                <a:moveTo>
                  <a:pt x="300" y="51"/>
                </a:moveTo>
                <a:cubicBezTo>
                  <a:pt x="300" y="51"/>
                  <a:pt x="303" y="50"/>
                  <a:pt x="303" y="50"/>
                </a:cubicBezTo>
                <a:cubicBezTo>
                  <a:pt x="301" y="50"/>
                  <a:pt x="297" y="52"/>
                  <a:pt x="300" y="51"/>
                </a:cubicBezTo>
                <a:close/>
                <a:moveTo>
                  <a:pt x="296" y="41"/>
                </a:moveTo>
                <a:cubicBezTo>
                  <a:pt x="296" y="40"/>
                  <a:pt x="297" y="40"/>
                  <a:pt x="297" y="40"/>
                </a:cubicBezTo>
                <a:cubicBezTo>
                  <a:pt x="294" y="40"/>
                  <a:pt x="293" y="42"/>
                  <a:pt x="296" y="41"/>
                </a:cubicBezTo>
                <a:close/>
                <a:moveTo>
                  <a:pt x="295" y="49"/>
                </a:moveTo>
                <a:cubicBezTo>
                  <a:pt x="293" y="50"/>
                  <a:pt x="294" y="51"/>
                  <a:pt x="297" y="51"/>
                </a:cubicBezTo>
                <a:cubicBezTo>
                  <a:pt x="298" y="50"/>
                  <a:pt x="294" y="50"/>
                  <a:pt x="297" y="49"/>
                </a:cubicBezTo>
                <a:cubicBezTo>
                  <a:pt x="296" y="49"/>
                  <a:pt x="296" y="49"/>
                  <a:pt x="295" y="49"/>
                </a:cubicBezTo>
                <a:close/>
                <a:moveTo>
                  <a:pt x="296" y="54"/>
                </a:moveTo>
                <a:cubicBezTo>
                  <a:pt x="296" y="55"/>
                  <a:pt x="294" y="55"/>
                  <a:pt x="294" y="55"/>
                </a:cubicBezTo>
                <a:cubicBezTo>
                  <a:pt x="294" y="56"/>
                  <a:pt x="294" y="56"/>
                  <a:pt x="295" y="57"/>
                </a:cubicBezTo>
                <a:cubicBezTo>
                  <a:pt x="293" y="57"/>
                  <a:pt x="293" y="57"/>
                  <a:pt x="293" y="57"/>
                </a:cubicBezTo>
                <a:cubicBezTo>
                  <a:pt x="293" y="58"/>
                  <a:pt x="293" y="58"/>
                  <a:pt x="292" y="58"/>
                </a:cubicBezTo>
                <a:cubicBezTo>
                  <a:pt x="294" y="58"/>
                  <a:pt x="294" y="58"/>
                  <a:pt x="295" y="58"/>
                </a:cubicBezTo>
                <a:cubicBezTo>
                  <a:pt x="293" y="58"/>
                  <a:pt x="293" y="57"/>
                  <a:pt x="297" y="57"/>
                </a:cubicBezTo>
                <a:cubicBezTo>
                  <a:pt x="297" y="56"/>
                  <a:pt x="295" y="56"/>
                  <a:pt x="295" y="56"/>
                </a:cubicBezTo>
                <a:cubicBezTo>
                  <a:pt x="295" y="55"/>
                  <a:pt x="299" y="54"/>
                  <a:pt x="298" y="54"/>
                </a:cubicBezTo>
                <a:cubicBezTo>
                  <a:pt x="297" y="55"/>
                  <a:pt x="297" y="54"/>
                  <a:pt x="296" y="54"/>
                </a:cubicBezTo>
                <a:close/>
                <a:moveTo>
                  <a:pt x="286" y="51"/>
                </a:moveTo>
                <a:cubicBezTo>
                  <a:pt x="286" y="52"/>
                  <a:pt x="282" y="52"/>
                  <a:pt x="282" y="53"/>
                </a:cubicBezTo>
                <a:cubicBezTo>
                  <a:pt x="285" y="52"/>
                  <a:pt x="292" y="51"/>
                  <a:pt x="293" y="49"/>
                </a:cubicBezTo>
                <a:cubicBezTo>
                  <a:pt x="289" y="50"/>
                  <a:pt x="289" y="51"/>
                  <a:pt x="286" y="51"/>
                </a:cubicBezTo>
                <a:close/>
                <a:moveTo>
                  <a:pt x="287" y="58"/>
                </a:moveTo>
                <a:cubicBezTo>
                  <a:pt x="291" y="56"/>
                  <a:pt x="292" y="55"/>
                  <a:pt x="293" y="54"/>
                </a:cubicBezTo>
                <a:cubicBezTo>
                  <a:pt x="288" y="56"/>
                  <a:pt x="290" y="56"/>
                  <a:pt x="287" y="58"/>
                </a:cubicBezTo>
                <a:close/>
                <a:moveTo>
                  <a:pt x="286" y="51"/>
                </a:moveTo>
                <a:cubicBezTo>
                  <a:pt x="288" y="50"/>
                  <a:pt x="291" y="49"/>
                  <a:pt x="291" y="48"/>
                </a:cubicBezTo>
                <a:cubicBezTo>
                  <a:pt x="289" y="49"/>
                  <a:pt x="285" y="51"/>
                  <a:pt x="286" y="51"/>
                </a:cubicBezTo>
                <a:close/>
                <a:moveTo>
                  <a:pt x="288" y="60"/>
                </a:moveTo>
                <a:cubicBezTo>
                  <a:pt x="289" y="60"/>
                  <a:pt x="294" y="59"/>
                  <a:pt x="294" y="59"/>
                </a:cubicBezTo>
                <a:cubicBezTo>
                  <a:pt x="293" y="59"/>
                  <a:pt x="289" y="59"/>
                  <a:pt x="288" y="60"/>
                </a:cubicBezTo>
                <a:close/>
                <a:moveTo>
                  <a:pt x="283" y="27"/>
                </a:moveTo>
                <a:cubicBezTo>
                  <a:pt x="276" y="29"/>
                  <a:pt x="276" y="29"/>
                  <a:pt x="276" y="29"/>
                </a:cubicBezTo>
                <a:cubicBezTo>
                  <a:pt x="277" y="30"/>
                  <a:pt x="274" y="30"/>
                  <a:pt x="274" y="31"/>
                </a:cubicBezTo>
                <a:cubicBezTo>
                  <a:pt x="278" y="29"/>
                  <a:pt x="276" y="29"/>
                  <a:pt x="281" y="28"/>
                </a:cubicBezTo>
                <a:cubicBezTo>
                  <a:pt x="281" y="28"/>
                  <a:pt x="279" y="29"/>
                  <a:pt x="280" y="29"/>
                </a:cubicBezTo>
                <a:cubicBezTo>
                  <a:pt x="282" y="28"/>
                  <a:pt x="282" y="29"/>
                  <a:pt x="284" y="28"/>
                </a:cubicBezTo>
                <a:cubicBezTo>
                  <a:pt x="285" y="27"/>
                  <a:pt x="281" y="28"/>
                  <a:pt x="283" y="27"/>
                </a:cubicBezTo>
                <a:close/>
                <a:moveTo>
                  <a:pt x="291" y="52"/>
                </a:moveTo>
                <a:cubicBezTo>
                  <a:pt x="291" y="51"/>
                  <a:pt x="289" y="52"/>
                  <a:pt x="291" y="51"/>
                </a:cubicBezTo>
                <a:cubicBezTo>
                  <a:pt x="285" y="53"/>
                  <a:pt x="289" y="53"/>
                  <a:pt x="291" y="52"/>
                </a:cubicBezTo>
                <a:close/>
                <a:moveTo>
                  <a:pt x="282" y="46"/>
                </a:moveTo>
                <a:cubicBezTo>
                  <a:pt x="282" y="46"/>
                  <a:pt x="281" y="46"/>
                  <a:pt x="281" y="47"/>
                </a:cubicBezTo>
                <a:cubicBezTo>
                  <a:pt x="283" y="46"/>
                  <a:pt x="285" y="46"/>
                  <a:pt x="286" y="45"/>
                </a:cubicBezTo>
                <a:cubicBezTo>
                  <a:pt x="284" y="45"/>
                  <a:pt x="284" y="45"/>
                  <a:pt x="282" y="46"/>
                </a:cubicBezTo>
                <a:close/>
                <a:moveTo>
                  <a:pt x="275" y="46"/>
                </a:moveTo>
                <a:cubicBezTo>
                  <a:pt x="277" y="46"/>
                  <a:pt x="280" y="44"/>
                  <a:pt x="281" y="44"/>
                </a:cubicBezTo>
                <a:cubicBezTo>
                  <a:pt x="282" y="44"/>
                  <a:pt x="286" y="42"/>
                  <a:pt x="284" y="42"/>
                </a:cubicBezTo>
                <a:cubicBezTo>
                  <a:pt x="283" y="43"/>
                  <a:pt x="276" y="45"/>
                  <a:pt x="275" y="46"/>
                </a:cubicBezTo>
                <a:close/>
                <a:moveTo>
                  <a:pt x="284" y="57"/>
                </a:moveTo>
                <a:cubicBezTo>
                  <a:pt x="285" y="56"/>
                  <a:pt x="283" y="55"/>
                  <a:pt x="287" y="54"/>
                </a:cubicBezTo>
                <a:cubicBezTo>
                  <a:pt x="288" y="53"/>
                  <a:pt x="286" y="54"/>
                  <a:pt x="285" y="54"/>
                </a:cubicBezTo>
                <a:cubicBezTo>
                  <a:pt x="284" y="55"/>
                  <a:pt x="285" y="55"/>
                  <a:pt x="283" y="56"/>
                </a:cubicBezTo>
                <a:cubicBezTo>
                  <a:pt x="282" y="56"/>
                  <a:pt x="285" y="56"/>
                  <a:pt x="281" y="57"/>
                </a:cubicBezTo>
                <a:cubicBezTo>
                  <a:pt x="281" y="58"/>
                  <a:pt x="283" y="57"/>
                  <a:pt x="284" y="57"/>
                </a:cubicBezTo>
                <a:cubicBezTo>
                  <a:pt x="283" y="57"/>
                  <a:pt x="283" y="57"/>
                  <a:pt x="284" y="57"/>
                </a:cubicBezTo>
                <a:close/>
                <a:moveTo>
                  <a:pt x="279" y="43"/>
                </a:moveTo>
                <a:cubicBezTo>
                  <a:pt x="279" y="43"/>
                  <a:pt x="279" y="43"/>
                  <a:pt x="280" y="43"/>
                </a:cubicBezTo>
                <a:cubicBezTo>
                  <a:pt x="280" y="43"/>
                  <a:pt x="283" y="42"/>
                  <a:pt x="283" y="42"/>
                </a:cubicBezTo>
                <a:cubicBezTo>
                  <a:pt x="281" y="42"/>
                  <a:pt x="281" y="42"/>
                  <a:pt x="279" y="43"/>
                </a:cubicBezTo>
                <a:close/>
                <a:moveTo>
                  <a:pt x="273" y="49"/>
                </a:moveTo>
                <a:cubicBezTo>
                  <a:pt x="277" y="47"/>
                  <a:pt x="276" y="49"/>
                  <a:pt x="277" y="48"/>
                </a:cubicBezTo>
                <a:cubicBezTo>
                  <a:pt x="278" y="48"/>
                  <a:pt x="278" y="48"/>
                  <a:pt x="278" y="47"/>
                </a:cubicBezTo>
                <a:cubicBezTo>
                  <a:pt x="276" y="48"/>
                  <a:pt x="274" y="48"/>
                  <a:pt x="273" y="49"/>
                </a:cubicBezTo>
                <a:close/>
                <a:moveTo>
                  <a:pt x="274" y="62"/>
                </a:moveTo>
                <a:cubicBezTo>
                  <a:pt x="273" y="62"/>
                  <a:pt x="272" y="63"/>
                  <a:pt x="272" y="63"/>
                </a:cubicBezTo>
                <a:cubicBezTo>
                  <a:pt x="273" y="62"/>
                  <a:pt x="274" y="63"/>
                  <a:pt x="275" y="62"/>
                </a:cubicBezTo>
                <a:cubicBezTo>
                  <a:pt x="274" y="62"/>
                  <a:pt x="281" y="60"/>
                  <a:pt x="282" y="59"/>
                </a:cubicBezTo>
                <a:cubicBezTo>
                  <a:pt x="281" y="60"/>
                  <a:pt x="280" y="60"/>
                  <a:pt x="280" y="60"/>
                </a:cubicBezTo>
                <a:cubicBezTo>
                  <a:pt x="279" y="60"/>
                  <a:pt x="280" y="59"/>
                  <a:pt x="278" y="59"/>
                </a:cubicBezTo>
                <a:cubicBezTo>
                  <a:pt x="279" y="60"/>
                  <a:pt x="277" y="60"/>
                  <a:pt x="275" y="61"/>
                </a:cubicBezTo>
                <a:cubicBezTo>
                  <a:pt x="276" y="61"/>
                  <a:pt x="275" y="61"/>
                  <a:pt x="274" y="62"/>
                </a:cubicBezTo>
                <a:close/>
                <a:moveTo>
                  <a:pt x="270" y="48"/>
                </a:moveTo>
                <a:cubicBezTo>
                  <a:pt x="270" y="49"/>
                  <a:pt x="273" y="48"/>
                  <a:pt x="276" y="47"/>
                </a:cubicBezTo>
                <a:cubicBezTo>
                  <a:pt x="273" y="47"/>
                  <a:pt x="273" y="46"/>
                  <a:pt x="271" y="47"/>
                </a:cubicBezTo>
                <a:cubicBezTo>
                  <a:pt x="272" y="47"/>
                  <a:pt x="274" y="47"/>
                  <a:pt x="270" y="48"/>
                </a:cubicBezTo>
                <a:close/>
                <a:moveTo>
                  <a:pt x="276" y="60"/>
                </a:moveTo>
                <a:cubicBezTo>
                  <a:pt x="276" y="60"/>
                  <a:pt x="277" y="59"/>
                  <a:pt x="276" y="59"/>
                </a:cubicBezTo>
                <a:cubicBezTo>
                  <a:pt x="270" y="61"/>
                  <a:pt x="269" y="62"/>
                  <a:pt x="276" y="60"/>
                </a:cubicBezTo>
                <a:close/>
                <a:moveTo>
                  <a:pt x="264" y="34"/>
                </a:moveTo>
                <a:cubicBezTo>
                  <a:pt x="262" y="34"/>
                  <a:pt x="261" y="35"/>
                  <a:pt x="261" y="35"/>
                </a:cubicBezTo>
                <a:cubicBezTo>
                  <a:pt x="263" y="35"/>
                  <a:pt x="265" y="34"/>
                  <a:pt x="265" y="34"/>
                </a:cubicBezTo>
                <a:cubicBezTo>
                  <a:pt x="264" y="34"/>
                  <a:pt x="264" y="34"/>
                  <a:pt x="264" y="34"/>
                </a:cubicBezTo>
                <a:close/>
                <a:moveTo>
                  <a:pt x="248" y="40"/>
                </a:moveTo>
                <a:cubicBezTo>
                  <a:pt x="250" y="40"/>
                  <a:pt x="247" y="41"/>
                  <a:pt x="248" y="41"/>
                </a:cubicBezTo>
                <a:cubicBezTo>
                  <a:pt x="251" y="40"/>
                  <a:pt x="250" y="40"/>
                  <a:pt x="252" y="39"/>
                </a:cubicBezTo>
                <a:cubicBezTo>
                  <a:pt x="252" y="39"/>
                  <a:pt x="252" y="40"/>
                  <a:pt x="253" y="39"/>
                </a:cubicBezTo>
                <a:cubicBezTo>
                  <a:pt x="254" y="39"/>
                  <a:pt x="253" y="39"/>
                  <a:pt x="254" y="38"/>
                </a:cubicBezTo>
                <a:cubicBezTo>
                  <a:pt x="257" y="37"/>
                  <a:pt x="256" y="38"/>
                  <a:pt x="259" y="36"/>
                </a:cubicBezTo>
                <a:cubicBezTo>
                  <a:pt x="260" y="36"/>
                  <a:pt x="260" y="36"/>
                  <a:pt x="260" y="35"/>
                </a:cubicBezTo>
                <a:cubicBezTo>
                  <a:pt x="258" y="36"/>
                  <a:pt x="258" y="36"/>
                  <a:pt x="256" y="36"/>
                </a:cubicBezTo>
                <a:cubicBezTo>
                  <a:pt x="258" y="36"/>
                  <a:pt x="253" y="38"/>
                  <a:pt x="254" y="37"/>
                </a:cubicBezTo>
                <a:cubicBezTo>
                  <a:pt x="251" y="38"/>
                  <a:pt x="252" y="39"/>
                  <a:pt x="250" y="40"/>
                </a:cubicBezTo>
                <a:cubicBezTo>
                  <a:pt x="250" y="39"/>
                  <a:pt x="251" y="39"/>
                  <a:pt x="250" y="39"/>
                </a:cubicBezTo>
                <a:cubicBezTo>
                  <a:pt x="245" y="41"/>
                  <a:pt x="242" y="42"/>
                  <a:pt x="238" y="44"/>
                </a:cubicBezTo>
                <a:cubicBezTo>
                  <a:pt x="237" y="45"/>
                  <a:pt x="241" y="44"/>
                  <a:pt x="239" y="45"/>
                </a:cubicBezTo>
                <a:cubicBezTo>
                  <a:pt x="235" y="46"/>
                  <a:pt x="238" y="43"/>
                  <a:pt x="235" y="45"/>
                </a:cubicBezTo>
                <a:cubicBezTo>
                  <a:pt x="236" y="45"/>
                  <a:pt x="236" y="46"/>
                  <a:pt x="238" y="45"/>
                </a:cubicBezTo>
                <a:cubicBezTo>
                  <a:pt x="239" y="44"/>
                  <a:pt x="241" y="44"/>
                  <a:pt x="242" y="44"/>
                </a:cubicBezTo>
                <a:cubicBezTo>
                  <a:pt x="243" y="43"/>
                  <a:pt x="241" y="44"/>
                  <a:pt x="242" y="43"/>
                </a:cubicBezTo>
                <a:cubicBezTo>
                  <a:pt x="245" y="42"/>
                  <a:pt x="246" y="41"/>
                  <a:pt x="248" y="40"/>
                </a:cubicBezTo>
                <a:close/>
                <a:moveTo>
                  <a:pt x="253" y="56"/>
                </a:moveTo>
                <a:cubicBezTo>
                  <a:pt x="253" y="57"/>
                  <a:pt x="253" y="57"/>
                  <a:pt x="254" y="57"/>
                </a:cubicBezTo>
                <a:cubicBezTo>
                  <a:pt x="257" y="55"/>
                  <a:pt x="256" y="56"/>
                  <a:pt x="258" y="55"/>
                </a:cubicBezTo>
                <a:cubicBezTo>
                  <a:pt x="258" y="55"/>
                  <a:pt x="263" y="53"/>
                  <a:pt x="264" y="52"/>
                </a:cubicBezTo>
                <a:cubicBezTo>
                  <a:pt x="260" y="53"/>
                  <a:pt x="255" y="56"/>
                  <a:pt x="253" y="56"/>
                </a:cubicBezTo>
                <a:close/>
                <a:moveTo>
                  <a:pt x="264" y="64"/>
                </a:moveTo>
                <a:cubicBezTo>
                  <a:pt x="267" y="64"/>
                  <a:pt x="264" y="65"/>
                  <a:pt x="263" y="65"/>
                </a:cubicBezTo>
                <a:cubicBezTo>
                  <a:pt x="263" y="66"/>
                  <a:pt x="263" y="66"/>
                  <a:pt x="264" y="66"/>
                </a:cubicBezTo>
                <a:cubicBezTo>
                  <a:pt x="264" y="65"/>
                  <a:pt x="265" y="66"/>
                  <a:pt x="267" y="65"/>
                </a:cubicBezTo>
                <a:cubicBezTo>
                  <a:pt x="268" y="64"/>
                  <a:pt x="268" y="64"/>
                  <a:pt x="268" y="63"/>
                </a:cubicBezTo>
                <a:cubicBezTo>
                  <a:pt x="267" y="64"/>
                  <a:pt x="265" y="63"/>
                  <a:pt x="264" y="64"/>
                </a:cubicBezTo>
                <a:close/>
                <a:moveTo>
                  <a:pt x="261" y="65"/>
                </a:moveTo>
                <a:cubicBezTo>
                  <a:pt x="261" y="65"/>
                  <a:pt x="261" y="65"/>
                  <a:pt x="261" y="65"/>
                </a:cubicBezTo>
                <a:cubicBezTo>
                  <a:pt x="263" y="65"/>
                  <a:pt x="266" y="63"/>
                  <a:pt x="264" y="63"/>
                </a:cubicBezTo>
                <a:cubicBezTo>
                  <a:pt x="264" y="64"/>
                  <a:pt x="263" y="64"/>
                  <a:pt x="261" y="65"/>
                </a:cubicBezTo>
                <a:close/>
                <a:moveTo>
                  <a:pt x="253" y="68"/>
                </a:moveTo>
                <a:cubicBezTo>
                  <a:pt x="255" y="68"/>
                  <a:pt x="258" y="67"/>
                  <a:pt x="259" y="67"/>
                </a:cubicBezTo>
                <a:cubicBezTo>
                  <a:pt x="258" y="67"/>
                  <a:pt x="261" y="66"/>
                  <a:pt x="260" y="66"/>
                </a:cubicBezTo>
                <a:cubicBezTo>
                  <a:pt x="257" y="67"/>
                  <a:pt x="256" y="67"/>
                  <a:pt x="253" y="68"/>
                </a:cubicBezTo>
                <a:close/>
                <a:moveTo>
                  <a:pt x="256" y="64"/>
                </a:moveTo>
                <a:cubicBezTo>
                  <a:pt x="258" y="64"/>
                  <a:pt x="255" y="65"/>
                  <a:pt x="257" y="65"/>
                </a:cubicBezTo>
                <a:cubicBezTo>
                  <a:pt x="258" y="64"/>
                  <a:pt x="257" y="64"/>
                  <a:pt x="258" y="63"/>
                </a:cubicBezTo>
                <a:lnTo>
                  <a:pt x="256" y="64"/>
                </a:lnTo>
                <a:close/>
                <a:moveTo>
                  <a:pt x="249" y="75"/>
                </a:moveTo>
                <a:cubicBezTo>
                  <a:pt x="249" y="75"/>
                  <a:pt x="249" y="75"/>
                  <a:pt x="248" y="75"/>
                </a:cubicBezTo>
                <a:cubicBezTo>
                  <a:pt x="247" y="75"/>
                  <a:pt x="250" y="73"/>
                  <a:pt x="247" y="74"/>
                </a:cubicBezTo>
                <a:cubicBezTo>
                  <a:pt x="250" y="74"/>
                  <a:pt x="243" y="77"/>
                  <a:pt x="246" y="77"/>
                </a:cubicBezTo>
                <a:cubicBezTo>
                  <a:pt x="246" y="77"/>
                  <a:pt x="247" y="76"/>
                  <a:pt x="247" y="76"/>
                </a:cubicBezTo>
                <a:cubicBezTo>
                  <a:pt x="246" y="77"/>
                  <a:pt x="246" y="77"/>
                  <a:pt x="247" y="77"/>
                </a:cubicBezTo>
                <a:cubicBezTo>
                  <a:pt x="249" y="75"/>
                  <a:pt x="255" y="74"/>
                  <a:pt x="257" y="72"/>
                </a:cubicBezTo>
                <a:cubicBezTo>
                  <a:pt x="255" y="72"/>
                  <a:pt x="252" y="74"/>
                  <a:pt x="249" y="75"/>
                </a:cubicBezTo>
                <a:close/>
                <a:moveTo>
                  <a:pt x="248" y="62"/>
                </a:moveTo>
                <a:cubicBezTo>
                  <a:pt x="250" y="61"/>
                  <a:pt x="251" y="61"/>
                  <a:pt x="251" y="60"/>
                </a:cubicBezTo>
                <a:cubicBezTo>
                  <a:pt x="249" y="61"/>
                  <a:pt x="248" y="62"/>
                  <a:pt x="248" y="62"/>
                </a:cubicBezTo>
                <a:close/>
                <a:moveTo>
                  <a:pt x="246" y="67"/>
                </a:moveTo>
                <a:cubicBezTo>
                  <a:pt x="243" y="68"/>
                  <a:pt x="245" y="69"/>
                  <a:pt x="248" y="68"/>
                </a:cubicBezTo>
                <a:cubicBezTo>
                  <a:pt x="248" y="67"/>
                  <a:pt x="246" y="68"/>
                  <a:pt x="246" y="67"/>
                </a:cubicBezTo>
                <a:close/>
                <a:moveTo>
                  <a:pt x="244" y="65"/>
                </a:moveTo>
                <a:cubicBezTo>
                  <a:pt x="243" y="65"/>
                  <a:pt x="245" y="64"/>
                  <a:pt x="245" y="63"/>
                </a:cubicBezTo>
                <a:cubicBezTo>
                  <a:pt x="242" y="64"/>
                  <a:pt x="242" y="66"/>
                  <a:pt x="244" y="65"/>
                </a:cubicBezTo>
                <a:close/>
                <a:moveTo>
                  <a:pt x="241" y="72"/>
                </a:moveTo>
                <a:cubicBezTo>
                  <a:pt x="241" y="72"/>
                  <a:pt x="241" y="71"/>
                  <a:pt x="240" y="71"/>
                </a:cubicBezTo>
                <a:cubicBezTo>
                  <a:pt x="240" y="72"/>
                  <a:pt x="239" y="72"/>
                  <a:pt x="239" y="72"/>
                </a:cubicBezTo>
                <a:cubicBezTo>
                  <a:pt x="239" y="72"/>
                  <a:pt x="238" y="73"/>
                  <a:pt x="238" y="73"/>
                </a:cubicBezTo>
                <a:cubicBezTo>
                  <a:pt x="242" y="71"/>
                  <a:pt x="237" y="74"/>
                  <a:pt x="239" y="74"/>
                </a:cubicBezTo>
                <a:cubicBezTo>
                  <a:pt x="243" y="71"/>
                  <a:pt x="246" y="72"/>
                  <a:pt x="248" y="70"/>
                </a:cubicBezTo>
                <a:cubicBezTo>
                  <a:pt x="245" y="70"/>
                  <a:pt x="241" y="73"/>
                  <a:pt x="239" y="73"/>
                </a:cubicBezTo>
                <a:cubicBezTo>
                  <a:pt x="239" y="73"/>
                  <a:pt x="240" y="72"/>
                  <a:pt x="241" y="72"/>
                </a:cubicBezTo>
                <a:close/>
                <a:moveTo>
                  <a:pt x="239" y="71"/>
                </a:moveTo>
                <a:cubicBezTo>
                  <a:pt x="236" y="72"/>
                  <a:pt x="237" y="73"/>
                  <a:pt x="236" y="74"/>
                </a:cubicBezTo>
                <a:cubicBezTo>
                  <a:pt x="238" y="73"/>
                  <a:pt x="239" y="72"/>
                  <a:pt x="239" y="71"/>
                </a:cubicBezTo>
                <a:close/>
                <a:moveTo>
                  <a:pt x="226" y="49"/>
                </a:moveTo>
                <a:cubicBezTo>
                  <a:pt x="226" y="48"/>
                  <a:pt x="225" y="49"/>
                  <a:pt x="227" y="47"/>
                </a:cubicBezTo>
                <a:cubicBezTo>
                  <a:pt x="225" y="49"/>
                  <a:pt x="222" y="49"/>
                  <a:pt x="221" y="51"/>
                </a:cubicBezTo>
                <a:cubicBezTo>
                  <a:pt x="225" y="49"/>
                  <a:pt x="224" y="50"/>
                  <a:pt x="226" y="50"/>
                </a:cubicBezTo>
                <a:cubicBezTo>
                  <a:pt x="224" y="51"/>
                  <a:pt x="224" y="51"/>
                  <a:pt x="222" y="51"/>
                </a:cubicBezTo>
                <a:cubicBezTo>
                  <a:pt x="223" y="52"/>
                  <a:pt x="227" y="50"/>
                  <a:pt x="230" y="49"/>
                </a:cubicBezTo>
                <a:cubicBezTo>
                  <a:pt x="230" y="48"/>
                  <a:pt x="230" y="48"/>
                  <a:pt x="231" y="47"/>
                </a:cubicBezTo>
                <a:cubicBezTo>
                  <a:pt x="231" y="47"/>
                  <a:pt x="231" y="48"/>
                  <a:pt x="233" y="47"/>
                </a:cubicBezTo>
                <a:cubicBezTo>
                  <a:pt x="233" y="46"/>
                  <a:pt x="233" y="46"/>
                  <a:pt x="233" y="46"/>
                </a:cubicBezTo>
                <a:cubicBezTo>
                  <a:pt x="229" y="48"/>
                  <a:pt x="228" y="48"/>
                  <a:pt x="226" y="49"/>
                </a:cubicBezTo>
                <a:close/>
                <a:moveTo>
                  <a:pt x="235" y="57"/>
                </a:moveTo>
                <a:cubicBezTo>
                  <a:pt x="233" y="58"/>
                  <a:pt x="231" y="59"/>
                  <a:pt x="230" y="59"/>
                </a:cubicBezTo>
                <a:cubicBezTo>
                  <a:pt x="228" y="60"/>
                  <a:pt x="231" y="59"/>
                  <a:pt x="232" y="59"/>
                </a:cubicBezTo>
                <a:cubicBezTo>
                  <a:pt x="232" y="59"/>
                  <a:pt x="231" y="59"/>
                  <a:pt x="233" y="58"/>
                </a:cubicBezTo>
                <a:cubicBezTo>
                  <a:pt x="233" y="58"/>
                  <a:pt x="233" y="59"/>
                  <a:pt x="232" y="59"/>
                </a:cubicBezTo>
                <a:cubicBezTo>
                  <a:pt x="234" y="58"/>
                  <a:pt x="236" y="58"/>
                  <a:pt x="236" y="57"/>
                </a:cubicBezTo>
                <a:cubicBezTo>
                  <a:pt x="235" y="57"/>
                  <a:pt x="235" y="57"/>
                  <a:pt x="235" y="57"/>
                </a:cubicBezTo>
                <a:close/>
                <a:moveTo>
                  <a:pt x="235" y="64"/>
                </a:moveTo>
                <a:cubicBezTo>
                  <a:pt x="237" y="63"/>
                  <a:pt x="235" y="65"/>
                  <a:pt x="235" y="65"/>
                </a:cubicBezTo>
                <a:cubicBezTo>
                  <a:pt x="238" y="64"/>
                  <a:pt x="238" y="64"/>
                  <a:pt x="238" y="63"/>
                </a:cubicBezTo>
                <a:cubicBezTo>
                  <a:pt x="237" y="64"/>
                  <a:pt x="235" y="64"/>
                  <a:pt x="235" y="64"/>
                </a:cubicBezTo>
                <a:close/>
                <a:moveTo>
                  <a:pt x="230" y="61"/>
                </a:moveTo>
                <a:cubicBezTo>
                  <a:pt x="230" y="61"/>
                  <a:pt x="228" y="63"/>
                  <a:pt x="231" y="62"/>
                </a:cubicBezTo>
                <a:cubicBezTo>
                  <a:pt x="230" y="62"/>
                  <a:pt x="232" y="60"/>
                  <a:pt x="232" y="60"/>
                </a:cubicBezTo>
                <a:cubicBezTo>
                  <a:pt x="231" y="60"/>
                  <a:pt x="230" y="61"/>
                  <a:pt x="230" y="61"/>
                </a:cubicBezTo>
                <a:close/>
                <a:moveTo>
                  <a:pt x="227" y="61"/>
                </a:moveTo>
                <a:cubicBezTo>
                  <a:pt x="227" y="62"/>
                  <a:pt x="227" y="62"/>
                  <a:pt x="227" y="62"/>
                </a:cubicBezTo>
                <a:cubicBezTo>
                  <a:pt x="228" y="61"/>
                  <a:pt x="229" y="60"/>
                  <a:pt x="230" y="60"/>
                </a:cubicBezTo>
                <a:cubicBezTo>
                  <a:pt x="230" y="60"/>
                  <a:pt x="229" y="60"/>
                  <a:pt x="227" y="61"/>
                </a:cubicBezTo>
                <a:close/>
                <a:moveTo>
                  <a:pt x="225" y="71"/>
                </a:moveTo>
                <a:cubicBezTo>
                  <a:pt x="228" y="69"/>
                  <a:pt x="229" y="68"/>
                  <a:pt x="232" y="66"/>
                </a:cubicBezTo>
                <a:cubicBezTo>
                  <a:pt x="230" y="67"/>
                  <a:pt x="232" y="66"/>
                  <a:pt x="232" y="65"/>
                </a:cubicBezTo>
                <a:cubicBezTo>
                  <a:pt x="230" y="67"/>
                  <a:pt x="226" y="67"/>
                  <a:pt x="226" y="68"/>
                </a:cubicBezTo>
                <a:cubicBezTo>
                  <a:pt x="227" y="69"/>
                  <a:pt x="228" y="67"/>
                  <a:pt x="230" y="67"/>
                </a:cubicBezTo>
                <a:cubicBezTo>
                  <a:pt x="230" y="67"/>
                  <a:pt x="231" y="67"/>
                  <a:pt x="231" y="67"/>
                </a:cubicBezTo>
                <a:cubicBezTo>
                  <a:pt x="228" y="69"/>
                  <a:pt x="225" y="70"/>
                  <a:pt x="225" y="71"/>
                </a:cubicBezTo>
                <a:close/>
                <a:moveTo>
                  <a:pt x="228" y="73"/>
                </a:moveTo>
                <a:cubicBezTo>
                  <a:pt x="228" y="73"/>
                  <a:pt x="228" y="72"/>
                  <a:pt x="226" y="73"/>
                </a:cubicBezTo>
                <a:cubicBezTo>
                  <a:pt x="227" y="74"/>
                  <a:pt x="227" y="74"/>
                  <a:pt x="227" y="74"/>
                </a:cubicBezTo>
                <a:cubicBezTo>
                  <a:pt x="228" y="73"/>
                  <a:pt x="231" y="72"/>
                  <a:pt x="230" y="72"/>
                </a:cubicBezTo>
                <a:lnTo>
                  <a:pt x="228" y="73"/>
                </a:lnTo>
                <a:close/>
                <a:moveTo>
                  <a:pt x="221" y="77"/>
                </a:moveTo>
                <a:cubicBezTo>
                  <a:pt x="221" y="77"/>
                  <a:pt x="224" y="76"/>
                  <a:pt x="225" y="76"/>
                </a:cubicBezTo>
                <a:cubicBezTo>
                  <a:pt x="224" y="77"/>
                  <a:pt x="222" y="78"/>
                  <a:pt x="221" y="79"/>
                </a:cubicBezTo>
                <a:cubicBezTo>
                  <a:pt x="223" y="78"/>
                  <a:pt x="225" y="77"/>
                  <a:pt x="227" y="76"/>
                </a:cubicBezTo>
                <a:cubicBezTo>
                  <a:pt x="228" y="75"/>
                  <a:pt x="227" y="75"/>
                  <a:pt x="226" y="74"/>
                </a:cubicBezTo>
                <a:cubicBezTo>
                  <a:pt x="224" y="75"/>
                  <a:pt x="223" y="76"/>
                  <a:pt x="222" y="77"/>
                </a:cubicBezTo>
                <a:cubicBezTo>
                  <a:pt x="222" y="76"/>
                  <a:pt x="221" y="76"/>
                  <a:pt x="221" y="77"/>
                </a:cubicBezTo>
                <a:close/>
                <a:moveTo>
                  <a:pt x="224" y="73"/>
                </a:moveTo>
                <a:cubicBezTo>
                  <a:pt x="220" y="76"/>
                  <a:pt x="220" y="76"/>
                  <a:pt x="220" y="76"/>
                </a:cubicBezTo>
                <a:cubicBezTo>
                  <a:pt x="222" y="76"/>
                  <a:pt x="221" y="76"/>
                  <a:pt x="224" y="75"/>
                </a:cubicBezTo>
                <a:cubicBezTo>
                  <a:pt x="223" y="74"/>
                  <a:pt x="226" y="73"/>
                  <a:pt x="224" y="73"/>
                </a:cubicBezTo>
                <a:close/>
                <a:moveTo>
                  <a:pt x="206" y="64"/>
                </a:moveTo>
                <a:cubicBezTo>
                  <a:pt x="207" y="65"/>
                  <a:pt x="208" y="64"/>
                  <a:pt x="207" y="65"/>
                </a:cubicBezTo>
                <a:cubicBezTo>
                  <a:pt x="212" y="62"/>
                  <a:pt x="208" y="64"/>
                  <a:pt x="209" y="63"/>
                </a:cubicBezTo>
                <a:cubicBezTo>
                  <a:pt x="210" y="62"/>
                  <a:pt x="210" y="63"/>
                  <a:pt x="212" y="62"/>
                </a:cubicBezTo>
                <a:cubicBezTo>
                  <a:pt x="212" y="61"/>
                  <a:pt x="209" y="62"/>
                  <a:pt x="206" y="64"/>
                </a:cubicBezTo>
                <a:close/>
                <a:moveTo>
                  <a:pt x="197" y="73"/>
                </a:moveTo>
                <a:cubicBezTo>
                  <a:pt x="198" y="73"/>
                  <a:pt x="198" y="72"/>
                  <a:pt x="198" y="73"/>
                </a:cubicBezTo>
                <a:cubicBezTo>
                  <a:pt x="199" y="72"/>
                  <a:pt x="200" y="71"/>
                  <a:pt x="200" y="71"/>
                </a:cubicBezTo>
                <a:cubicBezTo>
                  <a:pt x="198" y="72"/>
                  <a:pt x="201" y="70"/>
                  <a:pt x="200" y="70"/>
                </a:cubicBezTo>
                <a:cubicBezTo>
                  <a:pt x="197" y="72"/>
                  <a:pt x="200" y="72"/>
                  <a:pt x="197" y="73"/>
                </a:cubicBezTo>
                <a:close/>
                <a:moveTo>
                  <a:pt x="196" y="70"/>
                </a:moveTo>
                <a:cubicBezTo>
                  <a:pt x="196" y="71"/>
                  <a:pt x="198" y="69"/>
                  <a:pt x="197" y="71"/>
                </a:cubicBezTo>
                <a:cubicBezTo>
                  <a:pt x="200" y="69"/>
                  <a:pt x="198" y="68"/>
                  <a:pt x="196" y="70"/>
                </a:cubicBezTo>
                <a:close/>
                <a:moveTo>
                  <a:pt x="191" y="75"/>
                </a:moveTo>
                <a:cubicBezTo>
                  <a:pt x="192" y="74"/>
                  <a:pt x="194" y="72"/>
                  <a:pt x="192" y="73"/>
                </a:cubicBezTo>
                <a:cubicBezTo>
                  <a:pt x="192" y="74"/>
                  <a:pt x="189" y="75"/>
                  <a:pt x="191" y="75"/>
                </a:cubicBezTo>
                <a:close/>
                <a:moveTo>
                  <a:pt x="187" y="76"/>
                </a:moveTo>
                <a:cubicBezTo>
                  <a:pt x="186" y="77"/>
                  <a:pt x="184" y="78"/>
                  <a:pt x="185" y="79"/>
                </a:cubicBezTo>
                <a:cubicBezTo>
                  <a:pt x="185" y="78"/>
                  <a:pt x="187" y="77"/>
                  <a:pt x="187" y="78"/>
                </a:cubicBezTo>
                <a:cubicBezTo>
                  <a:pt x="186" y="78"/>
                  <a:pt x="187" y="78"/>
                  <a:pt x="188" y="77"/>
                </a:cubicBezTo>
                <a:cubicBezTo>
                  <a:pt x="189" y="76"/>
                  <a:pt x="189" y="76"/>
                  <a:pt x="187" y="76"/>
                </a:cubicBezTo>
                <a:close/>
                <a:moveTo>
                  <a:pt x="186" y="75"/>
                </a:moveTo>
                <a:cubicBezTo>
                  <a:pt x="185" y="76"/>
                  <a:pt x="184" y="77"/>
                  <a:pt x="184" y="77"/>
                </a:cubicBezTo>
                <a:cubicBezTo>
                  <a:pt x="183" y="78"/>
                  <a:pt x="188" y="76"/>
                  <a:pt x="188" y="75"/>
                </a:cubicBezTo>
                <a:cubicBezTo>
                  <a:pt x="186" y="76"/>
                  <a:pt x="187" y="75"/>
                  <a:pt x="186" y="75"/>
                </a:cubicBezTo>
                <a:close/>
                <a:moveTo>
                  <a:pt x="186" y="95"/>
                </a:moveTo>
                <a:cubicBezTo>
                  <a:pt x="187" y="94"/>
                  <a:pt x="186" y="95"/>
                  <a:pt x="186" y="95"/>
                </a:cubicBezTo>
                <a:cubicBezTo>
                  <a:pt x="191" y="92"/>
                  <a:pt x="191" y="92"/>
                  <a:pt x="191" y="92"/>
                </a:cubicBezTo>
                <a:cubicBezTo>
                  <a:pt x="192" y="92"/>
                  <a:pt x="191" y="93"/>
                  <a:pt x="193" y="92"/>
                </a:cubicBezTo>
                <a:cubicBezTo>
                  <a:pt x="192" y="92"/>
                  <a:pt x="195" y="91"/>
                  <a:pt x="195" y="90"/>
                </a:cubicBezTo>
                <a:cubicBezTo>
                  <a:pt x="194" y="91"/>
                  <a:pt x="193" y="90"/>
                  <a:pt x="192" y="91"/>
                </a:cubicBezTo>
                <a:cubicBezTo>
                  <a:pt x="190" y="93"/>
                  <a:pt x="187" y="94"/>
                  <a:pt x="186" y="95"/>
                </a:cubicBezTo>
                <a:close/>
                <a:moveTo>
                  <a:pt x="178" y="81"/>
                </a:moveTo>
                <a:cubicBezTo>
                  <a:pt x="176" y="83"/>
                  <a:pt x="179" y="82"/>
                  <a:pt x="180" y="81"/>
                </a:cubicBezTo>
                <a:cubicBezTo>
                  <a:pt x="181" y="80"/>
                  <a:pt x="183" y="79"/>
                  <a:pt x="183" y="79"/>
                </a:cubicBezTo>
                <a:cubicBezTo>
                  <a:pt x="180" y="81"/>
                  <a:pt x="183" y="78"/>
                  <a:pt x="178" y="81"/>
                </a:cubicBezTo>
                <a:close/>
                <a:moveTo>
                  <a:pt x="182" y="80"/>
                </a:moveTo>
                <a:cubicBezTo>
                  <a:pt x="182" y="81"/>
                  <a:pt x="178" y="83"/>
                  <a:pt x="179" y="83"/>
                </a:cubicBezTo>
                <a:cubicBezTo>
                  <a:pt x="181" y="82"/>
                  <a:pt x="182" y="82"/>
                  <a:pt x="183" y="81"/>
                </a:cubicBezTo>
                <a:cubicBezTo>
                  <a:pt x="180" y="82"/>
                  <a:pt x="186" y="79"/>
                  <a:pt x="182" y="80"/>
                </a:cubicBezTo>
                <a:close/>
                <a:moveTo>
                  <a:pt x="182" y="82"/>
                </a:moveTo>
                <a:cubicBezTo>
                  <a:pt x="180" y="84"/>
                  <a:pt x="178" y="86"/>
                  <a:pt x="180" y="86"/>
                </a:cubicBezTo>
                <a:cubicBezTo>
                  <a:pt x="180" y="85"/>
                  <a:pt x="183" y="83"/>
                  <a:pt x="181" y="85"/>
                </a:cubicBezTo>
                <a:cubicBezTo>
                  <a:pt x="186" y="82"/>
                  <a:pt x="180" y="85"/>
                  <a:pt x="183" y="82"/>
                </a:cubicBezTo>
                <a:cubicBezTo>
                  <a:pt x="182" y="82"/>
                  <a:pt x="182" y="83"/>
                  <a:pt x="182" y="82"/>
                </a:cubicBezTo>
                <a:close/>
                <a:moveTo>
                  <a:pt x="165" y="91"/>
                </a:moveTo>
                <a:cubicBezTo>
                  <a:pt x="163" y="92"/>
                  <a:pt x="163" y="92"/>
                  <a:pt x="163" y="93"/>
                </a:cubicBezTo>
                <a:cubicBezTo>
                  <a:pt x="163" y="92"/>
                  <a:pt x="159" y="95"/>
                  <a:pt x="158" y="95"/>
                </a:cubicBezTo>
                <a:cubicBezTo>
                  <a:pt x="159" y="96"/>
                  <a:pt x="163" y="93"/>
                  <a:pt x="166" y="91"/>
                </a:cubicBezTo>
                <a:cubicBezTo>
                  <a:pt x="165" y="91"/>
                  <a:pt x="167" y="90"/>
                  <a:pt x="165" y="91"/>
                </a:cubicBezTo>
                <a:close/>
                <a:moveTo>
                  <a:pt x="167" y="91"/>
                </a:moveTo>
                <a:cubicBezTo>
                  <a:pt x="169" y="90"/>
                  <a:pt x="169" y="90"/>
                  <a:pt x="171" y="90"/>
                </a:cubicBezTo>
                <a:cubicBezTo>
                  <a:pt x="171" y="88"/>
                  <a:pt x="176" y="85"/>
                  <a:pt x="178" y="83"/>
                </a:cubicBezTo>
                <a:cubicBezTo>
                  <a:pt x="176" y="84"/>
                  <a:pt x="176" y="82"/>
                  <a:pt x="174" y="84"/>
                </a:cubicBezTo>
                <a:cubicBezTo>
                  <a:pt x="175" y="85"/>
                  <a:pt x="170" y="87"/>
                  <a:pt x="170" y="88"/>
                </a:cubicBezTo>
                <a:cubicBezTo>
                  <a:pt x="169" y="88"/>
                  <a:pt x="169" y="88"/>
                  <a:pt x="169" y="87"/>
                </a:cubicBezTo>
                <a:cubicBezTo>
                  <a:pt x="166" y="90"/>
                  <a:pt x="167" y="90"/>
                  <a:pt x="167" y="91"/>
                </a:cubicBezTo>
                <a:close/>
                <a:moveTo>
                  <a:pt x="173" y="93"/>
                </a:moveTo>
                <a:cubicBezTo>
                  <a:pt x="174" y="92"/>
                  <a:pt x="173" y="94"/>
                  <a:pt x="176" y="92"/>
                </a:cubicBezTo>
                <a:cubicBezTo>
                  <a:pt x="176" y="91"/>
                  <a:pt x="175" y="92"/>
                  <a:pt x="176" y="91"/>
                </a:cubicBezTo>
                <a:cubicBezTo>
                  <a:pt x="174" y="92"/>
                  <a:pt x="173" y="92"/>
                  <a:pt x="173" y="93"/>
                </a:cubicBezTo>
                <a:close/>
                <a:moveTo>
                  <a:pt x="174" y="104"/>
                </a:moveTo>
                <a:cubicBezTo>
                  <a:pt x="174" y="105"/>
                  <a:pt x="181" y="100"/>
                  <a:pt x="180" y="100"/>
                </a:cubicBezTo>
                <a:cubicBezTo>
                  <a:pt x="177" y="102"/>
                  <a:pt x="177" y="103"/>
                  <a:pt x="174" y="104"/>
                </a:cubicBezTo>
                <a:close/>
                <a:moveTo>
                  <a:pt x="164" y="99"/>
                </a:moveTo>
                <a:cubicBezTo>
                  <a:pt x="166" y="98"/>
                  <a:pt x="169" y="96"/>
                  <a:pt x="170" y="95"/>
                </a:cubicBezTo>
                <a:cubicBezTo>
                  <a:pt x="167" y="97"/>
                  <a:pt x="165" y="97"/>
                  <a:pt x="164" y="99"/>
                </a:cubicBezTo>
                <a:close/>
                <a:moveTo>
                  <a:pt x="159" y="99"/>
                </a:moveTo>
                <a:cubicBezTo>
                  <a:pt x="159" y="100"/>
                  <a:pt x="158" y="100"/>
                  <a:pt x="158" y="100"/>
                </a:cubicBezTo>
                <a:cubicBezTo>
                  <a:pt x="160" y="99"/>
                  <a:pt x="160" y="98"/>
                  <a:pt x="161" y="97"/>
                </a:cubicBezTo>
                <a:cubicBezTo>
                  <a:pt x="161" y="97"/>
                  <a:pt x="161" y="98"/>
                  <a:pt x="162" y="97"/>
                </a:cubicBezTo>
                <a:cubicBezTo>
                  <a:pt x="163" y="96"/>
                  <a:pt x="162" y="97"/>
                  <a:pt x="162" y="97"/>
                </a:cubicBezTo>
                <a:cubicBezTo>
                  <a:pt x="158" y="99"/>
                  <a:pt x="158" y="99"/>
                  <a:pt x="158" y="99"/>
                </a:cubicBezTo>
                <a:cubicBezTo>
                  <a:pt x="158" y="100"/>
                  <a:pt x="157" y="102"/>
                  <a:pt x="159" y="99"/>
                </a:cubicBezTo>
                <a:close/>
                <a:moveTo>
                  <a:pt x="153" y="99"/>
                </a:moveTo>
                <a:cubicBezTo>
                  <a:pt x="153" y="99"/>
                  <a:pt x="152" y="100"/>
                  <a:pt x="153" y="101"/>
                </a:cubicBezTo>
                <a:cubicBezTo>
                  <a:pt x="151" y="101"/>
                  <a:pt x="149" y="103"/>
                  <a:pt x="150" y="103"/>
                </a:cubicBezTo>
                <a:cubicBezTo>
                  <a:pt x="154" y="100"/>
                  <a:pt x="153" y="100"/>
                  <a:pt x="156" y="98"/>
                </a:cubicBezTo>
                <a:cubicBezTo>
                  <a:pt x="155" y="98"/>
                  <a:pt x="155" y="98"/>
                  <a:pt x="154" y="98"/>
                </a:cubicBezTo>
                <a:cubicBezTo>
                  <a:pt x="154" y="100"/>
                  <a:pt x="154" y="98"/>
                  <a:pt x="153" y="99"/>
                </a:cubicBezTo>
                <a:close/>
                <a:moveTo>
                  <a:pt x="160" y="120"/>
                </a:moveTo>
                <a:cubicBezTo>
                  <a:pt x="160" y="120"/>
                  <a:pt x="160" y="121"/>
                  <a:pt x="161" y="120"/>
                </a:cubicBezTo>
                <a:cubicBezTo>
                  <a:pt x="162" y="119"/>
                  <a:pt x="165" y="116"/>
                  <a:pt x="163" y="117"/>
                </a:cubicBezTo>
                <a:cubicBezTo>
                  <a:pt x="163" y="117"/>
                  <a:pt x="162" y="119"/>
                  <a:pt x="160" y="120"/>
                </a:cubicBezTo>
                <a:close/>
                <a:moveTo>
                  <a:pt x="150" y="106"/>
                </a:moveTo>
                <a:cubicBezTo>
                  <a:pt x="148" y="108"/>
                  <a:pt x="154" y="103"/>
                  <a:pt x="151" y="106"/>
                </a:cubicBezTo>
                <a:cubicBezTo>
                  <a:pt x="154" y="104"/>
                  <a:pt x="154" y="104"/>
                  <a:pt x="154" y="104"/>
                </a:cubicBezTo>
                <a:cubicBezTo>
                  <a:pt x="154" y="103"/>
                  <a:pt x="153" y="104"/>
                  <a:pt x="154" y="103"/>
                </a:cubicBezTo>
                <a:cubicBezTo>
                  <a:pt x="151" y="105"/>
                  <a:pt x="151" y="105"/>
                  <a:pt x="150" y="106"/>
                </a:cubicBezTo>
                <a:close/>
                <a:moveTo>
                  <a:pt x="146" y="105"/>
                </a:moveTo>
                <a:cubicBezTo>
                  <a:pt x="142" y="108"/>
                  <a:pt x="147" y="106"/>
                  <a:pt x="145" y="108"/>
                </a:cubicBezTo>
                <a:cubicBezTo>
                  <a:pt x="147" y="106"/>
                  <a:pt x="146" y="106"/>
                  <a:pt x="149" y="104"/>
                </a:cubicBezTo>
                <a:cubicBezTo>
                  <a:pt x="148" y="104"/>
                  <a:pt x="149" y="103"/>
                  <a:pt x="149" y="103"/>
                </a:cubicBezTo>
                <a:cubicBezTo>
                  <a:pt x="145" y="105"/>
                  <a:pt x="149" y="103"/>
                  <a:pt x="146" y="106"/>
                </a:cubicBezTo>
                <a:cubicBezTo>
                  <a:pt x="146" y="105"/>
                  <a:pt x="147" y="104"/>
                  <a:pt x="146" y="105"/>
                </a:cubicBezTo>
                <a:close/>
                <a:moveTo>
                  <a:pt x="153" y="120"/>
                </a:moveTo>
                <a:cubicBezTo>
                  <a:pt x="156" y="118"/>
                  <a:pt x="154" y="119"/>
                  <a:pt x="157" y="116"/>
                </a:cubicBezTo>
                <a:cubicBezTo>
                  <a:pt x="156" y="117"/>
                  <a:pt x="154" y="118"/>
                  <a:pt x="152" y="119"/>
                </a:cubicBezTo>
                <a:cubicBezTo>
                  <a:pt x="154" y="119"/>
                  <a:pt x="151" y="121"/>
                  <a:pt x="149" y="122"/>
                </a:cubicBezTo>
                <a:cubicBezTo>
                  <a:pt x="148" y="124"/>
                  <a:pt x="152" y="120"/>
                  <a:pt x="151" y="122"/>
                </a:cubicBezTo>
                <a:cubicBezTo>
                  <a:pt x="153" y="120"/>
                  <a:pt x="153" y="119"/>
                  <a:pt x="154" y="119"/>
                </a:cubicBezTo>
                <a:cubicBezTo>
                  <a:pt x="154" y="119"/>
                  <a:pt x="153" y="120"/>
                  <a:pt x="153" y="120"/>
                </a:cubicBezTo>
                <a:close/>
                <a:moveTo>
                  <a:pt x="136" y="117"/>
                </a:moveTo>
                <a:cubicBezTo>
                  <a:pt x="139" y="115"/>
                  <a:pt x="135" y="118"/>
                  <a:pt x="135" y="118"/>
                </a:cubicBezTo>
                <a:cubicBezTo>
                  <a:pt x="138" y="116"/>
                  <a:pt x="140" y="115"/>
                  <a:pt x="142" y="113"/>
                </a:cubicBezTo>
                <a:cubicBezTo>
                  <a:pt x="142" y="112"/>
                  <a:pt x="147" y="109"/>
                  <a:pt x="148" y="107"/>
                </a:cubicBezTo>
                <a:cubicBezTo>
                  <a:pt x="147" y="108"/>
                  <a:pt x="146" y="108"/>
                  <a:pt x="146" y="108"/>
                </a:cubicBezTo>
                <a:cubicBezTo>
                  <a:pt x="144" y="109"/>
                  <a:pt x="144" y="110"/>
                  <a:pt x="142" y="111"/>
                </a:cubicBezTo>
                <a:cubicBezTo>
                  <a:pt x="141" y="113"/>
                  <a:pt x="142" y="113"/>
                  <a:pt x="141" y="113"/>
                </a:cubicBezTo>
                <a:cubicBezTo>
                  <a:pt x="140" y="113"/>
                  <a:pt x="136" y="116"/>
                  <a:pt x="136" y="117"/>
                </a:cubicBezTo>
                <a:close/>
                <a:moveTo>
                  <a:pt x="153" y="123"/>
                </a:moveTo>
                <a:cubicBezTo>
                  <a:pt x="154" y="123"/>
                  <a:pt x="157" y="120"/>
                  <a:pt x="156" y="120"/>
                </a:cubicBezTo>
                <a:cubicBezTo>
                  <a:pt x="155" y="121"/>
                  <a:pt x="152" y="123"/>
                  <a:pt x="153" y="123"/>
                </a:cubicBezTo>
                <a:close/>
                <a:moveTo>
                  <a:pt x="137" y="109"/>
                </a:moveTo>
                <a:cubicBezTo>
                  <a:pt x="139" y="108"/>
                  <a:pt x="141" y="106"/>
                  <a:pt x="141" y="106"/>
                </a:cubicBezTo>
                <a:cubicBezTo>
                  <a:pt x="139" y="107"/>
                  <a:pt x="137" y="109"/>
                  <a:pt x="137" y="109"/>
                </a:cubicBezTo>
                <a:close/>
                <a:moveTo>
                  <a:pt x="136" y="114"/>
                </a:moveTo>
                <a:cubicBezTo>
                  <a:pt x="138" y="114"/>
                  <a:pt x="137" y="113"/>
                  <a:pt x="137" y="115"/>
                </a:cubicBezTo>
                <a:cubicBezTo>
                  <a:pt x="138" y="114"/>
                  <a:pt x="138" y="113"/>
                  <a:pt x="141" y="111"/>
                </a:cubicBezTo>
                <a:cubicBezTo>
                  <a:pt x="142" y="110"/>
                  <a:pt x="141" y="111"/>
                  <a:pt x="140" y="111"/>
                </a:cubicBezTo>
                <a:cubicBezTo>
                  <a:pt x="141" y="110"/>
                  <a:pt x="142" y="110"/>
                  <a:pt x="143" y="109"/>
                </a:cubicBezTo>
                <a:cubicBezTo>
                  <a:pt x="143" y="109"/>
                  <a:pt x="144" y="108"/>
                  <a:pt x="143" y="108"/>
                </a:cubicBezTo>
                <a:cubicBezTo>
                  <a:pt x="141" y="111"/>
                  <a:pt x="139" y="111"/>
                  <a:pt x="136" y="114"/>
                </a:cubicBezTo>
                <a:close/>
                <a:moveTo>
                  <a:pt x="142" y="117"/>
                </a:moveTo>
                <a:cubicBezTo>
                  <a:pt x="140" y="118"/>
                  <a:pt x="142" y="116"/>
                  <a:pt x="144" y="115"/>
                </a:cubicBezTo>
                <a:cubicBezTo>
                  <a:pt x="144" y="114"/>
                  <a:pt x="142" y="115"/>
                  <a:pt x="141" y="116"/>
                </a:cubicBezTo>
                <a:cubicBezTo>
                  <a:pt x="141" y="116"/>
                  <a:pt x="141" y="117"/>
                  <a:pt x="140" y="117"/>
                </a:cubicBezTo>
                <a:cubicBezTo>
                  <a:pt x="137" y="118"/>
                  <a:pt x="139" y="119"/>
                  <a:pt x="136" y="120"/>
                </a:cubicBezTo>
                <a:cubicBezTo>
                  <a:pt x="136" y="121"/>
                  <a:pt x="133" y="123"/>
                  <a:pt x="132" y="124"/>
                </a:cubicBezTo>
                <a:cubicBezTo>
                  <a:pt x="133" y="124"/>
                  <a:pt x="131" y="125"/>
                  <a:pt x="131" y="126"/>
                </a:cubicBezTo>
                <a:cubicBezTo>
                  <a:pt x="133" y="124"/>
                  <a:pt x="135" y="122"/>
                  <a:pt x="134" y="124"/>
                </a:cubicBezTo>
                <a:cubicBezTo>
                  <a:pt x="135" y="124"/>
                  <a:pt x="139" y="121"/>
                  <a:pt x="138" y="121"/>
                </a:cubicBezTo>
                <a:cubicBezTo>
                  <a:pt x="137" y="121"/>
                  <a:pt x="135" y="124"/>
                  <a:pt x="135" y="123"/>
                </a:cubicBezTo>
                <a:cubicBezTo>
                  <a:pt x="136" y="122"/>
                  <a:pt x="135" y="122"/>
                  <a:pt x="137" y="121"/>
                </a:cubicBezTo>
                <a:cubicBezTo>
                  <a:pt x="139" y="119"/>
                  <a:pt x="142" y="117"/>
                  <a:pt x="142" y="117"/>
                </a:cubicBezTo>
                <a:close/>
                <a:moveTo>
                  <a:pt x="143" y="118"/>
                </a:moveTo>
                <a:cubicBezTo>
                  <a:pt x="141" y="119"/>
                  <a:pt x="141" y="119"/>
                  <a:pt x="141" y="119"/>
                </a:cubicBezTo>
                <a:cubicBezTo>
                  <a:pt x="140" y="120"/>
                  <a:pt x="140" y="120"/>
                  <a:pt x="141" y="121"/>
                </a:cubicBezTo>
                <a:cubicBezTo>
                  <a:pt x="143" y="119"/>
                  <a:pt x="142" y="119"/>
                  <a:pt x="143" y="118"/>
                </a:cubicBezTo>
                <a:cubicBezTo>
                  <a:pt x="143" y="119"/>
                  <a:pt x="144" y="118"/>
                  <a:pt x="145" y="117"/>
                </a:cubicBezTo>
                <a:cubicBezTo>
                  <a:pt x="143" y="118"/>
                  <a:pt x="144" y="117"/>
                  <a:pt x="143" y="118"/>
                </a:cubicBezTo>
                <a:close/>
                <a:moveTo>
                  <a:pt x="146" y="128"/>
                </a:moveTo>
                <a:cubicBezTo>
                  <a:pt x="147" y="128"/>
                  <a:pt x="145" y="129"/>
                  <a:pt x="145" y="130"/>
                </a:cubicBezTo>
                <a:cubicBezTo>
                  <a:pt x="146" y="129"/>
                  <a:pt x="146" y="129"/>
                  <a:pt x="148" y="128"/>
                </a:cubicBezTo>
                <a:cubicBezTo>
                  <a:pt x="147" y="128"/>
                  <a:pt x="147" y="127"/>
                  <a:pt x="148" y="127"/>
                </a:cubicBezTo>
                <a:cubicBezTo>
                  <a:pt x="147" y="127"/>
                  <a:pt x="146" y="128"/>
                  <a:pt x="146" y="128"/>
                </a:cubicBezTo>
                <a:close/>
                <a:moveTo>
                  <a:pt x="133" y="117"/>
                </a:moveTo>
                <a:cubicBezTo>
                  <a:pt x="133" y="118"/>
                  <a:pt x="134" y="117"/>
                  <a:pt x="135" y="117"/>
                </a:cubicBezTo>
                <a:cubicBezTo>
                  <a:pt x="136" y="116"/>
                  <a:pt x="137" y="115"/>
                  <a:pt x="137" y="115"/>
                </a:cubicBezTo>
                <a:cubicBezTo>
                  <a:pt x="136" y="116"/>
                  <a:pt x="135" y="115"/>
                  <a:pt x="133" y="117"/>
                </a:cubicBezTo>
                <a:close/>
                <a:moveTo>
                  <a:pt x="144" y="129"/>
                </a:moveTo>
                <a:cubicBezTo>
                  <a:pt x="143" y="129"/>
                  <a:pt x="141" y="129"/>
                  <a:pt x="139" y="132"/>
                </a:cubicBezTo>
                <a:cubicBezTo>
                  <a:pt x="139" y="133"/>
                  <a:pt x="145" y="129"/>
                  <a:pt x="146" y="127"/>
                </a:cubicBezTo>
                <a:cubicBezTo>
                  <a:pt x="145" y="128"/>
                  <a:pt x="144" y="128"/>
                  <a:pt x="144" y="129"/>
                </a:cubicBezTo>
                <a:close/>
                <a:moveTo>
                  <a:pt x="133" y="117"/>
                </a:moveTo>
                <a:cubicBezTo>
                  <a:pt x="132" y="118"/>
                  <a:pt x="132" y="117"/>
                  <a:pt x="131" y="118"/>
                </a:cubicBezTo>
                <a:cubicBezTo>
                  <a:pt x="131" y="119"/>
                  <a:pt x="133" y="117"/>
                  <a:pt x="135" y="116"/>
                </a:cubicBezTo>
                <a:cubicBezTo>
                  <a:pt x="134" y="116"/>
                  <a:pt x="136" y="114"/>
                  <a:pt x="134" y="115"/>
                </a:cubicBezTo>
                <a:cubicBezTo>
                  <a:pt x="134" y="116"/>
                  <a:pt x="134" y="116"/>
                  <a:pt x="133" y="117"/>
                </a:cubicBezTo>
                <a:close/>
                <a:moveTo>
                  <a:pt x="138" y="122"/>
                </a:moveTo>
                <a:cubicBezTo>
                  <a:pt x="137" y="123"/>
                  <a:pt x="137" y="123"/>
                  <a:pt x="139" y="122"/>
                </a:cubicBezTo>
                <a:cubicBezTo>
                  <a:pt x="140" y="121"/>
                  <a:pt x="140" y="120"/>
                  <a:pt x="138" y="122"/>
                </a:cubicBezTo>
                <a:close/>
                <a:moveTo>
                  <a:pt x="139" y="137"/>
                </a:moveTo>
                <a:cubicBezTo>
                  <a:pt x="141" y="135"/>
                  <a:pt x="141" y="137"/>
                  <a:pt x="139" y="138"/>
                </a:cubicBezTo>
                <a:cubicBezTo>
                  <a:pt x="140" y="137"/>
                  <a:pt x="141" y="137"/>
                  <a:pt x="142" y="136"/>
                </a:cubicBezTo>
                <a:cubicBezTo>
                  <a:pt x="142" y="135"/>
                  <a:pt x="142" y="135"/>
                  <a:pt x="142" y="135"/>
                </a:cubicBezTo>
                <a:cubicBezTo>
                  <a:pt x="142" y="135"/>
                  <a:pt x="143" y="134"/>
                  <a:pt x="144" y="134"/>
                </a:cubicBezTo>
                <a:cubicBezTo>
                  <a:pt x="142" y="136"/>
                  <a:pt x="138" y="139"/>
                  <a:pt x="138" y="140"/>
                </a:cubicBezTo>
                <a:cubicBezTo>
                  <a:pt x="138" y="140"/>
                  <a:pt x="137" y="141"/>
                  <a:pt x="136" y="141"/>
                </a:cubicBezTo>
                <a:cubicBezTo>
                  <a:pt x="138" y="140"/>
                  <a:pt x="138" y="139"/>
                  <a:pt x="139" y="138"/>
                </a:cubicBezTo>
                <a:cubicBezTo>
                  <a:pt x="139" y="137"/>
                  <a:pt x="136" y="138"/>
                  <a:pt x="133" y="141"/>
                </a:cubicBezTo>
                <a:cubicBezTo>
                  <a:pt x="134" y="141"/>
                  <a:pt x="136" y="139"/>
                  <a:pt x="137" y="139"/>
                </a:cubicBezTo>
                <a:cubicBezTo>
                  <a:pt x="137" y="139"/>
                  <a:pt x="138" y="139"/>
                  <a:pt x="138" y="139"/>
                </a:cubicBezTo>
                <a:cubicBezTo>
                  <a:pt x="135" y="142"/>
                  <a:pt x="132" y="145"/>
                  <a:pt x="132" y="146"/>
                </a:cubicBezTo>
                <a:cubicBezTo>
                  <a:pt x="133" y="145"/>
                  <a:pt x="135" y="144"/>
                  <a:pt x="135" y="143"/>
                </a:cubicBezTo>
                <a:cubicBezTo>
                  <a:pt x="134" y="144"/>
                  <a:pt x="134" y="144"/>
                  <a:pt x="134" y="144"/>
                </a:cubicBezTo>
                <a:cubicBezTo>
                  <a:pt x="135" y="144"/>
                  <a:pt x="136" y="142"/>
                  <a:pt x="136" y="142"/>
                </a:cubicBezTo>
                <a:cubicBezTo>
                  <a:pt x="137" y="142"/>
                  <a:pt x="134" y="145"/>
                  <a:pt x="137" y="143"/>
                </a:cubicBezTo>
                <a:cubicBezTo>
                  <a:pt x="136" y="142"/>
                  <a:pt x="139" y="141"/>
                  <a:pt x="140" y="141"/>
                </a:cubicBezTo>
                <a:cubicBezTo>
                  <a:pt x="139" y="140"/>
                  <a:pt x="141" y="139"/>
                  <a:pt x="141" y="139"/>
                </a:cubicBezTo>
                <a:cubicBezTo>
                  <a:pt x="140" y="139"/>
                  <a:pt x="140" y="139"/>
                  <a:pt x="141" y="138"/>
                </a:cubicBezTo>
                <a:cubicBezTo>
                  <a:pt x="144" y="136"/>
                  <a:pt x="146" y="134"/>
                  <a:pt x="148" y="133"/>
                </a:cubicBezTo>
                <a:cubicBezTo>
                  <a:pt x="147" y="133"/>
                  <a:pt x="143" y="135"/>
                  <a:pt x="146" y="132"/>
                </a:cubicBezTo>
                <a:cubicBezTo>
                  <a:pt x="143" y="133"/>
                  <a:pt x="141" y="134"/>
                  <a:pt x="139" y="137"/>
                </a:cubicBezTo>
                <a:close/>
                <a:moveTo>
                  <a:pt x="142" y="131"/>
                </a:moveTo>
                <a:cubicBezTo>
                  <a:pt x="142" y="131"/>
                  <a:pt x="143" y="132"/>
                  <a:pt x="144" y="130"/>
                </a:cubicBezTo>
                <a:cubicBezTo>
                  <a:pt x="144" y="130"/>
                  <a:pt x="144" y="130"/>
                  <a:pt x="144" y="129"/>
                </a:cubicBezTo>
                <a:cubicBezTo>
                  <a:pt x="144" y="130"/>
                  <a:pt x="143" y="130"/>
                  <a:pt x="142" y="131"/>
                </a:cubicBezTo>
                <a:close/>
                <a:moveTo>
                  <a:pt x="142" y="143"/>
                </a:moveTo>
                <a:cubicBezTo>
                  <a:pt x="142" y="143"/>
                  <a:pt x="145" y="140"/>
                  <a:pt x="145" y="142"/>
                </a:cubicBezTo>
                <a:cubicBezTo>
                  <a:pt x="147" y="140"/>
                  <a:pt x="149" y="139"/>
                  <a:pt x="150" y="138"/>
                </a:cubicBezTo>
                <a:cubicBezTo>
                  <a:pt x="148" y="139"/>
                  <a:pt x="147" y="140"/>
                  <a:pt x="146" y="140"/>
                </a:cubicBezTo>
                <a:cubicBezTo>
                  <a:pt x="147" y="139"/>
                  <a:pt x="147" y="139"/>
                  <a:pt x="148" y="138"/>
                </a:cubicBezTo>
                <a:cubicBezTo>
                  <a:pt x="147" y="139"/>
                  <a:pt x="150" y="137"/>
                  <a:pt x="150" y="137"/>
                </a:cubicBezTo>
                <a:cubicBezTo>
                  <a:pt x="148" y="138"/>
                  <a:pt x="142" y="142"/>
                  <a:pt x="142" y="143"/>
                </a:cubicBezTo>
                <a:close/>
                <a:moveTo>
                  <a:pt x="125" y="125"/>
                </a:moveTo>
                <a:cubicBezTo>
                  <a:pt x="126" y="125"/>
                  <a:pt x="128" y="123"/>
                  <a:pt x="128" y="124"/>
                </a:cubicBezTo>
                <a:cubicBezTo>
                  <a:pt x="126" y="126"/>
                  <a:pt x="124" y="127"/>
                  <a:pt x="124" y="128"/>
                </a:cubicBezTo>
                <a:cubicBezTo>
                  <a:pt x="129" y="124"/>
                  <a:pt x="129" y="124"/>
                  <a:pt x="129" y="124"/>
                </a:cubicBezTo>
                <a:cubicBezTo>
                  <a:pt x="128" y="123"/>
                  <a:pt x="132" y="121"/>
                  <a:pt x="131" y="120"/>
                </a:cubicBezTo>
                <a:cubicBezTo>
                  <a:pt x="129" y="122"/>
                  <a:pt x="127" y="123"/>
                  <a:pt x="125" y="125"/>
                </a:cubicBezTo>
                <a:close/>
                <a:moveTo>
                  <a:pt x="131" y="122"/>
                </a:moveTo>
                <a:cubicBezTo>
                  <a:pt x="132" y="122"/>
                  <a:pt x="131" y="122"/>
                  <a:pt x="131" y="123"/>
                </a:cubicBezTo>
                <a:cubicBezTo>
                  <a:pt x="132" y="122"/>
                  <a:pt x="132" y="121"/>
                  <a:pt x="133" y="120"/>
                </a:cubicBezTo>
                <a:cubicBezTo>
                  <a:pt x="134" y="120"/>
                  <a:pt x="134" y="120"/>
                  <a:pt x="134" y="120"/>
                </a:cubicBezTo>
                <a:cubicBezTo>
                  <a:pt x="133" y="120"/>
                  <a:pt x="135" y="117"/>
                  <a:pt x="131" y="119"/>
                </a:cubicBezTo>
                <a:cubicBezTo>
                  <a:pt x="131" y="120"/>
                  <a:pt x="134" y="119"/>
                  <a:pt x="131" y="122"/>
                </a:cubicBezTo>
                <a:close/>
                <a:moveTo>
                  <a:pt x="139" y="130"/>
                </a:moveTo>
                <a:cubicBezTo>
                  <a:pt x="138" y="132"/>
                  <a:pt x="142" y="129"/>
                  <a:pt x="142" y="129"/>
                </a:cubicBezTo>
                <a:lnTo>
                  <a:pt x="139" y="130"/>
                </a:lnTo>
                <a:close/>
                <a:moveTo>
                  <a:pt x="133" y="129"/>
                </a:moveTo>
                <a:cubicBezTo>
                  <a:pt x="135" y="127"/>
                  <a:pt x="136" y="126"/>
                  <a:pt x="135" y="126"/>
                </a:cubicBezTo>
                <a:cubicBezTo>
                  <a:pt x="133" y="128"/>
                  <a:pt x="132" y="129"/>
                  <a:pt x="133" y="129"/>
                </a:cubicBezTo>
                <a:close/>
                <a:moveTo>
                  <a:pt x="129" y="121"/>
                </a:moveTo>
                <a:cubicBezTo>
                  <a:pt x="128" y="120"/>
                  <a:pt x="126" y="121"/>
                  <a:pt x="124" y="124"/>
                </a:cubicBezTo>
                <a:cubicBezTo>
                  <a:pt x="125" y="123"/>
                  <a:pt x="125" y="123"/>
                  <a:pt x="124" y="124"/>
                </a:cubicBezTo>
                <a:cubicBezTo>
                  <a:pt x="123" y="124"/>
                  <a:pt x="121" y="127"/>
                  <a:pt x="120" y="128"/>
                </a:cubicBezTo>
                <a:cubicBezTo>
                  <a:pt x="121" y="128"/>
                  <a:pt x="121" y="128"/>
                  <a:pt x="120" y="130"/>
                </a:cubicBezTo>
                <a:cubicBezTo>
                  <a:pt x="121" y="129"/>
                  <a:pt x="121" y="129"/>
                  <a:pt x="121" y="129"/>
                </a:cubicBezTo>
                <a:cubicBezTo>
                  <a:pt x="125" y="126"/>
                  <a:pt x="124" y="125"/>
                  <a:pt x="128" y="123"/>
                </a:cubicBezTo>
                <a:cubicBezTo>
                  <a:pt x="127" y="122"/>
                  <a:pt x="126" y="123"/>
                  <a:pt x="129" y="121"/>
                </a:cubicBezTo>
                <a:close/>
                <a:moveTo>
                  <a:pt x="129" y="131"/>
                </a:moveTo>
                <a:cubicBezTo>
                  <a:pt x="130" y="130"/>
                  <a:pt x="133" y="127"/>
                  <a:pt x="134" y="126"/>
                </a:cubicBezTo>
                <a:cubicBezTo>
                  <a:pt x="131" y="128"/>
                  <a:pt x="130" y="130"/>
                  <a:pt x="129" y="131"/>
                </a:cubicBezTo>
                <a:close/>
                <a:moveTo>
                  <a:pt x="133" y="136"/>
                </a:moveTo>
                <a:cubicBezTo>
                  <a:pt x="135" y="136"/>
                  <a:pt x="137" y="136"/>
                  <a:pt x="139" y="133"/>
                </a:cubicBezTo>
                <a:cubicBezTo>
                  <a:pt x="136" y="135"/>
                  <a:pt x="136" y="134"/>
                  <a:pt x="133" y="136"/>
                </a:cubicBezTo>
                <a:close/>
                <a:moveTo>
                  <a:pt x="124" y="131"/>
                </a:moveTo>
                <a:cubicBezTo>
                  <a:pt x="125" y="131"/>
                  <a:pt x="125" y="131"/>
                  <a:pt x="124" y="132"/>
                </a:cubicBezTo>
                <a:cubicBezTo>
                  <a:pt x="126" y="131"/>
                  <a:pt x="131" y="127"/>
                  <a:pt x="128" y="128"/>
                </a:cubicBezTo>
                <a:cubicBezTo>
                  <a:pt x="128" y="129"/>
                  <a:pt x="126" y="130"/>
                  <a:pt x="124" y="131"/>
                </a:cubicBezTo>
                <a:close/>
                <a:moveTo>
                  <a:pt x="121" y="127"/>
                </a:moveTo>
                <a:cubicBezTo>
                  <a:pt x="121" y="126"/>
                  <a:pt x="121" y="125"/>
                  <a:pt x="123" y="124"/>
                </a:cubicBezTo>
                <a:cubicBezTo>
                  <a:pt x="120" y="126"/>
                  <a:pt x="117" y="127"/>
                  <a:pt x="117" y="128"/>
                </a:cubicBezTo>
                <a:cubicBezTo>
                  <a:pt x="118" y="128"/>
                  <a:pt x="120" y="126"/>
                  <a:pt x="121" y="126"/>
                </a:cubicBezTo>
                <a:cubicBezTo>
                  <a:pt x="120" y="126"/>
                  <a:pt x="119" y="128"/>
                  <a:pt x="121" y="127"/>
                </a:cubicBezTo>
                <a:close/>
                <a:moveTo>
                  <a:pt x="120" y="131"/>
                </a:moveTo>
                <a:cubicBezTo>
                  <a:pt x="121" y="131"/>
                  <a:pt x="122" y="131"/>
                  <a:pt x="124" y="129"/>
                </a:cubicBezTo>
                <a:cubicBezTo>
                  <a:pt x="124" y="128"/>
                  <a:pt x="121" y="130"/>
                  <a:pt x="120" y="131"/>
                </a:cubicBezTo>
                <a:close/>
                <a:moveTo>
                  <a:pt x="119" y="140"/>
                </a:moveTo>
                <a:cubicBezTo>
                  <a:pt x="121" y="139"/>
                  <a:pt x="122" y="137"/>
                  <a:pt x="124" y="135"/>
                </a:cubicBezTo>
                <a:cubicBezTo>
                  <a:pt x="124" y="134"/>
                  <a:pt x="124" y="134"/>
                  <a:pt x="124" y="134"/>
                </a:cubicBezTo>
                <a:cubicBezTo>
                  <a:pt x="121" y="137"/>
                  <a:pt x="119" y="139"/>
                  <a:pt x="119" y="140"/>
                </a:cubicBezTo>
                <a:close/>
                <a:moveTo>
                  <a:pt x="117" y="131"/>
                </a:moveTo>
                <a:cubicBezTo>
                  <a:pt x="119" y="130"/>
                  <a:pt x="117" y="130"/>
                  <a:pt x="118" y="129"/>
                </a:cubicBezTo>
                <a:cubicBezTo>
                  <a:pt x="116" y="131"/>
                  <a:pt x="116" y="131"/>
                  <a:pt x="117" y="131"/>
                </a:cubicBezTo>
                <a:close/>
                <a:moveTo>
                  <a:pt x="112" y="133"/>
                </a:moveTo>
                <a:cubicBezTo>
                  <a:pt x="112" y="134"/>
                  <a:pt x="114" y="132"/>
                  <a:pt x="113" y="133"/>
                </a:cubicBezTo>
                <a:cubicBezTo>
                  <a:pt x="117" y="130"/>
                  <a:pt x="114" y="131"/>
                  <a:pt x="112" y="133"/>
                </a:cubicBezTo>
                <a:close/>
                <a:moveTo>
                  <a:pt x="117" y="138"/>
                </a:moveTo>
                <a:cubicBezTo>
                  <a:pt x="116" y="140"/>
                  <a:pt x="113" y="143"/>
                  <a:pt x="114" y="143"/>
                </a:cubicBezTo>
                <a:cubicBezTo>
                  <a:pt x="117" y="140"/>
                  <a:pt x="116" y="140"/>
                  <a:pt x="119" y="137"/>
                </a:cubicBezTo>
                <a:cubicBezTo>
                  <a:pt x="118" y="138"/>
                  <a:pt x="118" y="137"/>
                  <a:pt x="117" y="138"/>
                </a:cubicBezTo>
                <a:close/>
                <a:moveTo>
                  <a:pt x="114" y="157"/>
                </a:moveTo>
                <a:cubicBezTo>
                  <a:pt x="112" y="158"/>
                  <a:pt x="113" y="158"/>
                  <a:pt x="111" y="158"/>
                </a:cubicBezTo>
                <a:cubicBezTo>
                  <a:pt x="113" y="158"/>
                  <a:pt x="109" y="161"/>
                  <a:pt x="109" y="161"/>
                </a:cubicBezTo>
                <a:cubicBezTo>
                  <a:pt x="111" y="159"/>
                  <a:pt x="109" y="160"/>
                  <a:pt x="108" y="161"/>
                </a:cubicBezTo>
                <a:cubicBezTo>
                  <a:pt x="108" y="162"/>
                  <a:pt x="107" y="163"/>
                  <a:pt x="107" y="164"/>
                </a:cubicBezTo>
                <a:cubicBezTo>
                  <a:pt x="105" y="166"/>
                  <a:pt x="105" y="164"/>
                  <a:pt x="102" y="167"/>
                </a:cubicBezTo>
                <a:cubicBezTo>
                  <a:pt x="102" y="169"/>
                  <a:pt x="103" y="167"/>
                  <a:pt x="104" y="167"/>
                </a:cubicBezTo>
                <a:cubicBezTo>
                  <a:pt x="103" y="168"/>
                  <a:pt x="102" y="168"/>
                  <a:pt x="101" y="169"/>
                </a:cubicBezTo>
                <a:cubicBezTo>
                  <a:pt x="103" y="169"/>
                  <a:pt x="106" y="166"/>
                  <a:pt x="107" y="164"/>
                </a:cubicBezTo>
                <a:cubicBezTo>
                  <a:pt x="106" y="167"/>
                  <a:pt x="101" y="172"/>
                  <a:pt x="99" y="173"/>
                </a:cubicBezTo>
                <a:cubicBezTo>
                  <a:pt x="99" y="173"/>
                  <a:pt x="99" y="175"/>
                  <a:pt x="98" y="175"/>
                </a:cubicBezTo>
                <a:cubicBezTo>
                  <a:pt x="98" y="175"/>
                  <a:pt x="99" y="175"/>
                  <a:pt x="98" y="175"/>
                </a:cubicBezTo>
                <a:cubicBezTo>
                  <a:pt x="99" y="175"/>
                  <a:pt x="98" y="175"/>
                  <a:pt x="99" y="175"/>
                </a:cubicBezTo>
                <a:cubicBezTo>
                  <a:pt x="99" y="175"/>
                  <a:pt x="100" y="174"/>
                  <a:pt x="100" y="174"/>
                </a:cubicBezTo>
                <a:cubicBezTo>
                  <a:pt x="100" y="174"/>
                  <a:pt x="100" y="174"/>
                  <a:pt x="100" y="174"/>
                </a:cubicBezTo>
                <a:cubicBezTo>
                  <a:pt x="101" y="172"/>
                  <a:pt x="101" y="172"/>
                  <a:pt x="101" y="172"/>
                </a:cubicBezTo>
                <a:cubicBezTo>
                  <a:pt x="102" y="172"/>
                  <a:pt x="103" y="171"/>
                  <a:pt x="104" y="170"/>
                </a:cubicBezTo>
                <a:cubicBezTo>
                  <a:pt x="103" y="170"/>
                  <a:pt x="106" y="168"/>
                  <a:pt x="106" y="167"/>
                </a:cubicBezTo>
                <a:cubicBezTo>
                  <a:pt x="108" y="166"/>
                  <a:pt x="114" y="158"/>
                  <a:pt x="117" y="157"/>
                </a:cubicBezTo>
                <a:cubicBezTo>
                  <a:pt x="117" y="157"/>
                  <a:pt x="116" y="157"/>
                  <a:pt x="117" y="156"/>
                </a:cubicBezTo>
                <a:cubicBezTo>
                  <a:pt x="119" y="155"/>
                  <a:pt x="120" y="153"/>
                  <a:pt x="123" y="151"/>
                </a:cubicBezTo>
                <a:cubicBezTo>
                  <a:pt x="122" y="150"/>
                  <a:pt x="125" y="150"/>
                  <a:pt x="126" y="148"/>
                </a:cubicBezTo>
                <a:cubicBezTo>
                  <a:pt x="126" y="148"/>
                  <a:pt x="127" y="147"/>
                  <a:pt x="126" y="147"/>
                </a:cubicBezTo>
                <a:cubicBezTo>
                  <a:pt x="123" y="150"/>
                  <a:pt x="122" y="148"/>
                  <a:pt x="120" y="151"/>
                </a:cubicBezTo>
                <a:cubicBezTo>
                  <a:pt x="121" y="150"/>
                  <a:pt x="120" y="153"/>
                  <a:pt x="119" y="153"/>
                </a:cubicBezTo>
                <a:cubicBezTo>
                  <a:pt x="119" y="152"/>
                  <a:pt x="117" y="155"/>
                  <a:pt x="116" y="155"/>
                </a:cubicBezTo>
                <a:cubicBezTo>
                  <a:pt x="117" y="154"/>
                  <a:pt x="118" y="153"/>
                  <a:pt x="118" y="152"/>
                </a:cubicBezTo>
                <a:cubicBezTo>
                  <a:pt x="117" y="154"/>
                  <a:pt x="116" y="154"/>
                  <a:pt x="116" y="154"/>
                </a:cubicBezTo>
                <a:cubicBezTo>
                  <a:pt x="116" y="154"/>
                  <a:pt x="117" y="153"/>
                  <a:pt x="117" y="153"/>
                </a:cubicBezTo>
                <a:cubicBezTo>
                  <a:pt x="115" y="155"/>
                  <a:pt x="115" y="155"/>
                  <a:pt x="114" y="157"/>
                </a:cubicBezTo>
                <a:close/>
                <a:moveTo>
                  <a:pt x="119" y="151"/>
                </a:moveTo>
                <a:cubicBezTo>
                  <a:pt x="120" y="150"/>
                  <a:pt x="121" y="149"/>
                  <a:pt x="121" y="148"/>
                </a:cubicBezTo>
                <a:cubicBezTo>
                  <a:pt x="120" y="149"/>
                  <a:pt x="119" y="149"/>
                  <a:pt x="118" y="151"/>
                </a:cubicBezTo>
                <a:cubicBezTo>
                  <a:pt x="118" y="152"/>
                  <a:pt x="119" y="150"/>
                  <a:pt x="120" y="150"/>
                </a:cubicBezTo>
                <a:cubicBezTo>
                  <a:pt x="119" y="151"/>
                  <a:pt x="118" y="152"/>
                  <a:pt x="119" y="151"/>
                </a:cubicBezTo>
                <a:close/>
                <a:moveTo>
                  <a:pt x="124" y="159"/>
                </a:moveTo>
                <a:cubicBezTo>
                  <a:pt x="125" y="159"/>
                  <a:pt x="128" y="159"/>
                  <a:pt x="128" y="157"/>
                </a:cubicBezTo>
                <a:cubicBezTo>
                  <a:pt x="125" y="160"/>
                  <a:pt x="127" y="156"/>
                  <a:pt x="124" y="159"/>
                </a:cubicBezTo>
                <a:close/>
                <a:moveTo>
                  <a:pt x="112" y="142"/>
                </a:moveTo>
                <a:cubicBezTo>
                  <a:pt x="110" y="143"/>
                  <a:pt x="109" y="144"/>
                  <a:pt x="109" y="145"/>
                </a:cubicBezTo>
                <a:cubicBezTo>
                  <a:pt x="110" y="145"/>
                  <a:pt x="111" y="143"/>
                  <a:pt x="112" y="142"/>
                </a:cubicBezTo>
                <a:cubicBezTo>
                  <a:pt x="112" y="143"/>
                  <a:pt x="112" y="143"/>
                  <a:pt x="113" y="142"/>
                </a:cubicBezTo>
                <a:cubicBezTo>
                  <a:pt x="113" y="142"/>
                  <a:pt x="112" y="142"/>
                  <a:pt x="112" y="142"/>
                </a:cubicBezTo>
                <a:close/>
                <a:moveTo>
                  <a:pt x="114" y="170"/>
                </a:moveTo>
                <a:cubicBezTo>
                  <a:pt x="115" y="170"/>
                  <a:pt x="118" y="166"/>
                  <a:pt x="117" y="166"/>
                </a:cubicBezTo>
                <a:cubicBezTo>
                  <a:pt x="115" y="168"/>
                  <a:pt x="116" y="167"/>
                  <a:pt x="114" y="170"/>
                </a:cubicBezTo>
                <a:close/>
                <a:moveTo>
                  <a:pt x="88" y="182"/>
                </a:moveTo>
                <a:cubicBezTo>
                  <a:pt x="88" y="182"/>
                  <a:pt x="89" y="182"/>
                  <a:pt x="89" y="181"/>
                </a:cubicBezTo>
                <a:cubicBezTo>
                  <a:pt x="88" y="181"/>
                  <a:pt x="88" y="182"/>
                  <a:pt x="88" y="182"/>
                </a:cubicBezTo>
                <a:close/>
                <a:moveTo>
                  <a:pt x="108" y="144"/>
                </a:moveTo>
                <a:cubicBezTo>
                  <a:pt x="106" y="144"/>
                  <a:pt x="109" y="142"/>
                  <a:pt x="108" y="142"/>
                </a:cubicBezTo>
                <a:cubicBezTo>
                  <a:pt x="107" y="142"/>
                  <a:pt x="103" y="145"/>
                  <a:pt x="103" y="145"/>
                </a:cubicBezTo>
                <a:cubicBezTo>
                  <a:pt x="105" y="144"/>
                  <a:pt x="106" y="145"/>
                  <a:pt x="107" y="144"/>
                </a:cubicBezTo>
                <a:cubicBezTo>
                  <a:pt x="109" y="143"/>
                  <a:pt x="109" y="143"/>
                  <a:pt x="110" y="141"/>
                </a:cubicBezTo>
                <a:cubicBezTo>
                  <a:pt x="110" y="141"/>
                  <a:pt x="110" y="141"/>
                  <a:pt x="110" y="141"/>
                </a:cubicBezTo>
                <a:cubicBezTo>
                  <a:pt x="107" y="143"/>
                  <a:pt x="110" y="142"/>
                  <a:pt x="108" y="144"/>
                </a:cubicBezTo>
                <a:close/>
                <a:moveTo>
                  <a:pt x="802" y="247"/>
                </a:moveTo>
                <a:cubicBezTo>
                  <a:pt x="799" y="242"/>
                  <a:pt x="799" y="242"/>
                  <a:pt x="799" y="242"/>
                </a:cubicBezTo>
                <a:cubicBezTo>
                  <a:pt x="798" y="242"/>
                  <a:pt x="801" y="247"/>
                  <a:pt x="801" y="246"/>
                </a:cubicBezTo>
                <a:cubicBezTo>
                  <a:pt x="801" y="247"/>
                  <a:pt x="801" y="247"/>
                  <a:pt x="801" y="247"/>
                </a:cubicBezTo>
                <a:cubicBezTo>
                  <a:pt x="800" y="244"/>
                  <a:pt x="802" y="246"/>
                  <a:pt x="802" y="247"/>
                </a:cubicBezTo>
                <a:close/>
                <a:moveTo>
                  <a:pt x="596" y="44"/>
                </a:moveTo>
                <a:cubicBezTo>
                  <a:pt x="592" y="42"/>
                  <a:pt x="592" y="42"/>
                  <a:pt x="592" y="42"/>
                </a:cubicBezTo>
                <a:cubicBezTo>
                  <a:pt x="592" y="43"/>
                  <a:pt x="593" y="43"/>
                  <a:pt x="594" y="44"/>
                </a:cubicBezTo>
                <a:cubicBezTo>
                  <a:pt x="591" y="43"/>
                  <a:pt x="597" y="45"/>
                  <a:pt x="596" y="44"/>
                </a:cubicBezTo>
                <a:close/>
                <a:moveTo>
                  <a:pt x="493" y="9"/>
                </a:moveTo>
                <a:cubicBezTo>
                  <a:pt x="495" y="10"/>
                  <a:pt x="500" y="11"/>
                  <a:pt x="502" y="11"/>
                </a:cubicBezTo>
                <a:cubicBezTo>
                  <a:pt x="500" y="10"/>
                  <a:pt x="492" y="9"/>
                  <a:pt x="493" y="9"/>
                </a:cubicBezTo>
                <a:close/>
                <a:moveTo>
                  <a:pt x="467" y="5"/>
                </a:moveTo>
                <a:cubicBezTo>
                  <a:pt x="469" y="5"/>
                  <a:pt x="477" y="7"/>
                  <a:pt x="475" y="6"/>
                </a:cubicBezTo>
                <a:cubicBezTo>
                  <a:pt x="473" y="6"/>
                  <a:pt x="466" y="4"/>
                  <a:pt x="466" y="5"/>
                </a:cubicBezTo>
                <a:cubicBezTo>
                  <a:pt x="467" y="6"/>
                  <a:pt x="469" y="7"/>
                  <a:pt x="470" y="6"/>
                </a:cubicBezTo>
                <a:cubicBezTo>
                  <a:pt x="469" y="6"/>
                  <a:pt x="468" y="6"/>
                  <a:pt x="467" y="5"/>
                </a:cubicBezTo>
                <a:close/>
                <a:moveTo>
                  <a:pt x="411" y="0"/>
                </a:moveTo>
                <a:cubicBezTo>
                  <a:pt x="410" y="0"/>
                  <a:pt x="406" y="0"/>
                  <a:pt x="404" y="1"/>
                </a:cubicBezTo>
                <a:cubicBezTo>
                  <a:pt x="407" y="1"/>
                  <a:pt x="411" y="1"/>
                  <a:pt x="414" y="1"/>
                </a:cubicBezTo>
                <a:cubicBezTo>
                  <a:pt x="413" y="1"/>
                  <a:pt x="411" y="1"/>
                  <a:pt x="412" y="1"/>
                </a:cubicBezTo>
                <a:cubicBezTo>
                  <a:pt x="413" y="1"/>
                  <a:pt x="417" y="0"/>
                  <a:pt x="415" y="0"/>
                </a:cubicBezTo>
                <a:cubicBezTo>
                  <a:pt x="415" y="1"/>
                  <a:pt x="413" y="0"/>
                  <a:pt x="411" y="0"/>
                </a:cubicBezTo>
                <a:close/>
                <a:moveTo>
                  <a:pt x="394" y="50"/>
                </a:moveTo>
                <a:cubicBezTo>
                  <a:pt x="394" y="49"/>
                  <a:pt x="401" y="50"/>
                  <a:pt x="399" y="50"/>
                </a:cubicBezTo>
                <a:cubicBezTo>
                  <a:pt x="399" y="49"/>
                  <a:pt x="391" y="49"/>
                  <a:pt x="394" y="50"/>
                </a:cubicBezTo>
                <a:close/>
                <a:moveTo>
                  <a:pt x="388" y="50"/>
                </a:moveTo>
                <a:cubicBezTo>
                  <a:pt x="389" y="50"/>
                  <a:pt x="391" y="51"/>
                  <a:pt x="393" y="50"/>
                </a:cubicBezTo>
                <a:cubicBezTo>
                  <a:pt x="384" y="50"/>
                  <a:pt x="379" y="50"/>
                  <a:pt x="376" y="50"/>
                </a:cubicBezTo>
                <a:cubicBezTo>
                  <a:pt x="379" y="50"/>
                  <a:pt x="373" y="51"/>
                  <a:pt x="376" y="51"/>
                </a:cubicBezTo>
                <a:cubicBezTo>
                  <a:pt x="378" y="50"/>
                  <a:pt x="383" y="51"/>
                  <a:pt x="382" y="50"/>
                </a:cubicBezTo>
                <a:cubicBezTo>
                  <a:pt x="383" y="50"/>
                  <a:pt x="386" y="50"/>
                  <a:pt x="388" y="50"/>
                </a:cubicBezTo>
                <a:close/>
                <a:moveTo>
                  <a:pt x="350" y="7"/>
                </a:moveTo>
                <a:cubicBezTo>
                  <a:pt x="351" y="6"/>
                  <a:pt x="358" y="6"/>
                  <a:pt x="359" y="6"/>
                </a:cubicBezTo>
                <a:cubicBezTo>
                  <a:pt x="355" y="6"/>
                  <a:pt x="351" y="7"/>
                  <a:pt x="349" y="7"/>
                </a:cubicBezTo>
                <a:cubicBezTo>
                  <a:pt x="350" y="7"/>
                  <a:pt x="350" y="7"/>
                  <a:pt x="350" y="7"/>
                </a:cubicBezTo>
                <a:cubicBezTo>
                  <a:pt x="350" y="7"/>
                  <a:pt x="349" y="7"/>
                  <a:pt x="350" y="7"/>
                </a:cubicBezTo>
                <a:close/>
                <a:moveTo>
                  <a:pt x="350" y="8"/>
                </a:moveTo>
                <a:cubicBezTo>
                  <a:pt x="350" y="8"/>
                  <a:pt x="350" y="8"/>
                  <a:pt x="351" y="7"/>
                </a:cubicBezTo>
                <a:cubicBezTo>
                  <a:pt x="348" y="8"/>
                  <a:pt x="348" y="7"/>
                  <a:pt x="347" y="7"/>
                </a:cubicBezTo>
                <a:cubicBezTo>
                  <a:pt x="346" y="8"/>
                  <a:pt x="345" y="8"/>
                  <a:pt x="343" y="8"/>
                </a:cubicBezTo>
                <a:cubicBezTo>
                  <a:pt x="342" y="8"/>
                  <a:pt x="336" y="8"/>
                  <a:pt x="335" y="9"/>
                </a:cubicBezTo>
                <a:cubicBezTo>
                  <a:pt x="336" y="9"/>
                  <a:pt x="337" y="9"/>
                  <a:pt x="337" y="9"/>
                </a:cubicBezTo>
                <a:cubicBezTo>
                  <a:pt x="334" y="10"/>
                  <a:pt x="330" y="9"/>
                  <a:pt x="327" y="11"/>
                </a:cubicBezTo>
                <a:cubicBezTo>
                  <a:pt x="331" y="11"/>
                  <a:pt x="333" y="10"/>
                  <a:pt x="336" y="10"/>
                </a:cubicBezTo>
                <a:cubicBezTo>
                  <a:pt x="336" y="9"/>
                  <a:pt x="337" y="9"/>
                  <a:pt x="339" y="9"/>
                </a:cubicBezTo>
                <a:cubicBezTo>
                  <a:pt x="339" y="9"/>
                  <a:pt x="336" y="9"/>
                  <a:pt x="337" y="10"/>
                </a:cubicBezTo>
                <a:cubicBezTo>
                  <a:pt x="342" y="9"/>
                  <a:pt x="350" y="9"/>
                  <a:pt x="351" y="8"/>
                </a:cubicBezTo>
                <a:cubicBezTo>
                  <a:pt x="350" y="8"/>
                  <a:pt x="350" y="8"/>
                  <a:pt x="350" y="8"/>
                </a:cubicBezTo>
                <a:close/>
                <a:moveTo>
                  <a:pt x="314" y="14"/>
                </a:moveTo>
                <a:cubicBezTo>
                  <a:pt x="315" y="14"/>
                  <a:pt x="322" y="13"/>
                  <a:pt x="320" y="13"/>
                </a:cubicBezTo>
                <a:cubicBezTo>
                  <a:pt x="317" y="14"/>
                  <a:pt x="316" y="13"/>
                  <a:pt x="314" y="14"/>
                </a:cubicBezTo>
                <a:close/>
                <a:moveTo>
                  <a:pt x="241" y="77"/>
                </a:moveTo>
                <a:cubicBezTo>
                  <a:pt x="240" y="77"/>
                  <a:pt x="241" y="75"/>
                  <a:pt x="240" y="76"/>
                </a:cubicBezTo>
                <a:cubicBezTo>
                  <a:pt x="240" y="76"/>
                  <a:pt x="238" y="77"/>
                  <a:pt x="238" y="77"/>
                </a:cubicBezTo>
                <a:cubicBezTo>
                  <a:pt x="238" y="77"/>
                  <a:pt x="238" y="77"/>
                  <a:pt x="237" y="77"/>
                </a:cubicBezTo>
                <a:cubicBezTo>
                  <a:pt x="237" y="78"/>
                  <a:pt x="238" y="77"/>
                  <a:pt x="238" y="77"/>
                </a:cubicBezTo>
                <a:cubicBezTo>
                  <a:pt x="236" y="79"/>
                  <a:pt x="236" y="78"/>
                  <a:pt x="235" y="79"/>
                </a:cubicBezTo>
                <a:cubicBezTo>
                  <a:pt x="236" y="79"/>
                  <a:pt x="240" y="77"/>
                  <a:pt x="241" y="77"/>
                </a:cubicBezTo>
                <a:close/>
                <a:moveTo>
                  <a:pt x="232" y="80"/>
                </a:moveTo>
                <a:cubicBezTo>
                  <a:pt x="232" y="81"/>
                  <a:pt x="233" y="81"/>
                  <a:pt x="228" y="83"/>
                </a:cubicBezTo>
                <a:cubicBezTo>
                  <a:pt x="231" y="83"/>
                  <a:pt x="236" y="79"/>
                  <a:pt x="241" y="77"/>
                </a:cubicBezTo>
                <a:cubicBezTo>
                  <a:pt x="238" y="78"/>
                  <a:pt x="235" y="79"/>
                  <a:pt x="232" y="80"/>
                </a:cubicBezTo>
                <a:close/>
                <a:moveTo>
                  <a:pt x="222" y="84"/>
                </a:moveTo>
                <a:cubicBezTo>
                  <a:pt x="220" y="86"/>
                  <a:pt x="220" y="87"/>
                  <a:pt x="223" y="86"/>
                </a:cubicBezTo>
                <a:cubicBezTo>
                  <a:pt x="221" y="87"/>
                  <a:pt x="219" y="89"/>
                  <a:pt x="217" y="89"/>
                </a:cubicBezTo>
                <a:cubicBezTo>
                  <a:pt x="217" y="88"/>
                  <a:pt x="219" y="88"/>
                  <a:pt x="219" y="87"/>
                </a:cubicBezTo>
                <a:cubicBezTo>
                  <a:pt x="217" y="88"/>
                  <a:pt x="213" y="90"/>
                  <a:pt x="213" y="91"/>
                </a:cubicBezTo>
                <a:cubicBezTo>
                  <a:pt x="218" y="88"/>
                  <a:pt x="214" y="91"/>
                  <a:pt x="215" y="91"/>
                </a:cubicBezTo>
                <a:cubicBezTo>
                  <a:pt x="219" y="89"/>
                  <a:pt x="219" y="89"/>
                  <a:pt x="219" y="89"/>
                </a:cubicBezTo>
                <a:cubicBezTo>
                  <a:pt x="219" y="88"/>
                  <a:pt x="224" y="86"/>
                  <a:pt x="226" y="84"/>
                </a:cubicBezTo>
                <a:cubicBezTo>
                  <a:pt x="222" y="86"/>
                  <a:pt x="223" y="85"/>
                  <a:pt x="222" y="84"/>
                </a:cubicBezTo>
                <a:close/>
                <a:moveTo>
                  <a:pt x="214" y="101"/>
                </a:moveTo>
                <a:cubicBezTo>
                  <a:pt x="214" y="103"/>
                  <a:pt x="210" y="104"/>
                  <a:pt x="207" y="106"/>
                </a:cubicBezTo>
                <a:cubicBezTo>
                  <a:pt x="211" y="104"/>
                  <a:pt x="216" y="101"/>
                  <a:pt x="220" y="99"/>
                </a:cubicBezTo>
                <a:cubicBezTo>
                  <a:pt x="219" y="99"/>
                  <a:pt x="215" y="102"/>
                  <a:pt x="215" y="101"/>
                </a:cubicBezTo>
                <a:cubicBezTo>
                  <a:pt x="219" y="99"/>
                  <a:pt x="223" y="98"/>
                  <a:pt x="226" y="95"/>
                </a:cubicBezTo>
                <a:cubicBezTo>
                  <a:pt x="223" y="97"/>
                  <a:pt x="219" y="98"/>
                  <a:pt x="214" y="101"/>
                </a:cubicBezTo>
                <a:close/>
                <a:moveTo>
                  <a:pt x="211" y="86"/>
                </a:moveTo>
                <a:cubicBezTo>
                  <a:pt x="213" y="83"/>
                  <a:pt x="216" y="83"/>
                  <a:pt x="217" y="81"/>
                </a:cubicBezTo>
                <a:cubicBezTo>
                  <a:pt x="214" y="83"/>
                  <a:pt x="214" y="82"/>
                  <a:pt x="210" y="84"/>
                </a:cubicBezTo>
                <a:cubicBezTo>
                  <a:pt x="210" y="85"/>
                  <a:pt x="208" y="86"/>
                  <a:pt x="211" y="86"/>
                </a:cubicBezTo>
                <a:close/>
                <a:moveTo>
                  <a:pt x="210" y="82"/>
                </a:moveTo>
                <a:cubicBezTo>
                  <a:pt x="211" y="82"/>
                  <a:pt x="207" y="83"/>
                  <a:pt x="208" y="84"/>
                </a:cubicBezTo>
                <a:cubicBezTo>
                  <a:pt x="211" y="83"/>
                  <a:pt x="211" y="82"/>
                  <a:pt x="213" y="80"/>
                </a:cubicBezTo>
                <a:cubicBezTo>
                  <a:pt x="214" y="80"/>
                  <a:pt x="214" y="81"/>
                  <a:pt x="215" y="80"/>
                </a:cubicBezTo>
                <a:cubicBezTo>
                  <a:pt x="216" y="79"/>
                  <a:pt x="212" y="81"/>
                  <a:pt x="210" y="82"/>
                </a:cubicBezTo>
                <a:close/>
                <a:moveTo>
                  <a:pt x="203" y="100"/>
                </a:moveTo>
                <a:cubicBezTo>
                  <a:pt x="201" y="100"/>
                  <a:pt x="199" y="102"/>
                  <a:pt x="199" y="102"/>
                </a:cubicBezTo>
                <a:cubicBezTo>
                  <a:pt x="201" y="100"/>
                  <a:pt x="205" y="97"/>
                  <a:pt x="207" y="96"/>
                </a:cubicBezTo>
                <a:cubicBezTo>
                  <a:pt x="207" y="96"/>
                  <a:pt x="213" y="92"/>
                  <a:pt x="212" y="92"/>
                </a:cubicBezTo>
                <a:cubicBezTo>
                  <a:pt x="211" y="93"/>
                  <a:pt x="207" y="95"/>
                  <a:pt x="207" y="96"/>
                </a:cubicBezTo>
                <a:cubicBezTo>
                  <a:pt x="204" y="97"/>
                  <a:pt x="201" y="100"/>
                  <a:pt x="197" y="101"/>
                </a:cubicBezTo>
                <a:cubicBezTo>
                  <a:pt x="197" y="102"/>
                  <a:pt x="198" y="101"/>
                  <a:pt x="196" y="103"/>
                </a:cubicBezTo>
                <a:cubicBezTo>
                  <a:pt x="192" y="104"/>
                  <a:pt x="183" y="110"/>
                  <a:pt x="180" y="114"/>
                </a:cubicBezTo>
                <a:cubicBezTo>
                  <a:pt x="175" y="115"/>
                  <a:pt x="167" y="123"/>
                  <a:pt x="160" y="128"/>
                </a:cubicBezTo>
                <a:cubicBezTo>
                  <a:pt x="161" y="128"/>
                  <a:pt x="163" y="127"/>
                  <a:pt x="161" y="129"/>
                </a:cubicBezTo>
                <a:cubicBezTo>
                  <a:pt x="164" y="127"/>
                  <a:pt x="163" y="126"/>
                  <a:pt x="165" y="125"/>
                </a:cubicBezTo>
                <a:cubicBezTo>
                  <a:pt x="166" y="125"/>
                  <a:pt x="167" y="124"/>
                  <a:pt x="165" y="127"/>
                </a:cubicBezTo>
                <a:cubicBezTo>
                  <a:pt x="167" y="125"/>
                  <a:pt x="166" y="126"/>
                  <a:pt x="168" y="125"/>
                </a:cubicBezTo>
                <a:cubicBezTo>
                  <a:pt x="168" y="124"/>
                  <a:pt x="169" y="122"/>
                  <a:pt x="167" y="123"/>
                </a:cubicBezTo>
                <a:cubicBezTo>
                  <a:pt x="172" y="119"/>
                  <a:pt x="174" y="119"/>
                  <a:pt x="177" y="116"/>
                </a:cubicBezTo>
                <a:cubicBezTo>
                  <a:pt x="176" y="117"/>
                  <a:pt x="178" y="116"/>
                  <a:pt x="179" y="115"/>
                </a:cubicBezTo>
                <a:cubicBezTo>
                  <a:pt x="179" y="115"/>
                  <a:pt x="178" y="115"/>
                  <a:pt x="179" y="114"/>
                </a:cubicBezTo>
                <a:cubicBezTo>
                  <a:pt x="183" y="113"/>
                  <a:pt x="189" y="107"/>
                  <a:pt x="193" y="105"/>
                </a:cubicBezTo>
                <a:cubicBezTo>
                  <a:pt x="193" y="105"/>
                  <a:pt x="192" y="105"/>
                  <a:pt x="194" y="104"/>
                </a:cubicBezTo>
                <a:cubicBezTo>
                  <a:pt x="193" y="106"/>
                  <a:pt x="196" y="103"/>
                  <a:pt x="198" y="102"/>
                </a:cubicBezTo>
                <a:cubicBezTo>
                  <a:pt x="198" y="103"/>
                  <a:pt x="189" y="108"/>
                  <a:pt x="194" y="106"/>
                </a:cubicBezTo>
                <a:cubicBezTo>
                  <a:pt x="192" y="107"/>
                  <a:pt x="190" y="108"/>
                  <a:pt x="190" y="108"/>
                </a:cubicBezTo>
                <a:cubicBezTo>
                  <a:pt x="194" y="106"/>
                  <a:pt x="190" y="109"/>
                  <a:pt x="189" y="110"/>
                </a:cubicBezTo>
                <a:cubicBezTo>
                  <a:pt x="194" y="107"/>
                  <a:pt x="196" y="106"/>
                  <a:pt x="200" y="103"/>
                </a:cubicBezTo>
                <a:cubicBezTo>
                  <a:pt x="201" y="103"/>
                  <a:pt x="200" y="103"/>
                  <a:pt x="201" y="102"/>
                </a:cubicBezTo>
                <a:cubicBezTo>
                  <a:pt x="202" y="102"/>
                  <a:pt x="205" y="100"/>
                  <a:pt x="205" y="99"/>
                </a:cubicBezTo>
                <a:cubicBezTo>
                  <a:pt x="207" y="98"/>
                  <a:pt x="210" y="96"/>
                  <a:pt x="210" y="97"/>
                </a:cubicBezTo>
                <a:cubicBezTo>
                  <a:pt x="212" y="96"/>
                  <a:pt x="213" y="96"/>
                  <a:pt x="213" y="95"/>
                </a:cubicBezTo>
                <a:cubicBezTo>
                  <a:pt x="211" y="96"/>
                  <a:pt x="215" y="94"/>
                  <a:pt x="214" y="94"/>
                </a:cubicBezTo>
                <a:cubicBezTo>
                  <a:pt x="213" y="95"/>
                  <a:pt x="213" y="94"/>
                  <a:pt x="211" y="95"/>
                </a:cubicBezTo>
                <a:cubicBezTo>
                  <a:pt x="211" y="96"/>
                  <a:pt x="207" y="98"/>
                  <a:pt x="205" y="99"/>
                </a:cubicBezTo>
                <a:cubicBezTo>
                  <a:pt x="205" y="99"/>
                  <a:pt x="202" y="101"/>
                  <a:pt x="202" y="101"/>
                </a:cubicBezTo>
                <a:cubicBezTo>
                  <a:pt x="200" y="101"/>
                  <a:pt x="205" y="99"/>
                  <a:pt x="203" y="100"/>
                </a:cubicBezTo>
                <a:close/>
                <a:moveTo>
                  <a:pt x="201" y="82"/>
                </a:moveTo>
                <a:cubicBezTo>
                  <a:pt x="203" y="81"/>
                  <a:pt x="203" y="82"/>
                  <a:pt x="205" y="81"/>
                </a:cubicBezTo>
                <a:cubicBezTo>
                  <a:pt x="205" y="80"/>
                  <a:pt x="206" y="80"/>
                  <a:pt x="205" y="79"/>
                </a:cubicBezTo>
                <a:cubicBezTo>
                  <a:pt x="203" y="80"/>
                  <a:pt x="202" y="81"/>
                  <a:pt x="201" y="82"/>
                </a:cubicBezTo>
                <a:close/>
                <a:moveTo>
                  <a:pt x="192" y="82"/>
                </a:moveTo>
                <a:cubicBezTo>
                  <a:pt x="192" y="81"/>
                  <a:pt x="194" y="80"/>
                  <a:pt x="194" y="80"/>
                </a:cubicBezTo>
                <a:cubicBezTo>
                  <a:pt x="192" y="80"/>
                  <a:pt x="187" y="84"/>
                  <a:pt x="190" y="83"/>
                </a:cubicBezTo>
                <a:cubicBezTo>
                  <a:pt x="192" y="81"/>
                  <a:pt x="191" y="83"/>
                  <a:pt x="191" y="83"/>
                </a:cubicBezTo>
                <a:cubicBezTo>
                  <a:pt x="192" y="83"/>
                  <a:pt x="194" y="82"/>
                  <a:pt x="195" y="81"/>
                </a:cubicBezTo>
                <a:cubicBezTo>
                  <a:pt x="195" y="81"/>
                  <a:pt x="195" y="82"/>
                  <a:pt x="195" y="82"/>
                </a:cubicBezTo>
                <a:cubicBezTo>
                  <a:pt x="197" y="81"/>
                  <a:pt x="197" y="81"/>
                  <a:pt x="197" y="81"/>
                </a:cubicBezTo>
                <a:cubicBezTo>
                  <a:pt x="197" y="80"/>
                  <a:pt x="197" y="80"/>
                  <a:pt x="197" y="80"/>
                </a:cubicBezTo>
                <a:cubicBezTo>
                  <a:pt x="194" y="82"/>
                  <a:pt x="193" y="81"/>
                  <a:pt x="192" y="82"/>
                </a:cubicBezTo>
                <a:close/>
                <a:moveTo>
                  <a:pt x="196" y="84"/>
                </a:moveTo>
                <a:cubicBezTo>
                  <a:pt x="193" y="86"/>
                  <a:pt x="192" y="85"/>
                  <a:pt x="192" y="85"/>
                </a:cubicBezTo>
                <a:cubicBezTo>
                  <a:pt x="192" y="86"/>
                  <a:pt x="191" y="86"/>
                  <a:pt x="191" y="87"/>
                </a:cubicBezTo>
                <a:cubicBezTo>
                  <a:pt x="193" y="86"/>
                  <a:pt x="192" y="87"/>
                  <a:pt x="194" y="87"/>
                </a:cubicBezTo>
                <a:cubicBezTo>
                  <a:pt x="196" y="86"/>
                  <a:pt x="195" y="86"/>
                  <a:pt x="197" y="85"/>
                </a:cubicBezTo>
                <a:cubicBezTo>
                  <a:pt x="198" y="84"/>
                  <a:pt x="195" y="86"/>
                  <a:pt x="195" y="85"/>
                </a:cubicBezTo>
                <a:cubicBezTo>
                  <a:pt x="195" y="85"/>
                  <a:pt x="198" y="82"/>
                  <a:pt x="196" y="83"/>
                </a:cubicBezTo>
                <a:cubicBezTo>
                  <a:pt x="196" y="83"/>
                  <a:pt x="196" y="83"/>
                  <a:pt x="196" y="84"/>
                </a:cubicBezTo>
                <a:close/>
                <a:moveTo>
                  <a:pt x="187" y="104"/>
                </a:moveTo>
                <a:cubicBezTo>
                  <a:pt x="188" y="103"/>
                  <a:pt x="188" y="105"/>
                  <a:pt x="192" y="103"/>
                </a:cubicBezTo>
                <a:cubicBezTo>
                  <a:pt x="192" y="102"/>
                  <a:pt x="190" y="103"/>
                  <a:pt x="190" y="103"/>
                </a:cubicBezTo>
                <a:cubicBezTo>
                  <a:pt x="192" y="102"/>
                  <a:pt x="193" y="101"/>
                  <a:pt x="194" y="99"/>
                </a:cubicBezTo>
                <a:cubicBezTo>
                  <a:pt x="195" y="100"/>
                  <a:pt x="195" y="100"/>
                  <a:pt x="195" y="100"/>
                </a:cubicBezTo>
                <a:cubicBezTo>
                  <a:pt x="197" y="98"/>
                  <a:pt x="198" y="98"/>
                  <a:pt x="201" y="96"/>
                </a:cubicBezTo>
                <a:cubicBezTo>
                  <a:pt x="200" y="96"/>
                  <a:pt x="201" y="94"/>
                  <a:pt x="200" y="95"/>
                </a:cubicBezTo>
                <a:cubicBezTo>
                  <a:pt x="196" y="97"/>
                  <a:pt x="191" y="101"/>
                  <a:pt x="189" y="102"/>
                </a:cubicBezTo>
                <a:cubicBezTo>
                  <a:pt x="188" y="103"/>
                  <a:pt x="191" y="102"/>
                  <a:pt x="188" y="103"/>
                </a:cubicBezTo>
                <a:cubicBezTo>
                  <a:pt x="188" y="103"/>
                  <a:pt x="187" y="104"/>
                  <a:pt x="187" y="104"/>
                </a:cubicBezTo>
                <a:close/>
                <a:moveTo>
                  <a:pt x="198" y="107"/>
                </a:moveTo>
                <a:cubicBezTo>
                  <a:pt x="200" y="106"/>
                  <a:pt x="201" y="105"/>
                  <a:pt x="202" y="105"/>
                </a:cubicBezTo>
                <a:cubicBezTo>
                  <a:pt x="201" y="105"/>
                  <a:pt x="199" y="106"/>
                  <a:pt x="198" y="106"/>
                </a:cubicBezTo>
                <a:cubicBezTo>
                  <a:pt x="200" y="105"/>
                  <a:pt x="200" y="104"/>
                  <a:pt x="202" y="103"/>
                </a:cubicBezTo>
                <a:cubicBezTo>
                  <a:pt x="201" y="104"/>
                  <a:pt x="203" y="102"/>
                  <a:pt x="205" y="102"/>
                </a:cubicBezTo>
                <a:cubicBezTo>
                  <a:pt x="204" y="101"/>
                  <a:pt x="200" y="104"/>
                  <a:pt x="197" y="105"/>
                </a:cubicBezTo>
                <a:cubicBezTo>
                  <a:pt x="199" y="105"/>
                  <a:pt x="196" y="108"/>
                  <a:pt x="198" y="107"/>
                </a:cubicBezTo>
                <a:close/>
                <a:moveTo>
                  <a:pt x="186" y="99"/>
                </a:moveTo>
                <a:cubicBezTo>
                  <a:pt x="183" y="101"/>
                  <a:pt x="173" y="108"/>
                  <a:pt x="182" y="103"/>
                </a:cubicBezTo>
                <a:cubicBezTo>
                  <a:pt x="183" y="101"/>
                  <a:pt x="187" y="99"/>
                  <a:pt x="183" y="102"/>
                </a:cubicBezTo>
                <a:cubicBezTo>
                  <a:pt x="186" y="100"/>
                  <a:pt x="187" y="99"/>
                  <a:pt x="188" y="98"/>
                </a:cubicBezTo>
                <a:cubicBezTo>
                  <a:pt x="187" y="99"/>
                  <a:pt x="187" y="98"/>
                  <a:pt x="186" y="99"/>
                </a:cubicBezTo>
                <a:close/>
                <a:moveTo>
                  <a:pt x="169" y="89"/>
                </a:moveTo>
                <a:cubicBezTo>
                  <a:pt x="171" y="89"/>
                  <a:pt x="178" y="83"/>
                  <a:pt x="174" y="85"/>
                </a:cubicBezTo>
                <a:cubicBezTo>
                  <a:pt x="174" y="86"/>
                  <a:pt x="171" y="88"/>
                  <a:pt x="169" y="89"/>
                </a:cubicBezTo>
                <a:close/>
                <a:moveTo>
                  <a:pt x="182" y="123"/>
                </a:moveTo>
                <a:cubicBezTo>
                  <a:pt x="187" y="120"/>
                  <a:pt x="189" y="118"/>
                  <a:pt x="195" y="114"/>
                </a:cubicBezTo>
                <a:cubicBezTo>
                  <a:pt x="194" y="115"/>
                  <a:pt x="195" y="113"/>
                  <a:pt x="194" y="114"/>
                </a:cubicBezTo>
                <a:cubicBezTo>
                  <a:pt x="194" y="114"/>
                  <a:pt x="191" y="117"/>
                  <a:pt x="189" y="118"/>
                </a:cubicBezTo>
                <a:cubicBezTo>
                  <a:pt x="190" y="117"/>
                  <a:pt x="190" y="117"/>
                  <a:pt x="190" y="116"/>
                </a:cubicBezTo>
                <a:cubicBezTo>
                  <a:pt x="188" y="118"/>
                  <a:pt x="186" y="120"/>
                  <a:pt x="183" y="121"/>
                </a:cubicBezTo>
                <a:cubicBezTo>
                  <a:pt x="184" y="121"/>
                  <a:pt x="184" y="120"/>
                  <a:pt x="183" y="121"/>
                </a:cubicBezTo>
                <a:cubicBezTo>
                  <a:pt x="183" y="121"/>
                  <a:pt x="182" y="123"/>
                  <a:pt x="182" y="123"/>
                </a:cubicBezTo>
                <a:close/>
                <a:moveTo>
                  <a:pt x="178" y="110"/>
                </a:moveTo>
                <a:cubicBezTo>
                  <a:pt x="180" y="109"/>
                  <a:pt x="180" y="109"/>
                  <a:pt x="180" y="109"/>
                </a:cubicBezTo>
                <a:cubicBezTo>
                  <a:pt x="178" y="111"/>
                  <a:pt x="182" y="109"/>
                  <a:pt x="182" y="108"/>
                </a:cubicBezTo>
                <a:cubicBezTo>
                  <a:pt x="181" y="108"/>
                  <a:pt x="179" y="109"/>
                  <a:pt x="178" y="110"/>
                </a:cubicBezTo>
                <a:close/>
                <a:moveTo>
                  <a:pt x="178" y="117"/>
                </a:moveTo>
                <a:cubicBezTo>
                  <a:pt x="177" y="118"/>
                  <a:pt x="176" y="118"/>
                  <a:pt x="175" y="120"/>
                </a:cubicBezTo>
                <a:cubicBezTo>
                  <a:pt x="176" y="119"/>
                  <a:pt x="176" y="119"/>
                  <a:pt x="177" y="119"/>
                </a:cubicBezTo>
                <a:cubicBezTo>
                  <a:pt x="178" y="118"/>
                  <a:pt x="182" y="116"/>
                  <a:pt x="181" y="116"/>
                </a:cubicBezTo>
                <a:cubicBezTo>
                  <a:pt x="177" y="119"/>
                  <a:pt x="181" y="114"/>
                  <a:pt x="178" y="117"/>
                </a:cubicBezTo>
                <a:close/>
                <a:moveTo>
                  <a:pt x="164" y="122"/>
                </a:moveTo>
                <a:cubicBezTo>
                  <a:pt x="169" y="117"/>
                  <a:pt x="172" y="117"/>
                  <a:pt x="177" y="112"/>
                </a:cubicBezTo>
                <a:cubicBezTo>
                  <a:pt x="174" y="114"/>
                  <a:pt x="176" y="112"/>
                  <a:pt x="174" y="113"/>
                </a:cubicBezTo>
                <a:cubicBezTo>
                  <a:pt x="171" y="116"/>
                  <a:pt x="165" y="119"/>
                  <a:pt x="164" y="122"/>
                </a:cubicBezTo>
                <a:close/>
                <a:moveTo>
                  <a:pt x="159" y="111"/>
                </a:moveTo>
                <a:cubicBezTo>
                  <a:pt x="160" y="110"/>
                  <a:pt x="164" y="108"/>
                  <a:pt x="164" y="107"/>
                </a:cubicBezTo>
                <a:cubicBezTo>
                  <a:pt x="162" y="109"/>
                  <a:pt x="158" y="112"/>
                  <a:pt x="159" y="111"/>
                </a:cubicBezTo>
                <a:close/>
                <a:moveTo>
                  <a:pt x="170" y="123"/>
                </a:moveTo>
                <a:cubicBezTo>
                  <a:pt x="172" y="122"/>
                  <a:pt x="175" y="118"/>
                  <a:pt x="172" y="121"/>
                </a:cubicBezTo>
                <a:cubicBezTo>
                  <a:pt x="172" y="121"/>
                  <a:pt x="173" y="120"/>
                  <a:pt x="173" y="121"/>
                </a:cubicBezTo>
                <a:cubicBezTo>
                  <a:pt x="172" y="121"/>
                  <a:pt x="168" y="124"/>
                  <a:pt x="170" y="123"/>
                </a:cubicBezTo>
                <a:close/>
                <a:moveTo>
                  <a:pt x="125" y="113"/>
                </a:moveTo>
                <a:cubicBezTo>
                  <a:pt x="123" y="114"/>
                  <a:pt x="123" y="114"/>
                  <a:pt x="123" y="114"/>
                </a:cubicBezTo>
                <a:cubicBezTo>
                  <a:pt x="123" y="115"/>
                  <a:pt x="122" y="116"/>
                  <a:pt x="123" y="115"/>
                </a:cubicBezTo>
                <a:cubicBezTo>
                  <a:pt x="125" y="114"/>
                  <a:pt x="125" y="114"/>
                  <a:pt x="125" y="113"/>
                </a:cubicBezTo>
                <a:cubicBezTo>
                  <a:pt x="125" y="113"/>
                  <a:pt x="126" y="113"/>
                  <a:pt x="126" y="112"/>
                </a:cubicBezTo>
                <a:cubicBezTo>
                  <a:pt x="125" y="113"/>
                  <a:pt x="125" y="113"/>
                  <a:pt x="125" y="113"/>
                </a:cubicBezTo>
                <a:close/>
                <a:moveTo>
                  <a:pt x="107" y="138"/>
                </a:moveTo>
                <a:cubicBezTo>
                  <a:pt x="106" y="138"/>
                  <a:pt x="106" y="138"/>
                  <a:pt x="105" y="139"/>
                </a:cubicBezTo>
                <a:cubicBezTo>
                  <a:pt x="105" y="138"/>
                  <a:pt x="107" y="136"/>
                  <a:pt x="107" y="136"/>
                </a:cubicBezTo>
                <a:cubicBezTo>
                  <a:pt x="105" y="138"/>
                  <a:pt x="104" y="139"/>
                  <a:pt x="102" y="141"/>
                </a:cubicBezTo>
                <a:cubicBezTo>
                  <a:pt x="104" y="141"/>
                  <a:pt x="106" y="140"/>
                  <a:pt x="108" y="139"/>
                </a:cubicBezTo>
                <a:cubicBezTo>
                  <a:pt x="104" y="141"/>
                  <a:pt x="110" y="134"/>
                  <a:pt x="107" y="137"/>
                </a:cubicBezTo>
                <a:cubicBezTo>
                  <a:pt x="107" y="137"/>
                  <a:pt x="107" y="137"/>
                  <a:pt x="107" y="138"/>
                </a:cubicBezTo>
                <a:close/>
                <a:moveTo>
                  <a:pt x="128" y="160"/>
                </a:moveTo>
                <a:cubicBezTo>
                  <a:pt x="127" y="161"/>
                  <a:pt x="126" y="161"/>
                  <a:pt x="126" y="161"/>
                </a:cubicBezTo>
                <a:cubicBezTo>
                  <a:pt x="125" y="163"/>
                  <a:pt x="128" y="160"/>
                  <a:pt x="128" y="162"/>
                </a:cubicBezTo>
                <a:cubicBezTo>
                  <a:pt x="127" y="163"/>
                  <a:pt x="126" y="164"/>
                  <a:pt x="125" y="164"/>
                </a:cubicBezTo>
                <a:cubicBezTo>
                  <a:pt x="125" y="165"/>
                  <a:pt x="128" y="162"/>
                  <a:pt x="129" y="162"/>
                </a:cubicBezTo>
                <a:cubicBezTo>
                  <a:pt x="128" y="162"/>
                  <a:pt x="127" y="163"/>
                  <a:pt x="127" y="163"/>
                </a:cubicBezTo>
                <a:cubicBezTo>
                  <a:pt x="131" y="161"/>
                  <a:pt x="128" y="162"/>
                  <a:pt x="131" y="159"/>
                </a:cubicBezTo>
                <a:cubicBezTo>
                  <a:pt x="130" y="159"/>
                  <a:pt x="127" y="162"/>
                  <a:pt x="128" y="160"/>
                </a:cubicBezTo>
                <a:close/>
                <a:moveTo>
                  <a:pt x="95" y="148"/>
                </a:moveTo>
                <a:cubicBezTo>
                  <a:pt x="95" y="148"/>
                  <a:pt x="96" y="148"/>
                  <a:pt x="96" y="148"/>
                </a:cubicBezTo>
                <a:cubicBezTo>
                  <a:pt x="94" y="149"/>
                  <a:pt x="94" y="150"/>
                  <a:pt x="94" y="150"/>
                </a:cubicBezTo>
                <a:cubicBezTo>
                  <a:pt x="98" y="147"/>
                  <a:pt x="99" y="145"/>
                  <a:pt x="101" y="143"/>
                </a:cubicBezTo>
                <a:cubicBezTo>
                  <a:pt x="102" y="143"/>
                  <a:pt x="102" y="142"/>
                  <a:pt x="102" y="141"/>
                </a:cubicBezTo>
                <a:cubicBezTo>
                  <a:pt x="100" y="143"/>
                  <a:pt x="97" y="147"/>
                  <a:pt x="95" y="148"/>
                </a:cubicBezTo>
                <a:close/>
                <a:moveTo>
                  <a:pt x="110" y="169"/>
                </a:moveTo>
                <a:cubicBezTo>
                  <a:pt x="110" y="169"/>
                  <a:pt x="111" y="169"/>
                  <a:pt x="111" y="169"/>
                </a:cubicBezTo>
                <a:cubicBezTo>
                  <a:pt x="110" y="170"/>
                  <a:pt x="109" y="171"/>
                  <a:pt x="109" y="171"/>
                </a:cubicBezTo>
                <a:cubicBezTo>
                  <a:pt x="112" y="168"/>
                  <a:pt x="113" y="166"/>
                  <a:pt x="114" y="165"/>
                </a:cubicBezTo>
                <a:cubicBezTo>
                  <a:pt x="114" y="165"/>
                  <a:pt x="114" y="165"/>
                  <a:pt x="114" y="165"/>
                </a:cubicBezTo>
                <a:cubicBezTo>
                  <a:pt x="112" y="167"/>
                  <a:pt x="111" y="169"/>
                  <a:pt x="110" y="169"/>
                </a:cubicBezTo>
                <a:close/>
                <a:moveTo>
                  <a:pt x="91" y="154"/>
                </a:moveTo>
                <a:cubicBezTo>
                  <a:pt x="92" y="155"/>
                  <a:pt x="92" y="155"/>
                  <a:pt x="92" y="155"/>
                </a:cubicBezTo>
                <a:cubicBezTo>
                  <a:pt x="94" y="153"/>
                  <a:pt x="93" y="153"/>
                  <a:pt x="94" y="152"/>
                </a:cubicBezTo>
                <a:cubicBezTo>
                  <a:pt x="94" y="152"/>
                  <a:pt x="94" y="152"/>
                  <a:pt x="95" y="152"/>
                </a:cubicBezTo>
                <a:cubicBezTo>
                  <a:pt x="95" y="152"/>
                  <a:pt x="95" y="151"/>
                  <a:pt x="95" y="151"/>
                </a:cubicBezTo>
                <a:cubicBezTo>
                  <a:pt x="94" y="151"/>
                  <a:pt x="94" y="151"/>
                  <a:pt x="94" y="152"/>
                </a:cubicBezTo>
                <a:cubicBezTo>
                  <a:pt x="93" y="153"/>
                  <a:pt x="93" y="153"/>
                  <a:pt x="91" y="154"/>
                </a:cubicBezTo>
                <a:close/>
                <a:moveTo>
                  <a:pt x="92" y="162"/>
                </a:moveTo>
                <a:cubicBezTo>
                  <a:pt x="94" y="162"/>
                  <a:pt x="97" y="157"/>
                  <a:pt x="99" y="155"/>
                </a:cubicBezTo>
                <a:cubicBezTo>
                  <a:pt x="96" y="158"/>
                  <a:pt x="95" y="159"/>
                  <a:pt x="92" y="162"/>
                </a:cubicBezTo>
                <a:close/>
                <a:moveTo>
                  <a:pt x="88" y="161"/>
                </a:moveTo>
                <a:cubicBezTo>
                  <a:pt x="87" y="161"/>
                  <a:pt x="87" y="161"/>
                  <a:pt x="87" y="161"/>
                </a:cubicBezTo>
                <a:cubicBezTo>
                  <a:pt x="87" y="161"/>
                  <a:pt x="87" y="161"/>
                  <a:pt x="87" y="161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3"/>
                  <a:pt x="87" y="163"/>
                </a:cubicBezTo>
                <a:cubicBezTo>
                  <a:pt x="87" y="163"/>
                  <a:pt x="87" y="162"/>
                  <a:pt x="87" y="162"/>
                </a:cubicBezTo>
                <a:cubicBezTo>
                  <a:pt x="87" y="162"/>
                  <a:pt x="87" y="162"/>
                  <a:pt x="88" y="161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8" y="162"/>
                  <a:pt x="90" y="159"/>
                  <a:pt x="91" y="158"/>
                </a:cubicBezTo>
                <a:cubicBezTo>
                  <a:pt x="91" y="157"/>
                  <a:pt x="93" y="157"/>
                  <a:pt x="94" y="156"/>
                </a:cubicBezTo>
                <a:cubicBezTo>
                  <a:pt x="92" y="156"/>
                  <a:pt x="90" y="158"/>
                  <a:pt x="88" y="161"/>
                </a:cubicBezTo>
                <a:close/>
                <a:moveTo>
                  <a:pt x="106" y="176"/>
                </a:moveTo>
                <a:cubicBezTo>
                  <a:pt x="106" y="177"/>
                  <a:pt x="105" y="177"/>
                  <a:pt x="105" y="178"/>
                </a:cubicBezTo>
                <a:cubicBezTo>
                  <a:pt x="104" y="178"/>
                  <a:pt x="104" y="178"/>
                  <a:pt x="104" y="178"/>
                </a:cubicBezTo>
                <a:cubicBezTo>
                  <a:pt x="104" y="179"/>
                  <a:pt x="103" y="179"/>
                  <a:pt x="103" y="180"/>
                </a:cubicBezTo>
                <a:cubicBezTo>
                  <a:pt x="104" y="179"/>
                  <a:pt x="104" y="180"/>
                  <a:pt x="104" y="179"/>
                </a:cubicBezTo>
                <a:cubicBezTo>
                  <a:pt x="105" y="179"/>
                  <a:pt x="105" y="180"/>
                  <a:pt x="106" y="179"/>
                </a:cubicBezTo>
                <a:cubicBezTo>
                  <a:pt x="105" y="179"/>
                  <a:pt x="105" y="179"/>
                  <a:pt x="105" y="179"/>
                </a:cubicBezTo>
                <a:cubicBezTo>
                  <a:pt x="105" y="178"/>
                  <a:pt x="105" y="179"/>
                  <a:pt x="106" y="178"/>
                </a:cubicBezTo>
                <a:cubicBezTo>
                  <a:pt x="105" y="179"/>
                  <a:pt x="108" y="175"/>
                  <a:pt x="108" y="175"/>
                </a:cubicBezTo>
                <a:cubicBezTo>
                  <a:pt x="108" y="175"/>
                  <a:pt x="108" y="175"/>
                  <a:pt x="109" y="175"/>
                </a:cubicBezTo>
                <a:cubicBezTo>
                  <a:pt x="108" y="175"/>
                  <a:pt x="107" y="175"/>
                  <a:pt x="106" y="176"/>
                </a:cubicBezTo>
                <a:close/>
                <a:moveTo>
                  <a:pt x="109" y="180"/>
                </a:moveTo>
                <a:cubicBezTo>
                  <a:pt x="108" y="180"/>
                  <a:pt x="108" y="180"/>
                  <a:pt x="108" y="180"/>
                </a:cubicBezTo>
                <a:cubicBezTo>
                  <a:pt x="108" y="181"/>
                  <a:pt x="108" y="181"/>
                  <a:pt x="108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6" y="182"/>
                  <a:pt x="106" y="183"/>
                  <a:pt x="105" y="184"/>
                </a:cubicBezTo>
                <a:cubicBezTo>
                  <a:pt x="106" y="184"/>
                  <a:pt x="107" y="183"/>
                  <a:pt x="107" y="182"/>
                </a:cubicBezTo>
                <a:cubicBezTo>
                  <a:pt x="108" y="182"/>
                  <a:pt x="108" y="182"/>
                  <a:pt x="108" y="182"/>
                </a:cubicBezTo>
                <a:cubicBezTo>
                  <a:pt x="108" y="182"/>
                  <a:pt x="108" y="182"/>
                  <a:pt x="110" y="180"/>
                </a:cubicBezTo>
                <a:cubicBezTo>
                  <a:pt x="110" y="180"/>
                  <a:pt x="109" y="180"/>
                  <a:pt x="109" y="180"/>
                </a:cubicBezTo>
                <a:close/>
                <a:moveTo>
                  <a:pt x="88" y="171"/>
                </a:moveTo>
                <a:cubicBezTo>
                  <a:pt x="89" y="170"/>
                  <a:pt x="88" y="170"/>
                  <a:pt x="88" y="170"/>
                </a:cubicBezTo>
                <a:cubicBezTo>
                  <a:pt x="89" y="171"/>
                  <a:pt x="90" y="169"/>
                  <a:pt x="90" y="169"/>
                </a:cubicBezTo>
                <a:cubicBezTo>
                  <a:pt x="90" y="169"/>
                  <a:pt x="90" y="168"/>
                  <a:pt x="89" y="169"/>
                </a:cubicBezTo>
                <a:cubicBezTo>
                  <a:pt x="89" y="169"/>
                  <a:pt x="88" y="170"/>
                  <a:pt x="88" y="171"/>
                </a:cubicBezTo>
                <a:close/>
                <a:moveTo>
                  <a:pt x="98" y="180"/>
                </a:moveTo>
                <a:cubicBezTo>
                  <a:pt x="99" y="179"/>
                  <a:pt x="99" y="180"/>
                  <a:pt x="100" y="180"/>
                </a:cubicBezTo>
                <a:cubicBezTo>
                  <a:pt x="99" y="179"/>
                  <a:pt x="98" y="179"/>
                  <a:pt x="98" y="180"/>
                </a:cubicBezTo>
                <a:close/>
                <a:moveTo>
                  <a:pt x="102" y="183"/>
                </a:moveTo>
                <a:cubicBezTo>
                  <a:pt x="102" y="182"/>
                  <a:pt x="101" y="182"/>
                  <a:pt x="102" y="182"/>
                </a:cubicBezTo>
                <a:cubicBezTo>
                  <a:pt x="102" y="182"/>
                  <a:pt x="102" y="183"/>
                  <a:pt x="102" y="182"/>
                </a:cubicBezTo>
                <a:cubicBezTo>
                  <a:pt x="102" y="182"/>
                  <a:pt x="101" y="182"/>
                  <a:pt x="101" y="182"/>
                </a:cubicBezTo>
                <a:cubicBezTo>
                  <a:pt x="102" y="182"/>
                  <a:pt x="101" y="183"/>
                  <a:pt x="102" y="183"/>
                </a:cubicBezTo>
                <a:close/>
                <a:moveTo>
                  <a:pt x="102" y="191"/>
                </a:moveTo>
                <a:cubicBezTo>
                  <a:pt x="102" y="191"/>
                  <a:pt x="104" y="189"/>
                  <a:pt x="104" y="188"/>
                </a:cubicBezTo>
                <a:cubicBezTo>
                  <a:pt x="103" y="187"/>
                  <a:pt x="103" y="186"/>
                  <a:pt x="102" y="187"/>
                </a:cubicBezTo>
                <a:cubicBezTo>
                  <a:pt x="104" y="188"/>
                  <a:pt x="101" y="190"/>
                  <a:pt x="102" y="191"/>
                </a:cubicBezTo>
                <a:close/>
                <a:moveTo>
                  <a:pt x="100" y="187"/>
                </a:moveTo>
                <a:cubicBezTo>
                  <a:pt x="100" y="187"/>
                  <a:pt x="99" y="187"/>
                  <a:pt x="100" y="187"/>
                </a:cubicBezTo>
                <a:cubicBezTo>
                  <a:pt x="100" y="187"/>
                  <a:pt x="101" y="187"/>
                  <a:pt x="101" y="187"/>
                </a:cubicBezTo>
                <a:cubicBezTo>
                  <a:pt x="100" y="187"/>
                  <a:pt x="100" y="187"/>
                  <a:pt x="100" y="187"/>
                </a:cubicBezTo>
                <a:close/>
                <a:moveTo>
                  <a:pt x="99" y="192"/>
                </a:moveTo>
                <a:cubicBezTo>
                  <a:pt x="97" y="193"/>
                  <a:pt x="94" y="197"/>
                  <a:pt x="94" y="198"/>
                </a:cubicBezTo>
                <a:cubicBezTo>
                  <a:pt x="95" y="197"/>
                  <a:pt x="96" y="196"/>
                  <a:pt x="97" y="194"/>
                </a:cubicBezTo>
                <a:cubicBezTo>
                  <a:pt x="97" y="195"/>
                  <a:pt x="97" y="195"/>
                  <a:pt x="97" y="194"/>
                </a:cubicBezTo>
                <a:cubicBezTo>
                  <a:pt x="98" y="192"/>
                  <a:pt x="101" y="192"/>
                  <a:pt x="102" y="189"/>
                </a:cubicBezTo>
                <a:cubicBezTo>
                  <a:pt x="101" y="189"/>
                  <a:pt x="101" y="190"/>
                  <a:pt x="101" y="190"/>
                </a:cubicBezTo>
                <a:cubicBezTo>
                  <a:pt x="100" y="189"/>
                  <a:pt x="102" y="189"/>
                  <a:pt x="102" y="188"/>
                </a:cubicBezTo>
                <a:cubicBezTo>
                  <a:pt x="100" y="189"/>
                  <a:pt x="100" y="191"/>
                  <a:pt x="98" y="191"/>
                </a:cubicBezTo>
                <a:cubicBezTo>
                  <a:pt x="99" y="191"/>
                  <a:pt x="99" y="192"/>
                  <a:pt x="99" y="192"/>
                </a:cubicBezTo>
                <a:close/>
                <a:moveTo>
                  <a:pt x="95" y="191"/>
                </a:moveTo>
                <a:cubicBezTo>
                  <a:pt x="96" y="191"/>
                  <a:pt x="95" y="192"/>
                  <a:pt x="96" y="192"/>
                </a:cubicBezTo>
                <a:cubicBezTo>
                  <a:pt x="96" y="191"/>
                  <a:pt x="98" y="191"/>
                  <a:pt x="97" y="190"/>
                </a:cubicBezTo>
                <a:cubicBezTo>
                  <a:pt x="98" y="190"/>
                  <a:pt x="98" y="189"/>
                  <a:pt x="98" y="189"/>
                </a:cubicBezTo>
                <a:cubicBezTo>
                  <a:pt x="98" y="189"/>
                  <a:pt x="97" y="189"/>
                  <a:pt x="98" y="189"/>
                </a:cubicBezTo>
                <a:cubicBezTo>
                  <a:pt x="98" y="189"/>
                  <a:pt x="99" y="189"/>
                  <a:pt x="100" y="188"/>
                </a:cubicBezTo>
                <a:cubicBezTo>
                  <a:pt x="99" y="187"/>
                  <a:pt x="99" y="187"/>
                  <a:pt x="99" y="187"/>
                </a:cubicBezTo>
                <a:cubicBezTo>
                  <a:pt x="98" y="187"/>
                  <a:pt x="99" y="188"/>
                  <a:pt x="98" y="188"/>
                </a:cubicBezTo>
                <a:cubicBezTo>
                  <a:pt x="98" y="187"/>
                  <a:pt x="96" y="189"/>
                  <a:pt x="97" y="190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0"/>
                  <a:pt x="97" y="190"/>
                  <a:pt x="96" y="191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1"/>
                  <a:pt x="96" y="191"/>
                  <a:pt x="95" y="191"/>
                </a:cubicBezTo>
                <a:close/>
                <a:moveTo>
                  <a:pt x="85" y="191"/>
                </a:moveTo>
                <a:cubicBezTo>
                  <a:pt x="85" y="194"/>
                  <a:pt x="82" y="195"/>
                  <a:pt x="81" y="197"/>
                </a:cubicBezTo>
                <a:cubicBezTo>
                  <a:pt x="82" y="198"/>
                  <a:pt x="82" y="197"/>
                  <a:pt x="82" y="197"/>
                </a:cubicBezTo>
                <a:cubicBezTo>
                  <a:pt x="84" y="195"/>
                  <a:pt x="85" y="193"/>
                  <a:pt x="87" y="192"/>
                </a:cubicBezTo>
                <a:cubicBezTo>
                  <a:pt x="87" y="192"/>
                  <a:pt x="87" y="193"/>
                  <a:pt x="88" y="193"/>
                </a:cubicBezTo>
                <a:cubicBezTo>
                  <a:pt x="88" y="193"/>
                  <a:pt x="89" y="191"/>
                  <a:pt x="90" y="191"/>
                </a:cubicBezTo>
                <a:cubicBezTo>
                  <a:pt x="89" y="190"/>
                  <a:pt x="89" y="190"/>
                  <a:pt x="89" y="190"/>
                </a:cubicBezTo>
                <a:cubicBezTo>
                  <a:pt x="89" y="191"/>
                  <a:pt x="88" y="193"/>
                  <a:pt x="87" y="192"/>
                </a:cubicBezTo>
                <a:cubicBezTo>
                  <a:pt x="87" y="191"/>
                  <a:pt x="88" y="190"/>
                  <a:pt x="89" y="189"/>
                </a:cubicBezTo>
                <a:cubicBezTo>
                  <a:pt x="88" y="189"/>
                  <a:pt x="88" y="188"/>
                  <a:pt x="87" y="189"/>
                </a:cubicBezTo>
                <a:cubicBezTo>
                  <a:pt x="88" y="189"/>
                  <a:pt x="87" y="190"/>
                  <a:pt x="88" y="190"/>
                </a:cubicBezTo>
                <a:cubicBezTo>
                  <a:pt x="87" y="190"/>
                  <a:pt x="88" y="190"/>
                  <a:pt x="87" y="190"/>
                </a:cubicBezTo>
                <a:cubicBezTo>
                  <a:pt x="86" y="190"/>
                  <a:pt x="86" y="192"/>
                  <a:pt x="85" y="191"/>
                </a:cubicBezTo>
                <a:cubicBezTo>
                  <a:pt x="86" y="191"/>
                  <a:pt x="86" y="191"/>
                  <a:pt x="86" y="191"/>
                </a:cubicBezTo>
                <a:cubicBezTo>
                  <a:pt x="85" y="191"/>
                  <a:pt x="86" y="191"/>
                  <a:pt x="85" y="191"/>
                </a:cubicBezTo>
                <a:close/>
                <a:moveTo>
                  <a:pt x="94" y="201"/>
                </a:moveTo>
                <a:cubicBezTo>
                  <a:pt x="95" y="200"/>
                  <a:pt x="94" y="199"/>
                  <a:pt x="95" y="200"/>
                </a:cubicBezTo>
                <a:cubicBezTo>
                  <a:pt x="95" y="199"/>
                  <a:pt x="95" y="199"/>
                  <a:pt x="96" y="199"/>
                </a:cubicBezTo>
                <a:cubicBezTo>
                  <a:pt x="94" y="198"/>
                  <a:pt x="94" y="200"/>
                  <a:pt x="94" y="201"/>
                </a:cubicBezTo>
                <a:close/>
                <a:moveTo>
                  <a:pt x="93" y="198"/>
                </a:moveTo>
                <a:cubicBezTo>
                  <a:pt x="93" y="199"/>
                  <a:pt x="93" y="199"/>
                  <a:pt x="92" y="199"/>
                </a:cubicBezTo>
                <a:cubicBezTo>
                  <a:pt x="93" y="200"/>
                  <a:pt x="91" y="200"/>
                  <a:pt x="92" y="200"/>
                </a:cubicBezTo>
                <a:cubicBezTo>
                  <a:pt x="92" y="199"/>
                  <a:pt x="94" y="199"/>
                  <a:pt x="93" y="198"/>
                </a:cubicBezTo>
                <a:close/>
                <a:moveTo>
                  <a:pt x="91" y="201"/>
                </a:moveTo>
                <a:cubicBezTo>
                  <a:pt x="91" y="202"/>
                  <a:pt x="91" y="201"/>
                  <a:pt x="90" y="201"/>
                </a:cubicBezTo>
                <a:cubicBezTo>
                  <a:pt x="90" y="202"/>
                  <a:pt x="91" y="202"/>
                  <a:pt x="91" y="202"/>
                </a:cubicBezTo>
                <a:cubicBezTo>
                  <a:pt x="91" y="202"/>
                  <a:pt x="91" y="202"/>
                  <a:pt x="91" y="203"/>
                </a:cubicBezTo>
                <a:cubicBezTo>
                  <a:pt x="91" y="202"/>
                  <a:pt x="92" y="202"/>
                  <a:pt x="91" y="202"/>
                </a:cubicBezTo>
                <a:cubicBezTo>
                  <a:pt x="92" y="201"/>
                  <a:pt x="92" y="202"/>
                  <a:pt x="92" y="201"/>
                </a:cubicBezTo>
                <a:cubicBezTo>
                  <a:pt x="92" y="201"/>
                  <a:pt x="92" y="201"/>
                  <a:pt x="92" y="201"/>
                </a:cubicBezTo>
                <a:cubicBezTo>
                  <a:pt x="92" y="200"/>
                  <a:pt x="92" y="201"/>
                  <a:pt x="93" y="201"/>
                </a:cubicBezTo>
                <a:cubicBezTo>
                  <a:pt x="93" y="200"/>
                  <a:pt x="93" y="200"/>
                  <a:pt x="93" y="200"/>
                </a:cubicBezTo>
                <a:cubicBezTo>
                  <a:pt x="92" y="199"/>
                  <a:pt x="92" y="201"/>
                  <a:pt x="91" y="201"/>
                </a:cubicBezTo>
                <a:close/>
                <a:moveTo>
                  <a:pt x="87" y="202"/>
                </a:moveTo>
                <a:cubicBezTo>
                  <a:pt x="87" y="203"/>
                  <a:pt x="86" y="204"/>
                  <a:pt x="86" y="205"/>
                </a:cubicBezTo>
                <a:cubicBezTo>
                  <a:pt x="88" y="203"/>
                  <a:pt x="89" y="204"/>
                  <a:pt x="90" y="205"/>
                </a:cubicBezTo>
                <a:cubicBezTo>
                  <a:pt x="89" y="204"/>
                  <a:pt x="90" y="204"/>
                  <a:pt x="90" y="204"/>
                </a:cubicBezTo>
                <a:cubicBezTo>
                  <a:pt x="90" y="204"/>
                  <a:pt x="89" y="204"/>
                  <a:pt x="89" y="203"/>
                </a:cubicBezTo>
                <a:cubicBezTo>
                  <a:pt x="89" y="204"/>
                  <a:pt x="89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2"/>
                  <a:pt x="89" y="202"/>
                </a:cubicBezTo>
                <a:cubicBezTo>
                  <a:pt x="87" y="202"/>
                  <a:pt x="88" y="201"/>
                  <a:pt x="87" y="202"/>
                </a:cubicBezTo>
                <a:close/>
                <a:moveTo>
                  <a:pt x="64" y="186"/>
                </a:move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4" y="186"/>
                  <a:pt x="64" y="186"/>
                </a:cubicBezTo>
                <a:close/>
                <a:moveTo>
                  <a:pt x="86" y="208"/>
                </a:moveTo>
                <a:cubicBezTo>
                  <a:pt x="86" y="208"/>
                  <a:pt x="86" y="207"/>
                  <a:pt x="86" y="207"/>
                </a:cubicBezTo>
                <a:cubicBezTo>
                  <a:pt x="85" y="207"/>
                  <a:pt x="87" y="207"/>
                  <a:pt x="87" y="206"/>
                </a:cubicBezTo>
                <a:cubicBezTo>
                  <a:pt x="86" y="206"/>
                  <a:pt x="85" y="208"/>
                  <a:pt x="86" y="208"/>
                </a:cubicBezTo>
                <a:close/>
                <a:moveTo>
                  <a:pt x="84" y="206"/>
                </a:moveTo>
                <a:cubicBezTo>
                  <a:pt x="84" y="206"/>
                  <a:pt x="84" y="207"/>
                  <a:pt x="85" y="206"/>
                </a:cubicBezTo>
                <a:cubicBezTo>
                  <a:pt x="84" y="206"/>
                  <a:pt x="84" y="205"/>
                  <a:pt x="84" y="206"/>
                </a:cubicBezTo>
                <a:cubicBezTo>
                  <a:pt x="84" y="206"/>
                  <a:pt x="83" y="205"/>
                  <a:pt x="84" y="206"/>
                </a:cubicBezTo>
                <a:close/>
                <a:moveTo>
                  <a:pt x="79" y="215"/>
                </a:moveTo>
                <a:cubicBezTo>
                  <a:pt x="79" y="215"/>
                  <a:pt x="79" y="215"/>
                  <a:pt x="80" y="215"/>
                </a:cubicBezTo>
                <a:cubicBezTo>
                  <a:pt x="80" y="214"/>
                  <a:pt x="82" y="213"/>
                  <a:pt x="81" y="212"/>
                </a:cubicBezTo>
                <a:cubicBezTo>
                  <a:pt x="81" y="212"/>
                  <a:pt x="81" y="212"/>
                  <a:pt x="81" y="212"/>
                </a:cubicBezTo>
                <a:cubicBezTo>
                  <a:pt x="81" y="212"/>
                  <a:pt x="80" y="212"/>
                  <a:pt x="80" y="212"/>
                </a:cubicBezTo>
                <a:cubicBezTo>
                  <a:pt x="81" y="212"/>
                  <a:pt x="81" y="212"/>
                  <a:pt x="81" y="213"/>
                </a:cubicBezTo>
                <a:cubicBezTo>
                  <a:pt x="80" y="212"/>
                  <a:pt x="80" y="213"/>
                  <a:pt x="80" y="212"/>
                </a:cubicBezTo>
                <a:cubicBezTo>
                  <a:pt x="79" y="212"/>
                  <a:pt x="79" y="212"/>
                  <a:pt x="79" y="213"/>
                </a:cubicBezTo>
                <a:cubicBezTo>
                  <a:pt x="79" y="214"/>
                  <a:pt x="77" y="216"/>
                  <a:pt x="76" y="217"/>
                </a:cubicBezTo>
                <a:cubicBezTo>
                  <a:pt x="77" y="217"/>
                  <a:pt x="77" y="216"/>
                  <a:pt x="77" y="217"/>
                </a:cubicBezTo>
                <a:cubicBezTo>
                  <a:pt x="77" y="217"/>
                  <a:pt x="77" y="217"/>
                  <a:pt x="77" y="217"/>
                </a:cubicBezTo>
                <a:cubicBezTo>
                  <a:pt x="77" y="217"/>
                  <a:pt x="78" y="216"/>
                  <a:pt x="79" y="216"/>
                </a:cubicBezTo>
                <a:cubicBezTo>
                  <a:pt x="78" y="216"/>
                  <a:pt x="78" y="215"/>
                  <a:pt x="78" y="215"/>
                </a:cubicBezTo>
                <a:cubicBezTo>
                  <a:pt x="79" y="215"/>
                  <a:pt x="78" y="215"/>
                  <a:pt x="79" y="215"/>
                </a:cubicBezTo>
                <a:cubicBezTo>
                  <a:pt x="79" y="215"/>
                  <a:pt x="79" y="215"/>
                  <a:pt x="79" y="215"/>
                </a:cubicBezTo>
                <a:close/>
                <a:moveTo>
                  <a:pt x="74" y="207"/>
                </a:moveTo>
                <a:cubicBezTo>
                  <a:pt x="73" y="207"/>
                  <a:pt x="73" y="208"/>
                  <a:pt x="72" y="207"/>
                </a:cubicBezTo>
                <a:cubicBezTo>
                  <a:pt x="71" y="209"/>
                  <a:pt x="70" y="210"/>
                  <a:pt x="69" y="210"/>
                </a:cubicBezTo>
                <a:cubicBezTo>
                  <a:pt x="68" y="211"/>
                  <a:pt x="69" y="210"/>
                  <a:pt x="69" y="211"/>
                </a:cubicBezTo>
                <a:cubicBezTo>
                  <a:pt x="68" y="211"/>
                  <a:pt x="69" y="212"/>
                  <a:pt x="68" y="212"/>
                </a:cubicBezTo>
                <a:cubicBezTo>
                  <a:pt x="69" y="212"/>
                  <a:pt x="69" y="211"/>
                  <a:pt x="68" y="211"/>
                </a:cubicBezTo>
                <a:cubicBezTo>
                  <a:pt x="68" y="212"/>
                  <a:pt x="67" y="212"/>
                  <a:pt x="68" y="213"/>
                </a:cubicBezTo>
                <a:cubicBezTo>
                  <a:pt x="68" y="213"/>
                  <a:pt x="68" y="213"/>
                  <a:pt x="68" y="213"/>
                </a:cubicBezTo>
                <a:cubicBezTo>
                  <a:pt x="69" y="212"/>
                  <a:pt x="69" y="213"/>
                  <a:pt x="69" y="214"/>
                </a:cubicBezTo>
                <a:cubicBezTo>
                  <a:pt x="70" y="213"/>
                  <a:pt x="70" y="211"/>
                  <a:pt x="71" y="211"/>
                </a:cubicBezTo>
                <a:cubicBezTo>
                  <a:pt x="70" y="211"/>
                  <a:pt x="70" y="212"/>
                  <a:pt x="70" y="212"/>
                </a:cubicBezTo>
                <a:cubicBezTo>
                  <a:pt x="71" y="212"/>
                  <a:pt x="71" y="212"/>
                  <a:pt x="71" y="212"/>
                </a:cubicBezTo>
                <a:cubicBezTo>
                  <a:pt x="71" y="213"/>
                  <a:pt x="70" y="213"/>
                  <a:pt x="71" y="214"/>
                </a:cubicBezTo>
                <a:cubicBezTo>
                  <a:pt x="69" y="213"/>
                  <a:pt x="70" y="215"/>
                  <a:pt x="69" y="216"/>
                </a:cubicBezTo>
                <a:cubicBezTo>
                  <a:pt x="68" y="217"/>
                  <a:pt x="66" y="218"/>
                  <a:pt x="67" y="219"/>
                </a:cubicBezTo>
                <a:cubicBezTo>
                  <a:pt x="65" y="219"/>
                  <a:pt x="64" y="222"/>
                  <a:pt x="62" y="223"/>
                </a:cubicBezTo>
                <a:cubicBezTo>
                  <a:pt x="63" y="223"/>
                  <a:pt x="62" y="223"/>
                  <a:pt x="63" y="223"/>
                </a:cubicBezTo>
                <a:cubicBezTo>
                  <a:pt x="63" y="223"/>
                  <a:pt x="62" y="225"/>
                  <a:pt x="63" y="225"/>
                </a:cubicBezTo>
                <a:cubicBezTo>
                  <a:pt x="63" y="224"/>
                  <a:pt x="63" y="223"/>
                  <a:pt x="64" y="223"/>
                </a:cubicBezTo>
                <a:cubicBezTo>
                  <a:pt x="64" y="221"/>
                  <a:pt x="67" y="221"/>
                  <a:pt x="67" y="219"/>
                </a:cubicBezTo>
                <a:cubicBezTo>
                  <a:pt x="68" y="218"/>
                  <a:pt x="68" y="218"/>
                  <a:pt x="69" y="217"/>
                </a:cubicBezTo>
                <a:cubicBezTo>
                  <a:pt x="69" y="217"/>
                  <a:pt x="68" y="217"/>
                  <a:pt x="69" y="216"/>
                </a:cubicBezTo>
                <a:cubicBezTo>
                  <a:pt x="70" y="217"/>
                  <a:pt x="69" y="216"/>
                  <a:pt x="69" y="216"/>
                </a:cubicBezTo>
                <a:cubicBezTo>
                  <a:pt x="70" y="216"/>
                  <a:pt x="73" y="213"/>
                  <a:pt x="72" y="212"/>
                </a:cubicBezTo>
                <a:cubicBezTo>
                  <a:pt x="73" y="212"/>
                  <a:pt x="73" y="212"/>
                  <a:pt x="73" y="212"/>
                </a:cubicBezTo>
                <a:cubicBezTo>
                  <a:pt x="73" y="211"/>
                  <a:pt x="73" y="210"/>
                  <a:pt x="72" y="210"/>
                </a:cubicBezTo>
                <a:cubicBezTo>
                  <a:pt x="73" y="210"/>
                  <a:pt x="73" y="210"/>
                  <a:pt x="73" y="211"/>
                </a:cubicBezTo>
                <a:cubicBezTo>
                  <a:pt x="72" y="210"/>
                  <a:pt x="72" y="211"/>
                  <a:pt x="72" y="211"/>
                </a:cubicBezTo>
                <a:cubicBezTo>
                  <a:pt x="72" y="210"/>
                  <a:pt x="72" y="209"/>
                  <a:pt x="72" y="209"/>
                </a:cubicBezTo>
                <a:cubicBezTo>
                  <a:pt x="72" y="210"/>
                  <a:pt x="71" y="210"/>
                  <a:pt x="71" y="210"/>
                </a:cubicBezTo>
                <a:cubicBezTo>
                  <a:pt x="72" y="210"/>
                  <a:pt x="71" y="209"/>
                  <a:pt x="72" y="209"/>
                </a:cubicBezTo>
                <a:cubicBezTo>
                  <a:pt x="73" y="209"/>
                  <a:pt x="72" y="207"/>
                  <a:pt x="74" y="208"/>
                </a:cubicBezTo>
                <a:cubicBezTo>
                  <a:pt x="74" y="208"/>
                  <a:pt x="74" y="207"/>
                  <a:pt x="74" y="207"/>
                </a:cubicBezTo>
                <a:close/>
                <a:moveTo>
                  <a:pt x="64" y="211"/>
                </a:moveTo>
                <a:cubicBezTo>
                  <a:pt x="66" y="211"/>
                  <a:pt x="67" y="206"/>
                  <a:pt x="68" y="207"/>
                </a:cubicBezTo>
                <a:cubicBezTo>
                  <a:pt x="68" y="206"/>
                  <a:pt x="70" y="205"/>
                  <a:pt x="69" y="204"/>
                </a:cubicBezTo>
                <a:cubicBezTo>
                  <a:pt x="68" y="206"/>
                  <a:pt x="66" y="208"/>
                  <a:pt x="64" y="211"/>
                </a:cubicBezTo>
                <a:close/>
                <a:moveTo>
                  <a:pt x="73" y="215"/>
                </a:moveTo>
                <a:cubicBezTo>
                  <a:pt x="73" y="215"/>
                  <a:pt x="74" y="214"/>
                  <a:pt x="73" y="214"/>
                </a:cubicBezTo>
                <a:cubicBezTo>
                  <a:pt x="73" y="215"/>
                  <a:pt x="72" y="214"/>
                  <a:pt x="72" y="215"/>
                </a:cubicBezTo>
                <a:cubicBezTo>
                  <a:pt x="72" y="215"/>
                  <a:pt x="71" y="215"/>
                  <a:pt x="71" y="217"/>
                </a:cubicBezTo>
                <a:cubicBezTo>
                  <a:pt x="71" y="217"/>
                  <a:pt x="71" y="217"/>
                  <a:pt x="71" y="217"/>
                </a:cubicBezTo>
                <a:cubicBezTo>
                  <a:pt x="72" y="217"/>
                  <a:pt x="73" y="215"/>
                  <a:pt x="74" y="216"/>
                </a:cubicBezTo>
                <a:cubicBezTo>
                  <a:pt x="74" y="216"/>
                  <a:pt x="74" y="215"/>
                  <a:pt x="75" y="215"/>
                </a:cubicBezTo>
                <a:cubicBezTo>
                  <a:pt x="74" y="214"/>
                  <a:pt x="74" y="214"/>
                  <a:pt x="74" y="213"/>
                </a:cubicBezTo>
                <a:cubicBezTo>
                  <a:pt x="75" y="213"/>
                  <a:pt x="75" y="212"/>
                  <a:pt x="76" y="212"/>
                </a:cubicBezTo>
                <a:cubicBezTo>
                  <a:pt x="75" y="212"/>
                  <a:pt x="76" y="211"/>
                  <a:pt x="76" y="211"/>
                </a:cubicBezTo>
                <a:cubicBezTo>
                  <a:pt x="75" y="211"/>
                  <a:pt x="74" y="213"/>
                  <a:pt x="73" y="214"/>
                </a:cubicBezTo>
                <a:cubicBezTo>
                  <a:pt x="74" y="214"/>
                  <a:pt x="74" y="215"/>
                  <a:pt x="73" y="215"/>
                </a:cubicBezTo>
                <a:close/>
                <a:moveTo>
                  <a:pt x="74" y="210"/>
                </a:moveTo>
                <a:cubicBezTo>
                  <a:pt x="74" y="210"/>
                  <a:pt x="74" y="210"/>
                  <a:pt x="74" y="210"/>
                </a:cubicBezTo>
                <a:cubicBezTo>
                  <a:pt x="75" y="211"/>
                  <a:pt x="75" y="211"/>
                  <a:pt x="75" y="211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4" y="210"/>
                  <a:pt x="74" y="210"/>
                </a:cubicBezTo>
                <a:close/>
                <a:moveTo>
                  <a:pt x="48" y="194"/>
                </a:moveTo>
                <a:cubicBezTo>
                  <a:pt x="47" y="194"/>
                  <a:pt x="49" y="193"/>
                  <a:pt x="48" y="193"/>
                </a:cubicBezTo>
                <a:cubicBezTo>
                  <a:pt x="47" y="193"/>
                  <a:pt x="47" y="195"/>
                  <a:pt x="48" y="194"/>
                </a:cubicBezTo>
                <a:close/>
                <a:moveTo>
                  <a:pt x="75" y="220"/>
                </a:moveTo>
                <a:cubicBezTo>
                  <a:pt x="76" y="219"/>
                  <a:pt x="77" y="219"/>
                  <a:pt x="77" y="217"/>
                </a:cubicBezTo>
                <a:cubicBezTo>
                  <a:pt x="76" y="218"/>
                  <a:pt x="75" y="219"/>
                  <a:pt x="75" y="220"/>
                </a:cubicBezTo>
                <a:close/>
                <a:moveTo>
                  <a:pt x="39" y="198"/>
                </a:moveTo>
                <a:cubicBezTo>
                  <a:pt x="39" y="199"/>
                  <a:pt x="39" y="198"/>
                  <a:pt x="39" y="199"/>
                </a:cubicBezTo>
                <a:cubicBezTo>
                  <a:pt x="40" y="199"/>
                  <a:pt x="40" y="198"/>
                  <a:pt x="40" y="198"/>
                </a:cubicBezTo>
                <a:cubicBezTo>
                  <a:pt x="40" y="198"/>
                  <a:pt x="39" y="198"/>
                  <a:pt x="39" y="198"/>
                </a:cubicBezTo>
                <a:close/>
                <a:moveTo>
                  <a:pt x="67" y="230"/>
                </a:moveTo>
                <a:cubicBezTo>
                  <a:pt x="68" y="230"/>
                  <a:pt x="68" y="229"/>
                  <a:pt x="67" y="229"/>
                </a:cubicBezTo>
                <a:cubicBezTo>
                  <a:pt x="67" y="229"/>
                  <a:pt x="66" y="229"/>
                  <a:pt x="67" y="230"/>
                </a:cubicBezTo>
                <a:cubicBezTo>
                  <a:pt x="67" y="230"/>
                  <a:pt x="67" y="230"/>
                  <a:pt x="67" y="230"/>
                </a:cubicBezTo>
                <a:cubicBezTo>
                  <a:pt x="68" y="230"/>
                  <a:pt x="71" y="228"/>
                  <a:pt x="70" y="227"/>
                </a:cubicBezTo>
                <a:cubicBezTo>
                  <a:pt x="70" y="228"/>
                  <a:pt x="69" y="228"/>
                  <a:pt x="68" y="228"/>
                </a:cubicBezTo>
                <a:cubicBezTo>
                  <a:pt x="68" y="228"/>
                  <a:pt x="67" y="228"/>
                  <a:pt x="68" y="227"/>
                </a:cubicBezTo>
                <a:cubicBezTo>
                  <a:pt x="67" y="228"/>
                  <a:pt x="67" y="229"/>
                  <a:pt x="68" y="229"/>
                </a:cubicBezTo>
                <a:cubicBezTo>
                  <a:pt x="68" y="229"/>
                  <a:pt x="68" y="229"/>
                  <a:pt x="68" y="230"/>
                </a:cubicBezTo>
                <a:cubicBezTo>
                  <a:pt x="68" y="229"/>
                  <a:pt x="67" y="230"/>
                  <a:pt x="67" y="230"/>
                </a:cubicBezTo>
                <a:close/>
                <a:moveTo>
                  <a:pt x="57" y="232"/>
                </a:moveTo>
                <a:cubicBezTo>
                  <a:pt x="56" y="231"/>
                  <a:pt x="57" y="233"/>
                  <a:pt x="56" y="233"/>
                </a:cubicBezTo>
                <a:cubicBezTo>
                  <a:pt x="56" y="233"/>
                  <a:pt x="57" y="233"/>
                  <a:pt x="57" y="232"/>
                </a:cubicBezTo>
                <a:cubicBezTo>
                  <a:pt x="57" y="231"/>
                  <a:pt x="60" y="229"/>
                  <a:pt x="61" y="228"/>
                </a:cubicBezTo>
                <a:cubicBezTo>
                  <a:pt x="60" y="228"/>
                  <a:pt x="60" y="227"/>
                  <a:pt x="60" y="227"/>
                </a:cubicBezTo>
                <a:cubicBezTo>
                  <a:pt x="61" y="227"/>
                  <a:pt x="62" y="226"/>
                  <a:pt x="62" y="226"/>
                </a:cubicBezTo>
                <a:cubicBezTo>
                  <a:pt x="61" y="226"/>
                  <a:pt x="61" y="226"/>
                  <a:pt x="60" y="226"/>
                </a:cubicBezTo>
                <a:cubicBezTo>
                  <a:pt x="61" y="226"/>
                  <a:pt x="61" y="227"/>
                  <a:pt x="61" y="227"/>
                </a:cubicBezTo>
                <a:cubicBezTo>
                  <a:pt x="59" y="228"/>
                  <a:pt x="58" y="230"/>
                  <a:pt x="57" y="232"/>
                </a:cubicBezTo>
                <a:close/>
                <a:moveTo>
                  <a:pt x="66" y="232"/>
                </a:moveTo>
                <a:cubicBezTo>
                  <a:pt x="67" y="232"/>
                  <a:pt x="65" y="232"/>
                  <a:pt x="65" y="231"/>
                </a:cubicBezTo>
                <a:cubicBezTo>
                  <a:pt x="66" y="232"/>
                  <a:pt x="64" y="232"/>
                  <a:pt x="64" y="233"/>
                </a:cubicBezTo>
                <a:cubicBezTo>
                  <a:pt x="65" y="233"/>
                  <a:pt x="65" y="233"/>
                  <a:pt x="66" y="233"/>
                </a:cubicBezTo>
                <a:cubicBezTo>
                  <a:pt x="65" y="232"/>
                  <a:pt x="65" y="233"/>
                  <a:pt x="65" y="233"/>
                </a:cubicBezTo>
                <a:cubicBezTo>
                  <a:pt x="65" y="232"/>
                  <a:pt x="65" y="232"/>
                  <a:pt x="66" y="232"/>
                </a:cubicBezTo>
                <a:cubicBezTo>
                  <a:pt x="66" y="232"/>
                  <a:pt x="66" y="232"/>
                  <a:pt x="66" y="233"/>
                </a:cubicBezTo>
                <a:cubicBezTo>
                  <a:pt x="67" y="232"/>
                  <a:pt x="68" y="232"/>
                  <a:pt x="67" y="231"/>
                </a:cubicBezTo>
                <a:cubicBezTo>
                  <a:pt x="67" y="231"/>
                  <a:pt x="67" y="232"/>
                  <a:pt x="66" y="232"/>
                </a:cubicBezTo>
                <a:close/>
                <a:moveTo>
                  <a:pt x="50" y="233"/>
                </a:moveTo>
                <a:cubicBezTo>
                  <a:pt x="50" y="232"/>
                  <a:pt x="50" y="232"/>
                  <a:pt x="50" y="232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8" y="233"/>
                  <a:pt x="48" y="234"/>
                  <a:pt x="47" y="235"/>
                </a:cubicBezTo>
                <a:cubicBezTo>
                  <a:pt x="48" y="233"/>
                  <a:pt x="49" y="231"/>
                  <a:pt x="50" y="229"/>
                </a:cubicBezTo>
                <a:cubicBezTo>
                  <a:pt x="52" y="228"/>
                  <a:pt x="53" y="226"/>
                  <a:pt x="55" y="224"/>
                </a:cubicBezTo>
                <a:cubicBezTo>
                  <a:pt x="55" y="225"/>
                  <a:pt x="54" y="226"/>
                  <a:pt x="53" y="227"/>
                </a:cubicBezTo>
                <a:cubicBezTo>
                  <a:pt x="52" y="228"/>
                  <a:pt x="53" y="228"/>
                  <a:pt x="52" y="229"/>
                </a:cubicBezTo>
                <a:cubicBezTo>
                  <a:pt x="52" y="229"/>
                  <a:pt x="52" y="230"/>
                  <a:pt x="52" y="229"/>
                </a:cubicBezTo>
                <a:cubicBezTo>
                  <a:pt x="52" y="231"/>
                  <a:pt x="50" y="232"/>
                  <a:pt x="50" y="233"/>
                </a:cubicBezTo>
                <a:close/>
                <a:moveTo>
                  <a:pt x="51" y="231"/>
                </a:moveTo>
                <a:cubicBezTo>
                  <a:pt x="51" y="231"/>
                  <a:pt x="50" y="231"/>
                  <a:pt x="50" y="231"/>
                </a:cubicBezTo>
                <a:cubicBezTo>
                  <a:pt x="50" y="232"/>
                  <a:pt x="50" y="232"/>
                  <a:pt x="51" y="231"/>
                </a:cubicBezTo>
                <a:close/>
                <a:moveTo>
                  <a:pt x="47" y="227"/>
                </a:moveTo>
                <a:cubicBezTo>
                  <a:pt x="47" y="226"/>
                  <a:pt x="48" y="225"/>
                  <a:pt x="48" y="225"/>
                </a:cubicBezTo>
                <a:cubicBezTo>
                  <a:pt x="47" y="225"/>
                  <a:pt x="47" y="225"/>
                  <a:pt x="47" y="225"/>
                </a:cubicBezTo>
                <a:cubicBezTo>
                  <a:pt x="48" y="226"/>
                  <a:pt x="46" y="226"/>
                  <a:pt x="47" y="227"/>
                </a:cubicBezTo>
                <a:close/>
                <a:moveTo>
                  <a:pt x="64" y="239"/>
                </a:moveTo>
                <a:cubicBezTo>
                  <a:pt x="64" y="238"/>
                  <a:pt x="65" y="238"/>
                  <a:pt x="64" y="238"/>
                </a:cubicBezTo>
                <a:cubicBezTo>
                  <a:pt x="64" y="238"/>
                  <a:pt x="64" y="238"/>
                  <a:pt x="64" y="238"/>
                </a:cubicBezTo>
                <a:cubicBezTo>
                  <a:pt x="65" y="238"/>
                  <a:pt x="63" y="239"/>
                  <a:pt x="64" y="239"/>
                </a:cubicBezTo>
                <a:close/>
                <a:moveTo>
                  <a:pt x="54" y="231"/>
                </a:moveTo>
                <a:cubicBezTo>
                  <a:pt x="53" y="232"/>
                  <a:pt x="53" y="232"/>
                  <a:pt x="53" y="232"/>
                </a:cubicBezTo>
                <a:cubicBezTo>
                  <a:pt x="53" y="231"/>
                  <a:pt x="53" y="231"/>
                  <a:pt x="53" y="231"/>
                </a:cubicBezTo>
                <a:cubicBezTo>
                  <a:pt x="53" y="231"/>
                  <a:pt x="52" y="231"/>
                  <a:pt x="52" y="231"/>
                </a:cubicBezTo>
                <a:cubicBezTo>
                  <a:pt x="52" y="232"/>
                  <a:pt x="53" y="232"/>
                  <a:pt x="52" y="232"/>
                </a:cubicBezTo>
                <a:cubicBezTo>
                  <a:pt x="51" y="232"/>
                  <a:pt x="51" y="234"/>
                  <a:pt x="50" y="235"/>
                </a:cubicBezTo>
                <a:cubicBezTo>
                  <a:pt x="50" y="235"/>
                  <a:pt x="51" y="236"/>
                  <a:pt x="51" y="235"/>
                </a:cubicBezTo>
                <a:cubicBezTo>
                  <a:pt x="52" y="235"/>
                  <a:pt x="50" y="235"/>
                  <a:pt x="51" y="235"/>
                </a:cubicBezTo>
                <a:cubicBezTo>
                  <a:pt x="51" y="235"/>
                  <a:pt x="52" y="235"/>
                  <a:pt x="52" y="234"/>
                </a:cubicBezTo>
                <a:cubicBezTo>
                  <a:pt x="51" y="234"/>
                  <a:pt x="51" y="234"/>
                  <a:pt x="51" y="233"/>
                </a:cubicBezTo>
                <a:cubicBezTo>
                  <a:pt x="52" y="233"/>
                  <a:pt x="52" y="232"/>
                  <a:pt x="53" y="232"/>
                </a:cubicBezTo>
                <a:cubicBezTo>
                  <a:pt x="53" y="232"/>
                  <a:pt x="53" y="233"/>
                  <a:pt x="53" y="233"/>
                </a:cubicBezTo>
                <a:cubicBezTo>
                  <a:pt x="54" y="232"/>
                  <a:pt x="54" y="231"/>
                  <a:pt x="53" y="231"/>
                </a:cubicBezTo>
                <a:cubicBezTo>
                  <a:pt x="53" y="231"/>
                  <a:pt x="54" y="231"/>
                  <a:pt x="54" y="231"/>
                </a:cubicBezTo>
                <a:close/>
                <a:moveTo>
                  <a:pt x="53" y="236"/>
                </a:moveTo>
                <a:cubicBezTo>
                  <a:pt x="54" y="237"/>
                  <a:pt x="51" y="238"/>
                  <a:pt x="52" y="239"/>
                </a:cubicBezTo>
                <a:cubicBezTo>
                  <a:pt x="53" y="237"/>
                  <a:pt x="55" y="235"/>
                  <a:pt x="56" y="233"/>
                </a:cubicBezTo>
                <a:cubicBezTo>
                  <a:pt x="55" y="234"/>
                  <a:pt x="55" y="235"/>
                  <a:pt x="54" y="235"/>
                </a:cubicBezTo>
                <a:cubicBezTo>
                  <a:pt x="54" y="236"/>
                  <a:pt x="54" y="236"/>
                  <a:pt x="54" y="235"/>
                </a:cubicBezTo>
                <a:cubicBezTo>
                  <a:pt x="54" y="236"/>
                  <a:pt x="53" y="237"/>
                  <a:pt x="53" y="236"/>
                </a:cubicBezTo>
                <a:close/>
                <a:moveTo>
                  <a:pt x="59" y="240"/>
                </a:moveTo>
                <a:cubicBezTo>
                  <a:pt x="59" y="240"/>
                  <a:pt x="60" y="240"/>
                  <a:pt x="60" y="240"/>
                </a:cubicBezTo>
                <a:cubicBezTo>
                  <a:pt x="60" y="239"/>
                  <a:pt x="60" y="240"/>
                  <a:pt x="59" y="239"/>
                </a:cubicBezTo>
                <a:cubicBezTo>
                  <a:pt x="60" y="239"/>
                  <a:pt x="59" y="239"/>
                  <a:pt x="59" y="239"/>
                </a:cubicBezTo>
                <a:cubicBezTo>
                  <a:pt x="60" y="240"/>
                  <a:pt x="59" y="240"/>
                  <a:pt x="59" y="240"/>
                </a:cubicBezTo>
                <a:close/>
                <a:moveTo>
                  <a:pt x="46" y="234"/>
                </a:moveTo>
                <a:cubicBezTo>
                  <a:pt x="47" y="234"/>
                  <a:pt x="47" y="233"/>
                  <a:pt x="47" y="233"/>
                </a:cubicBezTo>
                <a:cubicBezTo>
                  <a:pt x="46" y="234"/>
                  <a:pt x="46" y="232"/>
                  <a:pt x="46" y="233"/>
                </a:cubicBezTo>
                <a:cubicBezTo>
                  <a:pt x="46" y="233"/>
                  <a:pt x="46" y="233"/>
                  <a:pt x="46" y="233"/>
                </a:cubicBezTo>
                <a:cubicBezTo>
                  <a:pt x="46" y="233"/>
                  <a:pt x="46" y="234"/>
                  <a:pt x="46" y="234"/>
                </a:cubicBezTo>
                <a:close/>
                <a:moveTo>
                  <a:pt x="48" y="236"/>
                </a:moveTo>
                <a:cubicBezTo>
                  <a:pt x="48" y="237"/>
                  <a:pt x="49" y="237"/>
                  <a:pt x="49" y="238"/>
                </a:cubicBezTo>
                <a:cubicBezTo>
                  <a:pt x="49" y="237"/>
                  <a:pt x="51" y="237"/>
                  <a:pt x="51" y="236"/>
                </a:cubicBezTo>
                <a:cubicBezTo>
                  <a:pt x="50" y="236"/>
                  <a:pt x="50" y="236"/>
                  <a:pt x="49" y="237"/>
                </a:cubicBezTo>
                <a:cubicBezTo>
                  <a:pt x="49" y="236"/>
                  <a:pt x="50" y="236"/>
                  <a:pt x="49" y="235"/>
                </a:cubicBezTo>
                <a:cubicBezTo>
                  <a:pt x="49" y="236"/>
                  <a:pt x="49" y="236"/>
                  <a:pt x="48" y="236"/>
                </a:cubicBezTo>
                <a:close/>
                <a:moveTo>
                  <a:pt x="24" y="224"/>
                </a:moveTo>
                <a:cubicBezTo>
                  <a:pt x="24" y="223"/>
                  <a:pt x="24" y="224"/>
                  <a:pt x="25" y="223"/>
                </a:cubicBezTo>
                <a:cubicBezTo>
                  <a:pt x="24" y="223"/>
                  <a:pt x="24" y="223"/>
                  <a:pt x="23" y="223"/>
                </a:cubicBezTo>
                <a:cubicBezTo>
                  <a:pt x="24" y="224"/>
                  <a:pt x="24" y="223"/>
                  <a:pt x="24" y="224"/>
                </a:cubicBezTo>
                <a:cubicBezTo>
                  <a:pt x="24" y="224"/>
                  <a:pt x="24" y="224"/>
                  <a:pt x="24" y="224"/>
                </a:cubicBezTo>
                <a:close/>
                <a:moveTo>
                  <a:pt x="17" y="230"/>
                </a:moveTo>
                <a:cubicBezTo>
                  <a:pt x="18" y="228"/>
                  <a:pt x="19" y="228"/>
                  <a:pt x="19" y="227"/>
                </a:cubicBezTo>
                <a:cubicBezTo>
                  <a:pt x="19" y="227"/>
                  <a:pt x="16" y="229"/>
                  <a:pt x="17" y="230"/>
                </a:cubicBezTo>
                <a:close/>
                <a:moveTo>
                  <a:pt x="45" y="246"/>
                </a:moveTo>
                <a:cubicBezTo>
                  <a:pt x="45" y="246"/>
                  <a:pt x="46" y="247"/>
                  <a:pt x="46" y="247"/>
                </a:cubicBezTo>
                <a:cubicBezTo>
                  <a:pt x="45" y="247"/>
                  <a:pt x="45" y="248"/>
                  <a:pt x="45" y="248"/>
                </a:cubicBezTo>
                <a:cubicBezTo>
                  <a:pt x="46" y="248"/>
                  <a:pt x="46" y="247"/>
                  <a:pt x="47" y="247"/>
                </a:cubicBezTo>
                <a:cubicBezTo>
                  <a:pt x="47" y="247"/>
                  <a:pt x="47" y="247"/>
                  <a:pt x="47" y="247"/>
                </a:cubicBezTo>
                <a:cubicBezTo>
                  <a:pt x="46" y="247"/>
                  <a:pt x="46" y="245"/>
                  <a:pt x="45" y="246"/>
                </a:cubicBezTo>
                <a:close/>
                <a:moveTo>
                  <a:pt x="19" y="231"/>
                </a:moveTo>
                <a:cubicBezTo>
                  <a:pt x="19" y="231"/>
                  <a:pt x="18" y="231"/>
                  <a:pt x="18" y="231"/>
                </a:cubicBezTo>
                <a:cubicBezTo>
                  <a:pt x="19" y="232"/>
                  <a:pt x="19" y="230"/>
                  <a:pt x="18" y="230"/>
                </a:cubicBezTo>
                <a:cubicBezTo>
                  <a:pt x="18" y="231"/>
                  <a:pt x="19" y="230"/>
                  <a:pt x="19" y="231"/>
                </a:cubicBezTo>
                <a:close/>
                <a:moveTo>
                  <a:pt x="18" y="232"/>
                </a:moveTo>
                <a:cubicBezTo>
                  <a:pt x="18" y="234"/>
                  <a:pt x="17" y="234"/>
                  <a:pt x="17" y="235"/>
                </a:cubicBezTo>
                <a:cubicBezTo>
                  <a:pt x="17" y="235"/>
                  <a:pt x="17" y="234"/>
                  <a:pt x="18" y="234"/>
                </a:cubicBezTo>
                <a:cubicBezTo>
                  <a:pt x="18" y="233"/>
                  <a:pt x="19" y="232"/>
                  <a:pt x="18" y="232"/>
                </a:cubicBezTo>
                <a:cubicBezTo>
                  <a:pt x="17" y="232"/>
                  <a:pt x="18" y="233"/>
                  <a:pt x="18" y="232"/>
                </a:cubicBezTo>
                <a:close/>
                <a:moveTo>
                  <a:pt x="4" y="256"/>
                </a:moveTo>
                <a:cubicBezTo>
                  <a:pt x="5" y="255"/>
                  <a:pt x="5" y="254"/>
                  <a:pt x="6" y="253"/>
                </a:cubicBezTo>
                <a:cubicBezTo>
                  <a:pt x="5" y="254"/>
                  <a:pt x="4" y="255"/>
                  <a:pt x="4" y="256"/>
                </a:cubicBezTo>
                <a:close/>
                <a:moveTo>
                  <a:pt x="5" y="258"/>
                </a:moveTo>
                <a:cubicBezTo>
                  <a:pt x="6" y="257"/>
                  <a:pt x="6" y="258"/>
                  <a:pt x="6" y="257"/>
                </a:cubicBezTo>
                <a:cubicBezTo>
                  <a:pt x="6" y="257"/>
                  <a:pt x="6" y="256"/>
                  <a:pt x="6" y="257"/>
                </a:cubicBezTo>
                <a:cubicBezTo>
                  <a:pt x="6" y="257"/>
                  <a:pt x="6" y="257"/>
                  <a:pt x="6" y="257"/>
                </a:cubicBezTo>
                <a:cubicBezTo>
                  <a:pt x="5" y="257"/>
                  <a:pt x="5" y="257"/>
                  <a:pt x="5" y="258"/>
                </a:cubicBezTo>
                <a:close/>
                <a:moveTo>
                  <a:pt x="810" y="264"/>
                </a:moveTo>
                <a:cubicBezTo>
                  <a:pt x="810" y="263"/>
                  <a:pt x="808" y="261"/>
                  <a:pt x="809" y="261"/>
                </a:cubicBezTo>
                <a:cubicBezTo>
                  <a:pt x="810" y="263"/>
                  <a:pt x="809" y="259"/>
                  <a:pt x="809" y="258"/>
                </a:cubicBezTo>
                <a:cubicBezTo>
                  <a:pt x="810" y="258"/>
                  <a:pt x="811" y="261"/>
                  <a:pt x="811" y="261"/>
                </a:cubicBezTo>
                <a:cubicBezTo>
                  <a:pt x="809" y="256"/>
                  <a:pt x="809" y="255"/>
                  <a:pt x="807" y="251"/>
                </a:cubicBezTo>
                <a:cubicBezTo>
                  <a:pt x="808" y="254"/>
                  <a:pt x="807" y="252"/>
                  <a:pt x="806" y="253"/>
                </a:cubicBezTo>
                <a:cubicBezTo>
                  <a:pt x="806" y="253"/>
                  <a:pt x="807" y="260"/>
                  <a:pt x="805" y="261"/>
                </a:cubicBezTo>
                <a:cubicBezTo>
                  <a:pt x="805" y="261"/>
                  <a:pt x="804" y="259"/>
                  <a:pt x="804" y="259"/>
                </a:cubicBezTo>
                <a:cubicBezTo>
                  <a:pt x="803" y="261"/>
                  <a:pt x="804" y="266"/>
                  <a:pt x="801" y="262"/>
                </a:cubicBezTo>
                <a:cubicBezTo>
                  <a:pt x="805" y="271"/>
                  <a:pt x="805" y="267"/>
                  <a:pt x="806" y="266"/>
                </a:cubicBezTo>
                <a:cubicBezTo>
                  <a:pt x="806" y="266"/>
                  <a:pt x="810" y="269"/>
                  <a:pt x="808" y="265"/>
                </a:cubicBezTo>
                <a:cubicBezTo>
                  <a:pt x="809" y="266"/>
                  <a:pt x="810" y="269"/>
                  <a:pt x="810" y="268"/>
                </a:cubicBezTo>
                <a:cubicBezTo>
                  <a:pt x="811" y="267"/>
                  <a:pt x="808" y="263"/>
                  <a:pt x="810" y="264"/>
                </a:cubicBezTo>
                <a:close/>
                <a:moveTo>
                  <a:pt x="440" y="4"/>
                </a:moveTo>
                <a:cubicBezTo>
                  <a:pt x="437" y="3"/>
                  <a:pt x="437" y="4"/>
                  <a:pt x="434" y="4"/>
                </a:cubicBezTo>
                <a:cubicBezTo>
                  <a:pt x="434" y="3"/>
                  <a:pt x="433" y="3"/>
                  <a:pt x="433" y="3"/>
                </a:cubicBezTo>
                <a:cubicBezTo>
                  <a:pt x="435" y="3"/>
                  <a:pt x="437" y="3"/>
                  <a:pt x="438" y="2"/>
                </a:cubicBezTo>
                <a:cubicBezTo>
                  <a:pt x="434" y="2"/>
                  <a:pt x="429" y="3"/>
                  <a:pt x="425" y="3"/>
                </a:cubicBezTo>
                <a:cubicBezTo>
                  <a:pt x="428" y="3"/>
                  <a:pt x="433" y="4"/>
                  <a:pt x="437" y="4"/>
                </a:cubicBezTo>
                <a:cubicBezTo>
                  <a:pt x="436" y="4"/>
                  <a:pt x="434" y="4"/>
                  <a:pt x="434" y="4"/>
                </a:cubicBezTo>
                <a:cubicBezTo>
                  <a:pt x="439" y="4"/>
                  <a:pt x="441" y="4"/>
                  <a:pt x="443" y="5"/>
                </a:cubicBezTo>
                <a:cubicBezTo>
                  <a:pt x="442" y="4"/>
                  <a:pt x="446" y="5"/>
                  <a:pt x="446" y="5"/>
                </a:cubicBezTo>
                <a:cubicBezTo>
                  <a:pt x="444" y="4"/>
                  <a:pt x="444" y="5"/>
                  <a:pt x="440" y="4"/>
                </a:cubicBezTo>
                <a:close/>
                <a:moveTo>
                  <a:pt x="399" y="5"/>
                </a:moveTo>
                <a:cubicBezTo>
                  <a:pt x="398" y="4"/>
                  <a:pt x="401" y="4"/>
                  <a:pt x="398" y="4"/>
                </a:cubicBezTo>
                <a:cubicBezTo>
                  <a:pt x="393" y="5"/>
                  <a:pt x="386" y="4"/>
                  <a:pt x="382" y="5"/>
                </a:cubicBezTo>
                <a:cubicBezTo>
                  <a:pt x="385" y="5"/>
                  <a:pt x="389" y="5"/>
                  <a:pt x="390" y="6"/>
                </a:cubicBezTo>
                <a:cubicBezTo>
                  <a:pt x="395" y="5"/>
                  <a:pt x="398" y="6"/>
                  <a:pt x="400" y="5"/>
                </a:cubicBezTo>
                <a:lnTo>
                  <a:pt x="399" y="5"/>
                </a:lnTo>
                <a:close/>
                <a:moveTo>
                  <a:pt x="142" y="101"/>
                </a:moveTo>
                <a:cubicBezTo>
                  <a:pt x="142" y="102"/>
                  <a:pt x="141" y="103"/>
                  <a:pt x="143" y="102"/>
                </a:cubicBezTo>
                <a:cubicBezTo>
                  <a:pt x="147" y="98"/>
                  <a:pt x="152" y="95"/>
                  <a:pt x="156" y="91"/>
                </a:cubicBezTo>
                <a:cubicBezTo>
                  <a:pt x="154" y="92"/>
                  <a:pt x="153" y="93"/>
                  <a:pt x="152" y="94"/>
                </a:cubicBezTo>
                <a:cubicBezTo>
                  <a:pt x="153" y="93"/>
                  <a:pt x="154" y="92"/>
                  <a:pt x="154" y="91"/>
                </a:cubicBezTo>
                <a:cubicBezTo>
                  <a:pt x="149" y="95"/>
                  <a:pt x="141" y="101"/>
                  <a:pt x="134" y="107"/>
                </a:cubicBezTo>
                <a:cubicBezTo>
                  <a:pt x="135" y="107"/>
                  <a:pt x="140" y="103"/>
                  <a:pt x="142" y="101"/>
                </a:cubicBezTo>
                <a:close/>
                <a:moveTo>
                  <a:pt x="84" y="158"/>
                </a:moveTo>
                <a:cubicBezTo>
                  <a:pt x="84" y="159"/>
                  <a:pt x="84" y="160"/>
                  <a:pt x="83" y="160"/>
                </a:cubicBezTo>
                <a:cubicBezTo>
                  <a:pt x="83" y="161"/>
                  <a:pt x="83" y="162"/>
                  <a:pt x="84" y="161"/>
                </a:cubicBezTo>
                <a:cubicBezTo>
                  <a:pt x="84" y="161"/>
                  <a:pt x="84" y="161"/>
                  <a:pt x="84" y="161"/>
                </a:cubicBezTo>
                <a:cubicBezTo>
                  <a:pt x="84" y="160"/>
                  <a:pt x="84" y="160"/>
                  <a:pt x="84" y="160"/>
                </a:cubicBezTo>
                <a:cubicBezTo>
                  <a:pt x="85" y="160"/>
                  <a:pt x="84" y="161"/>
                  <a:pt x="85" y="161"/>
                </a:cubicBezTo>
                <a:cubicBezTo>
                  <a:pt x="85" y="160"/>
                  <a:pt x="86" y="160"/>
                  <a:pt x="85" y="160"/>
                </a:cubicBezTo>
                <a:cubicBezTo>
                  <a:pt x="85" y="160"/>
                  <a:pt x="85" y="160"/>
                  <a:pt x="85" y="160"/>
                </a:cubicBezTo>
                <a:cubicBezTo>
                  <a:pt x="85" y="160"/>
                  <a:pt x="85" y="159"/>
                  <a:pt x="85" y="159"/>
                </a:cubicBezTo>
                <a:cubicBezTo>
                  <a:pt x="85" y="159"/>
                  <a:pt x="86" y="159"/>
                  <a:pt x="87" y="158"/>
                </a:cubicBezTo>
                <a:cubicBezTo>
                  <a:pt x="85" y="159"/>
                  <a:pt x="86" y="157"/>
                  <a:pt x="84" y="158"/>
                </a:cubicBezTo>
                <a:close/>
                <a:moveTo>
                  <a:pt x="103" y="180"/>
                </a:moveTo>
                <a:cubicBezTo>
                  <a:pt x="102" y="180"/>
                  <a:pt x="102" y="181"/>
                  <a:pt x="102" y="181"/>
                </a:cubicBezTo>
                <a:cubicBezTo>
                  <a:pt x="102" y="181"/>
                  <a:pt x="103" y="181"/>
                  <a:pt x="103" y="181"/>
                </a:cubicBezTo>
                <a:cubicBezTo>
                  <a:pt x="103" y="181"/>
                  <a:pt x="102" y="181"/>
                  <a:pt x="103" y="182"/>
                </a:cubicBezTo>
                <a:cubicBezTo>
                  <a:pt x="103" y="182"/>
                  <a:pt x="103" y="181"/>
                  <a:pt x="104" y="181"/>
                </a:cubicBezTo>
                <a:cubicBezTo>
                  <a:pt x="103" y="182"/>
                  <a:pt x="103" y="182"/>
                  <a:pt x="103" y="183"/>
                </a:cubicBezTo>
                <a:cubicBezTo>
                  <a:pt x="103" y="182"/>
                  <a:pt x="104" y="182"/>
                  <a:pt x="104" y="181"/>
                </a:cubicBezTo>
                <a:cubicBezTo>
                  <a:pt x="103" y="182"/>
                  <a:pt x="104" y="180"/>
                  <a:pt x="103" y="180"/>
                </a:cubicBezTo>
                <a:close/>
                <a:moveTo>
                  <a:pt x="77" y="160"/>
                </a:moveTo>
                <a:cubicBezTo>
                  <a:pt x="79" y="161"/>
                  <a:pt x="79" y="158"/>
                  <a:pt x="80" y="158"/>
                </a:cubicBezTo>
                <a:cubicBezTo>
                  <a:pt x="80" y="157"/>
                  <a:pt x="80" y="157"/>
                  <a:pt x="80" y="157"/>
                </a:cubicBezTo>
                <a:cubicBezTo>
                  <a:pt x="79" y="157"/>
                  <a:pt x="78" y="159"/>
                  <a:pt x="77" y="160"/>
                </a:cubicBezTo>
                <a:close/>
                <a:moveTo>
                  <a:pt x="81" y="163"/>
                </a:moveTo>
                <a:cubicBezTo>
                  <a:pt x="81" y="163"/>
                  <a:pt x="81" y="164"/>
                  <a:pt x="81" y="164"/>
                </a:cubicBezTo>
                <a:cubicBezTo>
                  <a:pt x="81" y="164"/>
                  <a:pt x="80" y="165"/>
                  <a:pt x="80" y="165"/>
                </a:cubicBezTo>
                <a:cubicBezTo>
                  <a:pt x="82" y="164"/>
                  <a:pt x="83" y="163"/>
                  <a:pt x="83" y="162"/>
                </a:cubicBezTo>
                <a:cubicBezTo>
                  <a:pt x="83" y="161"/>
                  <a:pt x="83" y="161"/>
                  <a:pt x="82" y="161"/>
                </a:cubicBezTo>
                <a:cubicBezTo>
                  <a:pt x="81" y="161"/>
                  <a:pt x="82" y="163"/>
                  <a:pt x="81" y="163"/>
                </a:cubicBezTo>
                <a:close/>
                <a:moveTo>
                  <a:pt x="95" y="192"/>
                </a:moveTo>
                <a:cubicBezTo>
                  <a:pt x="95" y="192"/>
                  <a:pt x="95" y="192"/>
                  <a:pt x="94" y="192"/>
                </a:cubicBezTo>
                <a:cubicBezTo>
                  <a:pt x="94" y="192"/>
                  <a:pt x="94" y="193"/>
                  <a:pt x="94" y="193"/>
                </a:cubicBezTo>
                <a:cubicBezTo>
                  <a:pt x="93" y="193"/>
                  <a:pt x="93" y="194"/>
                  <a:pt x="94" y="194"/>
                </a:cubicBezTo>
                <a:cubicBezTo>
                  <a:pt x="93" y="194"/>
                  <a:pt x="91" y="196"/>
                  <a:pt x="91" y="197"/>
                </a:cubicBezTo>
                <a:cubicBezTo>
                  <a:pt x="91" y="197"/>
                  <a:pt x="91" y="197"/>
                  <a:pt x="91" y="197"/>
                </a:cubicBezTo>
                <a:cubicBezTo>
                  <a:pt x="91" y="198"/>
                  <a:pt x="90" y="198"/>
                  <a:pt x="90" y="199"/>
                </a:cubicBezTo>
                <a:cubicBezTo>
                  <a:pt x="91" y="197"/>
                  <a:pt x="92" y="197"/>
                  <a:pt x="93" y="197"/>
                </a:cubicBezTo>
                <a:cubicBezTo>
                  <a:pt x="93" y="197"/>
                  <a:pt x="93" y="197"/>
                  <a:pt x="93" y="196"/>
                </a:cubicBezTo>
                <a:cubicBezTo>
                  <a:pt x="93" y="196"/>
                  <a:pt x="94" y="195"/>
                  <a:pt x="94" y="195"/>
                </a:cubicBezTo>
                <a:cubicBezTo>
                  <a:pt x="94" y="195"/>
                  <a:pt x="94" y="195"/>
                  <a:pt x="94" y="196"/>
                </a:cubicBezTo>
                <a:cubicBezTo>
                  <a:pt x="95" y="194"/>
                  <a:pt x="95" y="192"/>
                  <a:pt x="96" y="193"/>
                </a:cubicBezTo>
                <a:cubicBezTo>
                  <a:pt x="96" y="193"/>
                  <a:pt x="96" y="193"/>
                  <a:pt x="96" y="193"/>
                </a:cubicBezTo>
                <a:cubicBezTo>
                  <a:pt x="97" y="193"/>
                  <a:pt x="97" y="193"/>
                  <a:pt x="97" y="192"/>
                </a:cubicBezTo>
                <a:cubicBezTo>
                  <a:pt x="96" y="193"/>
                  <a:pt x="97" y="192"/>
                  <a:pt x="96" y="192"/>
                </a:cubicBezTo>
                <a:cubicBezTo>
                  <a:pt x="96" y="193"/>
                  <a:pt x="96" y="192"/>
                  <a:pt x="95" y="192"/>
                </a:cubicBezTo>
                <a:close/>
                <a:moveTo>
                  <a:pt x="65" y="175"/>
                </a:moveTo>
                <a:cubicBezTo>
                  <a:pt x="64" y="175"/>
                  <a:pt x="64" y="175"/>
                  <a:pt x="63" y="175"/>
                </a:cubicBezTo>
                <a:cubicBezTo>
                  <a:pt x="63" y="175"/>
                  <a:pt x="63" y="175"/>
                  <a:pt x="63" y="176"/>
                </a:cubicBezTo>
                <a:cubicBezTo>
                  <a:pt x="64" y="176"/>
                  <a:pt x="64" y="176"/>
                  <a:pt x="64" y="177"/>
                </a:cubicBezTo>
                <a:cubicBezTo>
                  <a:pt x="65" y="175"/>
                  <a:pt x="66" y="175"/>
                  <a:pt x="67" y="173"/>
                </a:cubicBezTo>
                <a:cubicBezTo>
                  <a:pt x="65" y="173"/>
                  <a:pt x="66" y="174"/>
                  <a:pt x="65" y="175"/>
                </a:cubicBezTo>
                <a:close/>
                <a:moveTo>
                  <a:pt x="45" y="240"/>
                </a:moveTo>
                <a:cubicBezTo>
                  <a:pt x="46" y="241"/>
                  <a:pt x="46" y="241"/>
                  <a:pt x="46" y="241"/>
                </a:cubicBezTo>
                <a:cubicBezTo>
                  <a:pt x="45" y="241"/>
                  <a:pt x="45" y="242"/>
                  <a:pt x="44" y="243"/>
                </a:cubicBezTo>
                <a:cubicBezTo>
                  <a:pt x="44" y="243"/>
                  <a:pt x="43" y="243"/>
                  <a:pt x="43" y="243"/>
                </a:cubicBezTo>
                <a:cubicBezTo>
                  <a:pt x="43" y="244"/>
                  <a:pt x="43" y="244"/>
                  <a:pt x="42" y="245"/>
                </a:cubicBezTo>
                <a:cubicBezTo>
                  <a:pt x="43" y="245"/>
                  <a:pt x="43" y="245"/>
                  <a:pt x="44" y="244"/>
                </a:cubicBezTo>
                <a:cubicBezTo>
                  <a:pt x="44" y="244"/>
                  <a:pt x="44" y="244"/>
                  <a:pt x="44" y="244"/>
                </a:cubicBezTo>
                <a:cubicBezTo>
                  <a:pt x="44" y="244"/>
                  <a:pt x="45" y="243"/>
                  <a:pt x="45" y="244"/>
                </a:cubicBezTo>
                <a:cubicBezTo>
                  <a:pt x="45" y="241"/>
                  <a:pt x="47" y="241"/>
                  <a:pt x="48" y="239"/>
                </a:cubicBezTo>
                <a:cubicBezTo>
                  <a:pt x="47" y="238"/>
                  <a:pt x="48" y="238"/>
                  <a:pt x="48" y="237"/>
                </a:cubicBezTo>
                <a:cubicBezTo>
                  <a:pt x="47" y="238"/>
                  <a:pt x="47" y="240"/>
                  <a:pt x="45" y="240"/>
                </a:cubicBezTo>
                <a:close/>
                <a:moveTo>
                  <a:pt x="820" y="180"/>
                </a:moveTo>
                <a:cubicBezTo>
                  <a:pt x="820" y="181"/>
                  <a:pt x="820" y="181"/>
                  <a:pt x="820" y="181"/>
                </a:cubicBezTo>
                <a:cubicBezTo>
                  <a:pt x="821" y="181"/>
                  <a:pt x="820" y="180"/>
                  <a:pt x="820" y="180"/>
                </a:cubicBezTo>
                <a:close/>
                <a:moveTo>
                  <a:pt x="866" y="171"/>
                </a:moveTo>
                <a:cubicBezTo>
                  <a:pt x="865" y="171"/>
                  <a:pt x="865" y="172"/>
                  <a:pt x="865" y="172"/>
                </a:cubicBezTo>
                <a:cubicBezTo>
                  <a:pt x="865" y="172"/>
                  <a:pt x="866" y="172"/>
                  <a:pt x="866" y="171"/>
                </a:cubicBezTo>
                <a:close/>
                <a:moveTo>
                  <a:pt x="867" y="170"/>
                </a:moveTo>
                <a:cubicBezTo>
                  <a:pt x="867" y="170"/>
                  <a:pt x="866" y="171"/>
                  <a:pt x="866" y="171"/>
                </a:cubicBezTo>
                <a:cubicBezTo>
                  <a:pt x="867" y="171"/>
                  <a:pt x="867" y="170"/>
                  <a:pt x="867" y="170"/>
                </a:cubicBezTo>
                <a:close/>
                <a:moveTo>
                  <a:pt x="861" y="164"/>
                </a:moveTo>
                <a:cubicBezTo>
                  <a:pt x="861" y="164"/>
                  <a:pt x="861" y="165"/>
                  <a:pt x="861" y="165"/>
                </a:cubicBezTo>
                <a:cubicBezTo>
                  <a:pt x="861" y="164"/>
                  <a:pt x="861" y="164"/>
                  <a:pt x="861" y="164"/>
                </a:cubicBezTo>
                <a:close/>
                <a:moveTo>
                  <a:pt x="868" y="162"/>
                </a:moveTo>
                <a:cubicBezTo>
                  <a:pt x="868" y="163"/>
                  <a:pt x="868" y="163"/>
                  <a:pt x="868" y="164"/>
                </a:cubicBezTo>
                <a:cubicBezTo>
                  <a:pt x="868" y="163"/>
                  <a:pt x="868" y="162"/>
                  <a:pt x="868" y="162"/>
                </a:cubicBezTo>
                <a:close/>
                <a:moveTo>
                  <a:pt x="837" y="147"/>
                </a:moveTo>
                <a:cubicBezTo>
                  <a:pt x="837" y="148"/>
                  <a:pt x="837" y="150"/>
                  <a:pt x="836" y="151"/>
                </a:cubicBezTo>
                <a:cubicBezTo>
                  <a:pt x="837" y="150"/>
                  <a:pt x="837" y="148"/>
                  <a:pt x="837" y="147"/>
                </a:cubicBezTo>
                <a:close/>
                <a:moveTo>
                  <a:pt x="852" y="150"/>
                </a:moveTo>
                <a:cubicBezTo>
                  <a:pt x="852" y="149"/>
                  <a:pt x="852" y="149"/>
                  <a:pt x="852" y="149"/>
                </a:cubicBezTo>
                <a:cubicBezTo>
                  <a:pt x="852" y="148"/>
                  <a:pt x="853" y="145"/>
                  <a:pt x="852" y="146"/>
                </a:cubicBezTo>
                <a:cubicBezTo>
                  <a:pt x="852" y="147"/>
                  <a:pt x="851" y="150"/>
                  <a:pt x="851" y="151"/>
                </a:cubicBezTo>
                <a:cubicBezTo>
                  <a:pt x="852" y="151"/>
                  <a:pt x="852" y="150"/>
                  <a:pt x="852" y="150"/>
                </a:cubicBezTo>
                <a:close/>
                <a:moveTo>
                  <a:pt x="857" y="134"/>
                </a:moveTo>
                <a:cubicBezTo>
                  <a:pt x="857" y="134"/>
                  <a:pt x="857" y="134"/>
                  <a:pt x="857" y="134"/>
                </a:cubicBezTo>
                <a:cubicBezTo>
                  <a:pt x="857" y="135"/>
                  <a:pt x="857" y="135"/>
                  <a:pt x="857" y="135"/>
                </a:cubicBezTo>
                <a:lnTo>
                  <a:pt x="857" y="134"/>
                </a:lnTo>
                <a:close/>
                <a:moveTo>
                  <a:pt x="855" y="121"/>
                </a:moveTo>
                <a:cubicBezTo>
                  <a:pt x="855" y="119"/>
                  <a:pt x="855" y="121"/>
                  <a:pt x="855" y="122"/>
                </a:cubicBezTo>
                <a:cubicBezTo>
                  <a:pt x="854" y="122"/>
                  <a:pt x="855" y="122"/>
                  <a:pt x="855" y="122"/>
                </a:cubicBezTo>
                <a:cubicBezTo>
                  <a:pt x="854" y="123"/>
                  <a:pt x="853" y="126"/>
                  <a:pt x="854" y="127"/>
                </a:cubicBezTo>
                <a:cubicBezTo>
                  <a:pt x="854" y="125"/>
                  <a:pt x="855" y="123"/>
                  <a:pt x="855" y="121"/>
                </a:cubicBezTo>
                <a:close/>
                <a:moveTo>
                  <a:pt x="861" y="127"/>
                </a:moveTo>
                <a:cubicBezTo>
                  <a:pt x="861" y="127"/>
                  <a:pt x="861" y="128"/>
                  <a:pt x="861" y="128"/>
                </a:cubicBezTo>
                <a:cubicBezTo>
                  <a:pt x="862" y="128"/>
                  <a:pt x="862" y="127"/>
                  <a:pt x="861" y="127"/>
                </a:cubicBezTo>
                <a:close/>
                <a:moveTo>
                  <a:pt x="843" y="120"/>
                </a:moveTo>
                <a:cubicBezTo>
                  <a:pt x="843" y="121"/>
                  <a:pt x="842" y="121"/>
                  <a:pt x="842" y="122"/>
                </a:cubicBezTo>
                <a:cubicBezTo>
                  <a:pt x="843" y="121"/>
                  <a:pt x="843" y="120"/>
                  <a:pt x="843" y="120"/>
                </a:cubicBezTo>
                <a:close/>
                <a:moveTo>
                  <a:pt x="859" y="124"/>
                </a:moveTo>
                <a:cubicBezTo>
                  <a:pt x="859" y="125"/>
                  <a:pt x="859" y="126"/>
                  <a:pt x="859" y="126"/>
                </a:cubicBezTo>
                <a:cubicBezTo>
                  <a:pt x="859" y="125"/>
                  <a:pt x="860" y="124"/>
                  <a:pt x="859" y="124"/>
                </a:cubicBezTo>
                <a:close/>
                <a:moveTo>
                  <a:pt x="862" y="124"/>
                </a:moveTo>
                <a:cubicBezTo>
                  <a:pt x="862" y="124"/>
                  <a:pt x="861" y="125"/>
                  <a:pt x="862" y="126"/>
                </a:cubicBezTo>
                <a:cubicBezTo>
                  <a:pt x="862" y="125"/>
                  <a:pt x="862" y="124"/>
                  <a:pt x="862" y="124"/>
                </a:cubicBezTo>
                <a:close/>
                <a:moveTo>
                  <a:pt x="839" y="118"/>
                </a:moveTo>
                <a:cubicBezTo>
                  <a:pt x="839" y="118"/>
                  <a:pt x="839" y="119"/>
                  <a:pt x="839" y="119"/>
                </a:cubicBezTo>
                <a:cubicBezTo>
                  <a:pt x="839" y="119"/>
                  <a:pt x="839" y="118"/>
                  <a:pt x="839" y="118"/>
                </a:cubicBezTo>
                <a:close/>
                <a:moveTo>
                  <a:pt x="844" y="116"/>
                </a:moveTo>
                <a:cubicBezTo>
                  <a:pt x="843" y="117"/>
                  <a:pt x="843" y="119"/>
                  <a:pt x="843" y="119"/>
                </a:cubicBezTo>
                <a:cubicBezTo>
                  <a:pt x="843" y="118"/>
                  <a:pt x="844" y="117"/>
                  <a:pt x="844" y="116"/>
                </a:cubicBezTo>
                <a:close/>
                <a:moveTo>
                  <a:pt x="862" y="120"/>
                </a:moveTo>
                <a:cubicBezTo>
                  <a:pt x="862" y="121"/>
                  <a:pt x="861" y="122"/>
                  <a:pt x="862" y="123"/>
                </a:cubicBezTo>
                <a:cubicBezTo>
                  <a:pt x="862" y="122"/>
                  <a:pt x="863" y="121"/>
                  <a:pt x="862" y="120"/>
                </a:cubicBezTo>
                <a:close/>
                <a:moveTo>
                  <a:pt x="855" y="118"/>
                </a:moveTo>
                <a:cubicBezTo>
                  <a:pt x="855" y="118"/>
                  <a:pt x="855" y="119"/>
                  <a:pt x="855" y="119"/>
                </a:cubicBezTo>
                <a:cubicBezTo>
                  <a:pt x="855" y="119"/>
                  <a:pt x="856" y="118"/>
                  <a:pt x="855" y="118"/>
                </a:cubicBezTo>
                <a:close/>
                <a:moveTo>
                  <a:pt x="858" y="117"/>
                </a:moveTo>
                <a:cubicBezTo>
                  <a:pt x="857" y="117"/>
                  <a:pt x="857" y="118"/>
                  <a:pt x="857" y="118"/>
                </a:cubicBezTo>
                <a:cubicBezTo>
                  <a:pt x="857" y="118"/>
                  <a:pt x="858" y="117"/>
                  <a:pt x="858" y="117"/>
                </a:cubicBezTo>
                <a:close/>
                <a:moveTo>
                  <a:pt x="860" y="116"/>
                </a:moveTo>
                <a:cubicBezTo>
                  <a:pt x="860" y="116"/>
                  <a:pt x="860" y="116"/>
                  <a:pt x="860" y="116"/>
                </a:cubicBezTo>
                <a:cubicBezTo>
                  <a:pt x="859" y="115"/>
                  <a:pt x="859" y="117"/>
                  <a:pt x="859" y="117"/>
                </a:cubicBezTo>
                <a:cubicBezTo>
                  <a:pt x="860" y="117"/>
                  <a:pt x="859" y="117"/>
                  <a:pt x="860" y="116"/>
                </a:cubicBezTo>
                <a:close/>
                <a:moveTo>
                  <a:pt x="849" y="110"/>
                </a:moveTo>
                <a:cubicBezTo>
                  <a:pt x="848" y="113"/>
                  <a:pt x="849" y="111"/>
                  <a:pt x="849" y="110"/>
                </a:cubicBezTo>
                <a:close/>
                <a:moveTo>
                  <a:pt x="845" y="105"/>
                </a:moveTo>
                <a:cubicBezTo>
                  <a:pt x="844" y="106"/>
                  <a:pt x="844" y="106"/>
                  <a:pt x="844" y="107"/>
                </a:cubicBezTo>
                <a:cubicBezTo>
                  <a:pt x="844" y="107"/>
                  <a:pt x="845" y="105"/>
                  <a:pt x="845" y="105"/>
                </a:cubicBezTo>
                <a:close/>
                <a:moveTo>
                  <a:pt x="844" y="105"/>
                </a:moveTo>
                <a:cubicBezTo>
                  <a:pt x="843" y="105"/>
                  <a:pt x="843" y="106"/>
                  <a:pt x="843" y="106"/>
                </a:cubicBezTo>
                <a:lnTo>
                  <a:pt x="844" y="105"/>
                </a:lnTo>
                <a:close/>
                <a:moveTo>
                  <a:pt x="836" y="101"/>
                </a:moveTo>
                <a:cubicBezTo>
                  <a:pt x="836" y="102"/>
                  <a:pt x="836" y="102"/>
                  <a:pt x="836" y="102"/>
                </a:cubicBezTo>
                <a:cubicBezTo>
                  <a:pt x="836" y="102"/>
                  <a:pt x="836" y="101"/>
                  <a:pt x="836" y="101"/>
                </a:cubicBezTo>
                <a:close/>
                <a:moveTo>
                  <a:pt x="838" y="98"/>
                </a:moveTo>
                <a:cubicBezTo>
                  <a:pt x="839" y="95"/>
                  <a:pt x="838" y="96"/>
                  <a:pt x="838" y="98"/>
                </a:cubicBezTo>
                <a:close/>
                <a:moveTo>
                  <a:pt x="828" y="135"/>
                </a:moveTo>
                <a:cubicBezTo>
                  <a:pt x="828" y="136"/>
                  <a:pt x="828" y="137"/>
                  <a:pt x="827" y="137"/>
                </a:cubicBezTo>
                <a:cubicBezTo>
                  <a:pt x="828" y="138"/>
                  <a:pt x="828" y="138"/>
                  <a:pt x="828" y="138"/>
                </a:cubicBezTo>
                <a:cubicBezTo>
                  <a:pt x="828" y="137"/>
                  <a:pt x="829" y="136"/>
                  <a:pt x="828" y="135"/>
                </a:cubicBezTo>
                <a:close/>
                <a:moveTo>
                  <a:pt x="846" y="121"/>
                </a:moveTo>
                <a:cubicBezTo>
                  <a:pt x="847" y="121"/>
                  <a:pt x="846" y="122"/>
                  <a:pt x="846" y="123"/>
                </a:cubicBezTo>
                <a:cubicBezTo>
                  <a:pt x="847" y="121"/>
                  <a:pt x="848" y="117"/>
                  <a:pt x="848" y="115"/>
                </a:cubicBezTo>
                <a:cubicBezTo>
                  <a:pt x="848" y="117"/>
                  <a:pt x="846" y="118"/>
                  <a:pt x="847" y="119"/>
                </a:cubicBezTo>
                <a:cubicBezTo>
                  <a:pt x="847" y="119"/>
                  <a:pt x="847" y="119"/>
                  <a:pt x="847" y="118"/>
                </a:cubicBezTo>
                <a:cubicBezTo>
                  <a:pt x="846" y="119"/>
                  <a:pt x="846" y="120"/>
                  <a:pt x="846" y="121"/>
                </a:cubicBezTo>
                <a:cubicBezTo>
                  <a:pt x="846" y="121"/>
                  <a:pt x="846" y="120"/>
                  <a:pt x="846" y="120"/>
                </a:cubicBezTo>
                <a:cubicBezTo>
                  <a:pt x="846" y="121"/>
                  <a:pt x="845" y="121"/>
                  <a:pt x="845" y="121"/>
                </a:cubicBezTo>
                <a:cubicBezTo>
                  <a:pt x="846" y="122"/>
                  <a:pt x="846" y="121"/>
                  <a:pt x="846" y="121"/>
                </a:cubicBezTo>
                <a:close/>
                <a:moveTo>
                  <a:pt x="860" y="122"/>
                </a:moveTo>
                <a:cubicBezTo>
                  <a:pt x="860" y="122"/>
                  <a:pt x="859" y="123"/>
                  <a:pt x="860" y="123"/>
                </a:cubicBezTo>
                <a:cubicBezTo>
                  <a:pt x="860" y="123"/>
                  <a:pt x="860" y="123"/>
                  <a:pt x="860" y="123"/>
                </a:cubicBezTo>
                <a:cubicBezTo>
                  <a:pt x="859" y="124"/>
                  <a:pt x="860" y="122"/>
                  <a:pt x="860" y="122"/>
                </a:cubicBezTo>
                <a:close/>
                <a:moveTo>
                  <a:pt x="861" y="115"/>
                </a:moveTo>
                <a:cubicBezTo>
                  <a:pt x="861" y="115"/>
                  <a:pt x="861" y="115"/>
                  <a:pt x="861" y="115"/>
                </a:cubicBezTo>
                <a:cubicBezTo>
                  <a:pt x="862" y="117"/>
                  <a:pt x="859" y="120"/>
                  <a:pt x="860" y="122"/>
                </a:cubicBezTo>
                <a:cubicBezTo>
                  <a:pt x="860" y="118"/>
                  <a:pt x="862" y="115"/>
                  <a:pt x="862" y="112"/>
                </a:cubicBezTo>
                <a:cubicBezTo>
                  <a:pt x="862" y="112"/>
                  <a:pt x="862" y="111"/>
                  <a:pt x="862" y="111"/>
                </a:cubicBezTo>
                <a:cubicBezTo>
                  <a:pt x="862" y="110"/>
                  <a:pt x="864" y="107"/>
                  <a:pt x="863" y="106"/>
                </a:cubicBezTo>
                <a:cubicBezTo>
                  <a:pt x="863" y="107"/>
                  <a:pt x="862" y="108"/>
                  <a:pt x="862" y="110"/>
                </a:cubicBezTo>
                <a:cubicBezTo>
                  <a:pt x="861" y="109"/>
                  <a:pt x="861" y="109"/>
                  <a:pt x="861" y="109"/>
                </a:cubicBezTo>
                <a:cubicBezTo>
                  <a:pt x="862" y="111"/>
                  <a:pt x="861" y="114"/>
                  <a:pt x="861" y="115"/>
                </a:cubicBezTo>
                <a:close/>
                <a:moveTo>
                  <a:pt x="842" y="104"/>
                </a:moveTo>
                <a:cubicBezTo>
                  <a:pt x="842" y="105"/>
                  <a:pt x="842" y="105"/>
                  <a:pt x="842" y="106"/>
                </a:cubicBezTo>
                <a:cubicBezTo>
                  <a:pt x="843" y="105"/>
                  <a:pt x="842" y="104"/>
                  <a:pt x="842" y="104"/>
                </a:cubicBezTo>
                <a:close/>
                <a:moveTo>
                  <a:pt x="707" y="252"/>
                </a:moveTo>
                <a:cubicBezTo>
                  <a:pt x="708" y="252"/>
                  <a:pt x="709" y="252"/>
                  <a:pt x="710" y="253"/>
                </a:cubicBezTo>
                <a:cubicBezTo>
                  <a:pt x="710" y="254"/>
                  <a:pt x="709" y="255"/>
                  <a:pt x="710" y="256"/>
                </a:cubicBezTo>
                <a:cubicBezTo>
                  <a:pt x="712" y="257"/>
                  <a:pt x="715" y="253"/>
                  <a:pt x="715" y="256"/>
                </a:cubicBezTo>
                <a:cubicBezTo>
                  <a:pt x="717" y="258"/>
                  <a:pt x="720" y="259"/>
                  <a:pt x="723" y="259"/>
                </a:cubicBezTo>
                <a:cubicBezTo>
                  <a:pt x="725" y="260"/>
                  <a:pt x="726" y="261"/>
                  <a:pt x="728" y="262"/>
                </a:cubicBezTo>
                <a:cubicBezTo>
                  <a:pt x="730" y="262"/>
                  <a:pt x="733" y="262"/>
                  <a:pt x="734" y="263"/>
                </a:cubicBezTo>
                <a:cubicBezTo>
                  <a:pt x="736" y="263"/>
                  <a:pt x="737" y="264"/>
                  <a:pt x="739" y="265"/>
                </a:cubicBezTo>
                <a:cubicBezTo>
                  <a:pt x="744" y="267"/>
                  <a:pt x="749" y="267"/>
                  <a:pt x="753" y="269"/>
                </a:cubicBezTo>
                <a:cubicBezTo>
                  <a:pt x="756" y="269"/>
                  <a:pt x="760" y="271"/>
                  <a:pt x="762" y="272"/>
                </a:cubicBezTo>
                <a:cubicBezTo>
                  <a:pt x="765" y="272"/>
                  <a:pt x="768" y="274"/>
                  <a:pt x="771" y="275"/>
                </a:cubicBezTo>
                <a:cubicBezTo>
                  <a:pt x="772" y="275"/>
                  <a:pt x="774" y="275"/>
                  <a:pt x="776" y="276"/>
                </a:cubicBezTo>
                <a:cubicBezTo>
                  <a:pt x="776" y="276"/>
                  <a:pt x="777" y="276"/>
                  <a:pt x="777" y="276"/>
                </a:cubicBezTo>
                <a:cubicBezTo>
                  <a:pt x="779" y="277"/>
                  <a:pt x="781" y="277"/>
                  <a:pt x="782" y="277"/>
                </a:cubicBezTo>
                <a:cubicBezTo>
                  <a:pt x="784" y="278"/>
                  <a:pt x="785" y="279"/>
                  <a:pt x="787" y="279"/>
                </a:cubicBezTo>
                <a:cubicBezTo>
                  <a:pt x="789" y="280"/>
                  <a:pt x="792" y="281"/>
                  <a:pt x="795" y="281"/>
                </a:cubicBezTo>
                <a:cubicBezTo>
                  <a:pt x="796" y="282"/>
                  <a:pt x="798" y="282"/>
                  <a:pt x="799" y="282"/>
                </a:cubicBezTo>
                <a:cubicBezTo>
                  <a:pt x="800" y="283"/>
                  <a:pt x="800" y="283"/>
                  <a:pt x="801" y="283"/>
                </a:cubicBezTo>
                <a:cubicBezTo>
                  <a:pt x="802" y="283"/>
                  <a:pt x="802" y="283"/>
                  <a:pt x="802" y="283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4" y="285"/>
                  <a:pt x="805" y="284"/>
                  <a:pt x="806" y="285"/>
                </a:cubicBezTo>
                <a:cubicBezTo>
                  <a:pt x="807" y="285"/>
                  <a:pt x="808" y="286"/>
                  <a:pt x="809" y="287"/>
                </a:cubicBezTo>
                <a:cubicBezTo>
                  <a:pt x="810" y="286"/>
                  <a:pt x="811" y="287"/>
                  <a:pt x="812" y="288"/>
                </a:cubicBezTo>
                <a:cubicBezTo>
                  <a:pt x="813" y="288"/>
                  <a:pt x="813" y="288"/>
                  <a:pt x="813" y="288"/>
                </a:cubicBezTo>
                <a:cubicBezTo>
                  <a:pt x="813" y="288"/>
                  <a:pt x="813" y="287"/>
                  <a:pt x="813" y="287"/>
                </a:cubicBezTo>
                <a:cubicBezTo>
                  <a:pt x="813" y="287"/>
                  <a:pt x="813" y="287"/>
                  <a:pt x="813" y="286"/>
                </a:cubicBezTo>
                <a:cubicBezTo>
                  <a:pt x="813" y="286"/>
                  <a:pt x="813" y="286"/>
                  <a:pt x="813" y="286"/>
                </a:cubicBezTo>
                <a:cubicBezTo>
                  <a:pt x="813" y="285"/>
                  <a:pt x="813" y="285"/>
                  <a:pt x="813" y="284"/>
                </a:cubicBezTo>
                <a:cubicBezTo>
                  <a:pt x="813" y="282"/>
                  <a:pt x="813" y="282"/>
                  <a:pt x="813" y="282"/>
                </a:cubicBezTo>
                <a:cubicBezTo>
                  <a:pt x="813" y="282"/>
                  <a:pt x="812" y="281"/>
                  <a:pt x="812" y="280"/>
                </a:cubicBezTo>
                <a:cubicBezTo>
                  <a:pt x="812" y="280"/>
                  <a:pt x="813" y="280"/>
                  <a:pt x="813" y="279"/>
                </a:cubicBezTo>
                <a:cubicBezTo>
                  <a:pt x="813" y="279"/>
                  <a:pt x="812" y="279"/>
                  <a:pt x="812" y="279"/>
                </a:cubicBezTo>
                <a:cubicBezTo>
                  <a:pt x="812" y="278"/>
                  <a:pt x="812" y="278"/>
                  <a:pt x="812" y="278"/>
                </a:cubicBezTo>
                <a:cubicBezTo>
                  <a:pt x="812" y="277"/>
                  <a:pt x="812" y="277"/>
                  <a:pt x="812" y="277"/>
                </a:cubicBezTo>
                <a:cubicBezTo>
                  <a:pt x="812" y="276"/>
                  <a:pt x="812" y="276"/>
                  <a:pt x="812" y="275"/>
                </a:cubicBezTo>
                <a:cubicBezTo>
                  <a:pt x="813" y="270"/>
                  <a:pt x="813" y="265"/>
                  <a:pt x="813" y="259"/>
                </a:cubicBezTo>
                <a:cubicBezTo>
                  <a:pt x="813" y="254"/>
                  <a:pt x="813" y="250"/>
                  <a:pt x="813" y="245"/>
                </a:cubicBezTo>
                <a:cubicBezTo>
                  <a:pt x="815" y="226"/>
                  <a:pt x="815" y="226"/>
                  <a:pt x="815" y="226"/>
                </a:cubicBezTo>
                <a:cubicBezTo>
                  <a:pt x="815" y="219"/>
                  <a:pt x="816" y="212"/>
                  <a:pt x="817" y="206"/>
                </a:cubicBezTo>
                <a:cubicBezTo>
                  <a:pt x="817" y="206"/>
                  <a:pt x="818" y="205"/>
                  <a:pt x="818" y="205"/>
                </a:cubicBezTo>
                <a:cubicBezTo>
                  <a:pt x="818" y="204"/>
                  <a:pt x="817" y="204"/>
                  <a:pt x="818" y="204"/>
                </a:cubicBezTo>
                <a:cubicBezTo>
                  <a:pt x="818" y="203"/>
                  <a:pt x="818" y="203"/>
                  <a:pt x="818" y="203"/>
                </a:cubicBezTo>
                <a:cubicBezTo>
                  <a:pt x="819" y="197"/>
                  <a:pt x="820" y="192"/>
                  <a:pt x="822" y="186"/>
                </a:cubicBezTo>
                <a:cubicBezTo>
                  <a:pt x="822" y="185"/>
                  <a:pt x="822" y="186"/>
                  <a:pt x="822" y="186"/>
                </a:cubicBezTo>
                <a:cubicBezTo>
                  <a:pt x="823" y="183"/>
                  <a:pt x="824" y="178"/>
                  <a:pt x="825" y="175"/>
                </a:cubicBezTo>
                <a:cubicBezTo>
                  <a:pt x="825" y="173"/>
                  <a:pt x="825" y="171"/>
                  <a:pt x="826" y="170"/>
                </a:cubicBezTo>
                <a:cubicBezTo>
                  <a:pt x="826" y="169"/>
                  <a:pt x="825" y="169"/>
                  <a:pt x="825" y="169"/>
                </a:cubicBezTo>
                <a:cubicBezTo>
                  <a:pt x="826" y="169"/>
                  <a:pt x="826" y="169"/>
                  <a:pt x="826" y="169"/>
                </a:cubicBezTo>
                <a:cubicBezTo>
                  <a:pt x="826" y="167"/>
                  <a:pt x="826" y="167"/>
                  <a:pt x="826" y="167"/>
                </a:cubicBezTo>
                <a:cubicBezTo>
                  <a:pt x="827" y="164"/>
                  <a:pt x="828" y="160"/>
                  <a:pt x="829" y="156"/>
                </a:cubicBezTo>
                <a:cubicBezTo>
                  <a:pt x="829" y="155"/>
                  <a:pt x="829" y="155"/>
                  <a:pt x="829" y="154"/>
                </a:cubicBezTo>
                <a:cubicBezTo>
                  <a:pt x="830" y="154"/>
                  <a:pt x="830" y="154"/>
                  <a:pt x="829" y="153"/>
                </a:cubicBezTo>
                <a:cubicBezTo>
                  <a:pt x="829" y="153"/>
                  <a:pt x="830" y="151"/>
                  <a:pt x="830" y="152"/>
                </a:cubicBezTo>
                <a:cubicBezTo>
                  <a:pt x="830" y="151"/>
                  <a:pt x="830" y="152"/>
                  <a:pt x="830" y="152"/>
                </a:cubicBezTo>
                <a:cubicBezTo>
                  <a:pt x="831" y="151"/>
                  <a:pt x="831" y="149"/>
                  <a:pt x="831" y="147"/>
                </a:cubicBezTo>
                <a:cubicBezTo>
                  <a:pt x="831" y="146"/>
                  <a:pt x="832" y="144"/>
                  <a:pt x="833" y="142"/>
                </a:cubicBezTo>
                <a:cubicBezTo>
                  <a:pt x="833" y="144"/>
                  <a:pt x="833" y="146"/>
                  <a:pt x="835" y="147"/>
                </a:cubicBezTo>
                <a:cubicBezTo>
                  <a:pt x="836" y="145"/>
                  <a:pt x="836" y="141"/>
                  <a:pt x="837" y="140"/>
                </a:cubicBezTo>
                <a:cubicBezTo>
                  <a:pt x="838" y="135"/>
                  <a:pt x="839" y="130"/>
                  <a:pt x="840" y="125"/>
                </a:cubicBezTo>
                <a:cubicBezTo>
                  <a:pt x="840" y="124"/>
                  <a:pt x="840" y="124"/>
                  <a:pt x="840" y="124"/>
                </a:cubicBezTo>
                <a:cubicBezTo>
                  <a:pt x="842" y="119"/>
                  <a:pt x="842" y="114"/>
                  <a:pt x="844" y="108"/>
                </a:cubicBezTo>
                <a:cubicBezTo>
                  <a:pt x="842" y="119"/>
                  <a:pt x="839" y="128"/>
                  <a:pt x="838" y="138"/>
                </a:cubicBezTo>
                <a:cubicBezTo>
                  <a:pt x="837" y="140"/>
                  <a:pt x="836" y="146"/>
                  <a:pt x="835" y="150"/>
                </a:cubicBezTo>
                <a:cubicBezTo>
                  <a:pt x="835" y="152"/>
                  <a:pt x="836" y="153"/>
                  <a:pt x="838" y="152"/>
                </a:cubicBezTo>
                <a:cubicBezTo>
                  <a:pt x="840" y="150"/>
                  <a:pt x="839" y="147"/>
                  <a:pt x="840" y="145"/>
                </a:cubicBezTo>
                <a:cubicBezTo>
                  <a:pt x="841" y="145"/>
                  <a:pt x="841" y="144"/>
                  <a:pt x="842" y="145"/>
                </a:cubicBezTo>
                <a:cubicBezTo>
                  <a:pt x="842" y="150"/>
                  <a:pt x="840" y="156"/>
                  <a:pt x="840" y="160"/>
                </a:cubicBezTo>
                <a:cubicBezTo>
                  <a:pt x="840" y="161"/>
                  <a:pt x="840" y="162"/>
                  <a:pt x="840" y="163"/>
                </a:cubicBezTo>
                <a:cubicBezTo>
                  <a:pt x="840" y="163"/>
                  <a:pt x="840" y="164"/>
                  <a:pt x="841" y="164"/>
                </a:cubicBezTo>
                <a:cubicBezTo>
                  <a:pt x="841" y="164"/>
                  <a:pt x="841" y="164"/>
                  <a:pt x="842" y="164"/>
                </a:cubicBezTo>
                <a:cubicBezTo>
                  <a:pt x="842" y="159"/>
                  <a:pt x="846" y="156"/>
                  <a:pt x="846" y="151"/>
                </a:cubicBezTo>
                <a:cubicBezTo>
                  <a:pt x="847" y="150"/>
                  <a:pt x="848" y="149"/>
                  <a:pt x="849" y="149"/>
                </a:cubicBezTo>
                <a:cubicBezTo>
                  <a:pt x="849" y="147"/>
                  <a:pt x="850" y="145"/>
                  <a:pt x="850" y="143"/>
                </a:cubicBezTo>
                <a:cubicBezTo>
                  <a:pt x="850" y="142"/>
                  <a:pt x="850" y="142"/>
                  <a:pt x="850" y="142"/>
                </a:cubicBezTo>
                <a:cubicBezTo>
                  <a:pt x="851" y="137"/>
                  <a:pt x="851" y="133"/>
                  <a:pt x="853" y="129"/>
                </a:cubicBezTo>
                <a:cubicBezTo>
                  <a:pt x="853" y="133"/>
                  <a:pt x="852" y="136"/>
                  <a:pt x="851" y="140"/>
                </a:cubicBezTo>
                <a:cubicBezTo>
                  <a:pt x="851" y="140"/>
                  <a:pt x="852" y="141"/>
                  <a:pt x="852" y="141"/>
                </a:cubicBezTo>
                <a:cubicBezTo>
                  <a:pt x="851" y="144"/>
                  <a:pt x="850" y="149"/>
                  <a:pt x="849" y="152"/>
                </a:cubicBezTo>
                <a:cubicBezTo>
                  <a:pt x="850" y="153"/>
                  <a:pt x="851" y="153"/>
                  <a:pt x="851" y="152"/>
                </a:cubicBezTo>
                <a:cubicBezTo>
                  <a:pt x="851" y="152"/>
                  <a:pt x="851" y="153"/>
                  <a:pt x="851" y="153"/>
                </a:cubicBezTo>
                <a:cubicBezTo>
                  <a:pt x="851" y="153"/>
                  <a:pt x="851" y="153"/>
                  <a:pt x="852" y="153"/>
                </a:cubicBezTo>
                <a:cubicBezTo>
                  <a:pt x="851" y="155"/>
                  <a:pt x="851" y="155"/>
                  <a:pt x="851" y="157"/>
                </a:cubicBezTo>
                <a:cubicBezTo>
                  <a:pt x="851" y="158"/>
                  <a:pt x="851" y="158"/>
                  <a:pt x="852" y="158"/>
                </a:cubicBezTo>
                <a:cubicBezTo>
                  <a:pt x="852" y="156"/>
                  <a:pt x="853" y="155"/>
                  <a:pt x="853" y="153"/>
                </a:cubicBezTo>
                <a:cubicBezTo>
                  <a:pt x="853" y="152"/>
                  <a:pt x="853" y="151"/>
                  <a:pt x="853" y="151"/>
                </a:cubicBezTo>
                <a:cubicBezTo>
                  <a:pt x="853" y="150"/>
                  <a:pt x="853" y="150"/>
                  <a:pt x="854" y="150"/>
                </a:cubicBezTo>
                <a:cubicBezTo>
                  <a:pt x="854" y="149"/>
                  <a:pt x="853" y="149"/>
                  <a:pt x="853" y="148"/>
                </a:cubicBezTo>
                <a:cubicBezTo>
                  <a:pt x="853" y="148"/>
                  <a:pt x="854" y="148"/>
                  <a:pt x="854" y="147"/>
                </a:cubicBezTo>
                <a:cubicBezTo>
                  <a:pt x="855" y="145"/>
                  <a:pt x="854" y="143"/>
                  <a:pt x="855" y="141"/>
                </a:cubicBezTo>
                <a:cubicBezTo>
                  <a:pt x="855" y="140"/>
                  <a:pt x="856" y="139"/>
                  <a:pt x="857" y="137"/>
                </a:cubicBezTo>
                <a:cubicBezTo>
                  <a:pt x="857" y="138"/>
                  <a:pt x="856" y="139"/>
                  <a:pt x="856" y="140"/>
                </a:cubicBezTo>
                <a:cubicBezTo>
                  <a:pt x="855" y="144"/>
                  <a:pt x="856" y="148"/>
                  <a:pt x="855" y="151"/>
                </a:cubicBezTo>
                <a:cubicBezTo>
                  <a:pt x="856" y="152"/>
                  <a:pt x="856" y="151"/>
                  <a:pt x="857" y="151"/>
                </a:cubicBezTo>
                <a:cubicBezTo>
                  <a:pt x="857" y="150"/>
                  <a:pt x="857" y="149"/>
                  <a:pt x="857" y="148"/>
                </a:cubicBezTo>
                <a:cubicBezTo>
                  <a:pt x="857" y="148"/>
                  <a:pt x="857" y="149"/>
                  <a:pt x="857" y="148"/>
                </a:cubicBezTo>
                <a:cubicBezTo>
                  <a:pt x="857" y="146"/>
                  <a:pt x="857" y="144"/>
                  <a:pt x="858" y="141"/>
                </a:cubicBezTo>
                <a:cubicBezTo>
                  <a:pt x="858" y="141"/>
                  <a:pt x="858" y="140"/>
                  <a:pt x="859" y="141"/>
                </a:cubicBezTo>
                <a:cubicBezTo>
                  <a:pt x="859" y="140"/>
                  <a:pt x="859" y="140"/>
                  <a:pt x="860" y="140"/>
                </a:cubicBezTo>
                <a:cubicBezTo>
                  <a:pt x="860" y="139"/>
                  <a:pt x="859" y="140"/>
                  <a:pt x="859" y="140"/>
                </a:cubicBezTo>
                <a:cubicBezTo>
                  <a:pt x="860" y="139"/>
                  <a:pt x="859" y="138"/>
                  <a:pt x="860" y="138"/>
                </a:cubicBezTo>
                <a:cubicBezTo>
                  <a:pt x="860" y="134"/>
                  <a:pt x="861" y="132"/>
                  <a:pt x="861" y="128"/>
                </a:cubicBezTo>
                <a:cubicBezTo>
                  <a:pt x="861" y="131"/>
                  <a:pt x="861" y="134"/>
                  <a:pt x="860" y="137"/>
                </a:cubicBezTo>
                <a:cubicBezTo>
                  <a:pt x="860" y="138"/>
                  <a:pt x="861" y="137"/>
                  <a:pt x="861" y="138"/>
                </a:cubicBezTo>
                <a:cubicBezTo>
                  <a:pt x="861" y="139"/>
                  <a:pt x="860" y="139"/>
                  <a:pt x="860" y="140"/>
                </a:cubicBezTo>
                <a:cubicBezTo>
                  <a:pt x="860" y="141"/>
                  <a:pt x="860" y="142"/>
                  <a:pt x="860" y="143"/>
                </a:cubicBezTo>
                <a:cubicBezTo>
                  <a:pt x="860" y="144"/>
                  <a:pt x="859" y="145"/>
                  <a:pt x="859" y="146"/>
                </a:cubicBezTo>
                <a:cubicBezTo>
                  <a:pt x="860" y="147"/>
                  <a:pt x="860" y="148"/>
                  <a:pt x="860" y="149"/>
                </a:cubicBezTo>
                <a:cubicBezTo>
                  <a:pt x="860" y="150"/>
                  <a:pt x="860" y="149"/>
                  <a:pt x="860" y="150"/>
                </a:cubicBezTo>
                <a:cubicBezTo>
                  <a:pt x="861" y="151"/>
                  <a:pt x="861" y="150"/>
                  <a:pt x="862" y="150"/>
                </a:cubicBezTo>
                <a:cubicBezTo>
                  <a:pt x="862" y="151"/>
                  <a:pt x="861" y="150"/>
                  <a:pt x="861" y="151"/>
                </a:cubicBezTo>
                <a:cubicBezTo>
                  <a:pt x="861" y="151"/>
                  <a:pt x="861" y="152"/>
                  <a:pt x="862" y="152"/>
                </a:cubicBezTo>
                <a:cubicBezTo>
                  <a:pt x="861" y="154"/>
                  <a:pt x="861" y="155"/>
                  <a:pt x="861" y="157"/>
                </a:cubicBezTo>
                <a:cubicBezTo>
                  <a:pt x="861" y="157"/>
                  <a:pt x="861" y="156"/>
                  <a:pt x="861" y="157"/>
                </a:cubicBezTo>
                <a:cubicBezTo>
                  <a:pt x="861" y="157"/>
                  <a:pt x="861" y="160"/>
                  <a:pt x="861" y="160"/>
                </a:cubicBezTo>
                <a:cubicBezTo>
                  <a:pt x="861" y="162"/>
                  <a:pt x="861" y="163"/>
                  <a:pt x="860" y="165"/>
                </a:cubicBezTo>
                <a:cubicBezTo>
                  <a:pt x="860" y="166"/>
                  <a:pt x="861" y="165"/>
                  <a:pt x="861" y="166"/>
                </a:cubicBezTo>
                <a:cubicBezTo>
                  <a:pt x="861" y="167"/>
                  <a:pt x="861" y="168"/>
                  <a:pt x="860" y="169"/>
                </a:cubicBezTo>
                <a:cubicBezTo>
                  <a:pt x="861" y="170"/>
                  <a:pt x="861" y="172"/>
                  <a:pt x="860" y="173"/>
                </a:cubicBezTo>
                <a:cubicBezTo>
                  <a:pt x="861" y="173"/>
                  <a:pt x="861" y="172"/>
                  <a:pt x="862" y="172"/>
                </a:cubicBezTo>
                <a:cubicBezTo>
                  <a:pt x="862" y="172"/>
                  <a:pt x="861" y="173"/>
                  <a:pt x="861" y="174"/>
                </a:cubicBezTo>
                <a:cubicBezTo>
                  <a:pt x="861" y="178"/>
                  <a:pt x="862" y="181"/>
                  <a:pt x="861" y="186"/>
                </a:cubicBezTo>
                <a:cubicBezTo>
                  <a:pt x="861" y="187"/>
                  <a:pt x="862" y="187"/>
                  <a:pt x="861" y="188"/>
                </a:cubicBezTo>
                <a:cubicBezTo>
                  <a:pt x="861" y="188"/>
                  <a:pt x="862" y="188"/>
                  <a:pt x="862" y="188"/>
                </a:cubicBezTo>
                <a:cubicBezTo>
                  <a:pt x="862" y="190"/>
                  <a:pt x="860" y="196"/>
                  <a:pt x="862" y="198"/>
                </a:cubicBezTo>
                <a:cubicBezTo>
                  <a:pt x="861" y="198"/>
                  <a:pt x="861" y="197"/>
                  <a:pt x="861" y="198"/>
                </a:cubicBezTo>
                <a:cubicBezTo>
                  <a:pt x="861" y="199"/>
                  <a:pt x="860" y="200"/>
                  <a:pt x="861" y="201"/>
                </a:cubicBezTo>
                <a:cubicBezTo>
                  <a:pt x="861" y="204"/>
                  <a:pt x="860" y="206"/>
                  <a:pt x="861" y="208"/>
                </a:cubicBezTo>
                <a:cubicBezTo>
                  <a:pt x="860" y="209"/>
                  <a:pt x="860" y="210"/>
                  <a:pt x="860" y="210"/>
                </a:cubicBezTo>
                <a:cubicBezTo>
                  <a:pt x="860" y="211"/>
                  <a:pt x="860" y="213"/>
                  <a:pt x="860" y="214"/>
                </a:cubicBezTo>
                <a:cubicBezTo>
                  <a:pt x="859" y="231"/>
                  <a:pt x="857" y="248"/>
                  <a:pt x="857" y="264"/>
                </a:cubicBezTo>
                <a:cubicBezTo>
                  <a:pt x="856" y="268"/>
                  <a:pt x="857" y="273"/>
                  <a:pt x="857" y="277"/>
                </a:cubicBezTo>
                <a:cubicBezTo>
                  <a:pt x="857" y="277"/>
                  <a:pt x="857" y="277"/>
                  <a:pt x="857" y="278"/>
                </a:cubicBezTo>
                <a:cubicBezTo>
                  <a:pt x="857" y="279"/>
                  <a:pt x="857" y="279"/>
                  <a:pt x="857" y="279"/>
                </a:cubicBezTo>
                <a:cubicBezTo>
                  <a:pt x="857" y="280"/>
                  <a:pt x="857" y="281"/>
                  <a:pt x="857" y="282"/>
                </a:cubicBezTo>
                <a:cubicBezTo>
                  <a:pt x="857" y="291"/>
                  <a:pt x="857" y="302"/>
                  <a:pt x="859" y="311"/>
                </a:cubicBezTo>
                <a:cubicBezTo>
                  <a:pt x="858" y="317"/>
                  <a:pt x="860" y="324"/>
                  <a:pt x="860" y="331"/>
                </a:cubicBezTo>
                <a:cubicBezTo>
                  <a:pt x="860" y="334"/>
                  <a:pt x="860" y="336"/>
                  <a:pt x="860" y="339"/>
                </a:cubicBezTo>
                <a:cubicBezTo>
                  <a:pt x="861" y="340"/>
                  <a:pt x="861" y="342"/>
                  <a:pt x="861" y="343"/>
                </a:cubicBezTo>
                <a:cubicBezTo>
                  <a:pt x="861" y="345"/>
                  <a:pt x="861" y="347"/>
                  <a:pt x="861" y="349"/>
                </a:cubicBezTo>
                <a:cubicBezTo>
                  <a:pt x="861" y="350"/>
                  <a:pt x="861" y="350"/>
                  <a:pt x="861" y="350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0" y="350"/>
                  <a:pt x="860" y="350"/>
                </a:cubicBezTo>
                <a:cubicBezTo>
                  <a:pt x="859" y="350"/>
                  <a:pt x="858" y="350"/>
                  <a:pt x="857" y="349"/>
                </a:cubicBezTo>
                <a:cubicBezTo>
                  <a:pt x="854" y="349"/>
                  <a:pt x="853" y="349"/>
                  <a:pt x="851" y="348"/>
                </a:cubicBezTo>
                <a:cubicBezTo>
                  <a:pt x="843" y="346"/>
                  <a:pt x="834" y="342"/>
                  <a:pt x="826" y="340"/>
                </a:cubicBezTo>
                <a:cubicBezTo>
                  <a:pt x="824" y="340"/>
                  <a:pt x="821" y="338"/>
                  <a:pt x="819" y="338"/>
                </a:cubicBezTo>
                <a:cubicBezTo>
                  <a:pt x="818" y="338"/>
                  <a:pt x="817" y="338"/>
                  <a:pt x="816" y="337"/>
                </a:cubicBezTo>
                <a:cubicBezTo>
                  <a:pt x="812" y="336"/>
                  <a:pt x="807" y="334"/>
                  <a:pt x="803" y="334"/>
                </a:cubicBezTo>
                <a:cubicBezTo>
                  <a:pt x="801" y="333"/>
                  <a:pt x="799" y="332"/>
                  <a:pt x="797" y="331"/>
                </a:cubicBezTo>
                <a:cubicBezTo>
                  <a:pt x="794" y="331"/>
                  <a:pt x="792" y="330"/>
                  <a:pt x="790" y="330"/>
                </a:cubicBezTo>
                <a:cubicBezTo>
                  <a:pt x="789" y="329"/>
                  <a:pt x="788" y="329"/>
                  <a:pt x="788" y="329"/>
                </a:cubicBezTo>
                <a:cubicBezTo>
                  <a:pt x="787" y="329"/>
                  <a:pt x="787" y="329"/>
                  <a:pt x="786" y="328"/>
                </a:cubicBezTo>
                <a:cubicBezTo>
                  <a:pt x="783" y="328"/>
                  <a:pt x="779" y="327"/>
                  <a:pt x="776" y="325"/>
                </a:cubicBezTo>
                <a:cubicBezTo>
                  <a:pt x="775" y="325"/>
                  <a:pt x="775" y="325"/>
                  <a:pt x="775" y="326"/>
                </a:cubicBezTo>
                <a:cubicBezTo>
                  <a:pt x="773" y="324"/>
                  <a:pt x="770" y="325"/>
                  <a:pt x="768" y="324"/>
                </a:cubicBezTo>
                <a:cubicBezTo>
                  <a:pt x="767" y="324"/>
                  <a:pt x="767" y="324"/>
                  <a:pt x="767" y="324"/>
                </a:cubicBezTo>
                <a:cubicBezTo>
                  <a:pt x="766" y="323"/>
                  <a:pt x="765" y="323"/>
                  <a:pt x="763" y="323"/>
                </a:cubicBezTo>
                <a:cubicBezTo>
                  <a:pt x="759" y="321"/>
                  <a:pt x="755" y="321"/>
                  <a:pt x="751" y="319"/>
                </a:cubicBezTo>
                <a:cubicBezTo>
                  <a:pt x="749" y="320"/>
                  <a:pt x="746" y="319"/>
                  <a:pt x="744" y="318"/>
                </a:cubicBezTo>
                <a:cubicBezTo>
                  <a:pt x="743" y="318"/>
                  <a:pt x="743" y="319"/>
                  <a:pt x="742" y="318"/>
                </a:cubicBezTo>
                <a:cubicBezTo>
                  <a:pt x="741" y="318"/>
                  <a:pt x="741" y="318"/>
                  <a:pt x="741" y="318"/>
                </a:cubicBezTo>
                <a:cubicBezTo>
                  <a:pt x="740" y="318"/>
                  <a:pt x="740" y="318"/>
                  <a:pt x="739" y="318"/>
                </a:cubicBezTo>
                <a:cubicBezTo>
                  <a:pt x="738" y="317"/>
                  <a:pt x="738" y="317"/>
                  <a:pt x="737" y="316"/>
                </a:cubicBezTo>
                <a:cubicBezTo>
                  <a:pt x="736" y="316"/>
                  <a:pt x="736" y="317"/>
                  <a:pt x="735" y="316"/>
                </a:cubicBezTo>
                <a:cubicBezTo>
                  <a:pt x="734" y="316"/>
                  <a:pt x="733" y="315"/>
                  <a:pt x="733" y="315"/>
                </a:cubicBezTo>
                <a:cubicBezTo>
                  <a:pt x="731" y="315"/>
                  <a:pt x="729" y="316"/>
                  <a:pt x="727" y="314"/>
                </a:cubicBezTo>
                <a:cubicBezTo>
                  <a:pt x="725" y="314"/>
                  <a:pt x="724" y="313"/>
                  <a:pt x="722" y="313"/>
                </a:cubicBezTo>
                <a:cubicBezTo>
                  <a:pt x="721" y="313"/>
                  <a:pt x="720" y="313"/>
                  <a:pt x="719" y="313"/>
                </a:cubicBezTo>
                <a:cubicBezTo>
                  <a:pt x="718" y="313"/>
                  <a:pt x="718" y="313"/>
                  <a:pt x="717" y="313"/>
                </a:cubicBezTo>
                <a:cubicBezTo>
                  <a:pt x="715" y="312"/>
                  <a:pt x="713" y="313"/>
                  <a:pt x="711" y="311"/>
                </a:cubicBezTo>
                <a:cubicBezTo>
                  <a:pt x="708" y="312"/>
                  <a:pt x="703" y="309"/>
                  <a:pt x="701" y="311"/>
                </a:cubicBezTo>
                <a:cubicBezTo>
                  <a:pt x="701" y="312"/>
                  <a:pt x="700" y="313"/>
                  <a:pt x="699" y="313"/>
                </a:cubicBezTo>
                <a:cubicBezTo>
                  <a:pt x="698" y="313"/>
                  <a:pt x="698" y="312"/>
                  <a:pt x="697" y="311"/>
                </a:cubicBezTo>
                <a:cubicBezTo>
                  <a:pt x="696" y="311"/>
                  <a:pt x="693" y="310"/>
                  <a:pt x="692" y="310"/>
                </a:cubicBezTo>
                <a:cubicBezTo>
                  <a:pt x="691" y="310"/>
                  <a:pt x="691" y="311"/>
                  <a:pt x="690" y="311"/>
                </a:cubicBezTo>
                <a:cubicBezTo>
                  <a:pt x="689" y="311"/>
                  <a:pt x="688" y="309"/>
                  <a:pt x="687" y="309"/>
                </a:cubicBezTo>
                <a:cubicBezTo>
                  <a:pt x="686" y="309"/>
                  <a:pt x="685" y="310"/>
                  <a:pt x="684" y="310"/>
                </a:cubicBezTo>
                <a:cubicBezTo>
                  <a:pt x="683" y="309"/>
                  <a:pt x="682" y="308"/>
                  <a:pt x="682" y="307"/>
                </a:cubicBezTo>
                <a:cubicBezTo>
                  <a:pt x="682" y="307"/>
                  <a:pt x="682" y="307"/>
                  <a:pt x="681" y="307"/>
                </a:cubicBezTo>
                <a:cubicBezTo>
                  <a:pt x="680" y="305"/>
                  <a:pt x="677" y="304"/>
                  <a:pt x="674" y="304"/>
                </a:cubicBezTo>
                <a:cubicBezTo>
                  <a:pt x="674" y="303"/>
                  <a:pt x="673" y="303"/>
                  <a:pt x="673" y="303"/>
                </a:cubicBezTo>
                <a:cubicBezTo>
                  <a:pt x="670" y="302"/>
                  <a:pt x="668" y="299"/>
                  <a:pt x="666" y="296"/>
                </a:cubicBezTo>
                <a:cubicBezTo>
                  <a:pt x="666" y="296"/>
                  <a:pt x="665" y="296"/>
                  <a:pt x="665" y="295"/>
                </a:cubicBezTo>
                <a:cubicBezTo>
                  <a:pt x="664" y="294"/>
                  <a:pt x="664" y="293"/>
                  <a:pt x="663" y="292"/>
                </a:cubicBezTo>
                <a:cubicBezTo>
                  <a:pt x="663" y="291"/>
                  <a:pt x="662" y="291"/>
                  <a:pt x="662" y="290"/>
                </a:cubicBezTo>
                <a:cubicBezTo>
                  <a:pt x="662" y="288"/>
                  <a:pt x="661" y="287"/>
                  <a:pt x="660" y="286"/>
                </a:cubicBezTo>
                <a:cubicBezTo>
                  <a:pt x="660" y="285"/>
                  <a:pt x="659" y="284"/>
                  <a:pt x="659" y="283"/>
                </a:cubicBezTo>
                <a:cubicBezTo>
                  <a:pt x="658" y="281"/>
                  <a:pt x="659" y="279"/>
                  <a:pt x="658" y="277"/>
                </a:cubicBezTo>
                <a:cubicBezTo>
                  <a:pt x="659" y="274"/>
                  <a:pt x="659" y="271"/>
                  <a:pt x="660" y="267"/>
                </a:cubicBezTo>
                <a:cubicBezTo>
                  <a:pt x="660" y="267"/>
                  <a:pt x="659" y="267"/>
                  <a:pt x="660" y="266"/>
                </a:cubicBezTo>
                <a:cubicBezTo>
                  <a:pt x="661" y="265"/>
                  <a:pt x="661" y="263"/>
                  <a:pt x="662" y="261"/>
                </a:cubicBezTo>
                <a:cubicBezTo>
                  <a:pt x="663" y="261"/>
                  <a:pt x="663" y="260"/>
                  <a:pt x="664" y="260"/>
                </a:cubicBezTo>
                <a:cubicBezTo>
                  <a:pt x="665" y="259"/>
                  <a:pt x="665" y="258"/>
                  <a:pt x="666" y="257"/>
                </a:cubicBezTo>
                <a:cubicBezTo>
                  <a:pt x="670" y="256"/>
                  <a:pt x="673" y="253"/>
                  <a:pt x="677" y="251"/>
                </a:cubicBezTo>
                <a:cubicBezTo>
                  <a:pt x="677" y="251"/>
                  <a:pt x="678" y="251"/>
                  <a:pt x="678" y="251"/>
                </a:cubicBezTo>
                <a:cubicBezTo>
                  <a:pt x="680" y="250"/>
                  <a:pt x="682" y="250"/>
                  <a:pt x="684" y="249"/>
                </a:cubicBezTo>
                <a:cubicBezTo>
                  <a:pt x="685" y="248"/>
                  <a:pt x="687" y="249"/>
                  <a:pt x="689" y="249"/>
                </a:cubicBezTo>
                <a:cubicBezTo>
                  <a:pt x="690" y="249"/>
                  <a:pt x="690" y="248"/>
                  <a:pt x="692" y="249"/>
                </a:cubicBezTo>
                <a:cubicBezTo>
                  <a:pt x="693" y="249"/>
                  <a:pt x="695" y="248"/>
                  <a:pt x="696" y="248"/>
                </a:cubicBezTo>
                <a:cubicBezTo>
                  <a:pt x="698" y="248"/>
                  <a:pt x="700" y="249"/>
                  <a:pt x="701" y="250"/>
                </a:cubicBezTo>
                <a:cubicBezTo>
                  <a:pt x="702" y="250"/>
                  <a:pt x="703" y="249"/>
                  <a:pt x="704" y="250"/>
                </a:cubicBezTo>
                <a:cubicBezTo>
                  <a:pt x="705" y="250"/>
                  <a:pt x="706" y="252"/>
                  <a:pt x="707" y="252"/>
                </a:cubicBezTo>
                <a:close/>
                <a:moveTo>
                  <a:pt x="858" y="156"/>
                </a:moveTo>
                <a:cubicBezTo>
                  <a:pt x="858" y="156"/>
                  <a:pt x="858" y="156"/>
                  <a:pt x="858" y="156"/>
                </a:cubicBezTo>
                <a:cubicBezTo>
                  <a:pt x="858" y="157"/>
                  <a:pt x="859" y="156"/>
                  <a:pt x="858" y="156"/>
                </a:cubicBezTo>
                <a:close/>
                <a:moveTo>
                  <a:pt x="859" y="156"/>
                </a:moveTo>
                <a:cubicBezTo>
                  <a:pt x="860" y="155"/>
                  <a:pt x="859" y="154"/>
                  <a:pt x="860" y="152"/>
                </a:cubicBezTo>
                <a:cubicBezTo>
                  <a:pt x="859" y="152"/>
                  <a:pt x="859" y="152"/>
                  <a:pt x="860" y="151"/>
                </a:cubicBezTo>
                <a:cubicBezTo>
                  <a:pt x="859" y="150"/>
                  <a:pt x="860" y="148"/>
                  <a:pt x="858" y="148"/>
                </a:cubicBezTo>
                <a:cubicBezTo>
                  <a:pt x="858" y="149"/>
                  <a:pt x="858" y="150"/>
                  <a:pt x="857" y="151"/>
                </a:cubicBezTo>
                <a:cubicBezTo>
                  <a:pt x="857" y="151"/>
                  <a:pt x="858" y="151"/>
                  <a:pt x="858" y="151"/>
                </a:cubicBezTo>
                <a:cubicBezTo>
                  <a:pt x="858" y="152"/>
                  <a:pt x="858" y="154"/>
                  <a:pt x="858" y="156"/>
                </a:cubicBezTo>
                <a:cubicBezTo>
                  <a:pt x="858" y="156"/>
                  <a:pt x="858" y="155"/>
                  <a:pt x="859" y="156"/>
                </a:cubicBezTo>
                <a:close/>
              </a:path>
            </a:pathLst>
          </a:custGeom>
          <a:solidFill>
            <a:srgbClr val="AB244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60859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5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0" grpId="0" animBg="1"/>
      <p:bldP spid="24" grpId="0" animBg="1"/>
      <p:bldP spid="31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7">
            <a:extLst>
              <a:ext uri="{FF2B5EF4-FFF2-40B4-BE49-F238E27FC236}">
                <a16:creationId xmlns:a16="http://schemas.microsoft.com/office/drawing/2014/main" id="{EBEB5841-07E6-4A87-875F-148E8A42AE3F}"/>
              </a:ext>
            </a:extLst>
          </p:cNvPr>
          <p:cNvPicPr/>
          <p:nvPr/>
        </p:nvPicPr>
        <p:blipFill rotWithShape="1">
          <a:blip r:embed="rId2"/>
          <a:srcRect t="12567" r="36919" b="40832"/>
          <a:stretch/>
        </p:blipFill>
        <p:spPr>
          <a:xfrm>
            <a:off x="751098" y="1617052"/>
            <a:ext cx="5409477" cy="2129504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BC8CF7CE-DE6A-485C-8AEC-CA1AD7562D21}"/>
              </a:ext>
            </a:extLst>
          </p:cNvPr>
          <p:cNvSpPr/>
          <p:nvPr/>
        </p:nvSpPr>
        <p:spPr>
          <a:xfrm>
            <a:off x="662628" y="2005552"/>
            <a:ext cx="1119677" cy="217989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pic>
        <p:nvPicPr>
          <p:cNvPr id="6" name="Picture 34">
            <a:extLst>
              <a:ext uri="{FF2B5EF4-FFF2-40B4-BE49-F238E27FC236}">
                <a16:creationId xmlns:a16="http://schemas.microsoft.com/office/drawing/2014/main" id="{9E88DD43-4464-415F-8F88-E2E3115B7BB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45163">
            <a:off x="351444" y="2140238"/>
            <a:ext cx="560659" cy="560659"/>
          </a:xfrm>
          <a:prstGeom prst="rect">
            <a:avLst/>
          </a:prstGeom>
        </p:spPr>
      </p:pic>
      <p:pic>
        <p:nvPicPr>
          <p:cNvPr id="7" name="Immagine 11">
            <a:extLst>
              <a:ext uri="{FF2B5EF4-FFF2-40B4-BE49-F238E27FC236}">
                <a16:creationId xmlns:a16="http://schemas.microsoft.com/office/drawing/2014/main" id="{D68907F3-A92B-4236-AB52-65C4E0F94997}"/>
              </a:ext>
            </a:extLst>
          </p:cNvPr>
          <p:cNvPicPr/>
          <p:nvPr/>
        </p:nvPicPr>
        <p:blipFill rotWithShape="1">
          <a:blip r:embed="rId4"/>
          <a:srcRect l="-103" t="13945" r="88675" b="49999"/>
          <a:stretch/>
        </p:blipFill>
        <p:spPr>
          <a:xfrm>
            <a:off x="1782305" y="1929632"/>
            <a:ext cx="2295144" cy="3198501"/>
          </a:xfrm>
          <a:prstGeom prst="rect">
            <a:avLst/>
          </a:prstGeom>
        </p:spPr>
      </p:pic>
      <p:sp>
        <p:nvSpPr>
          <p:cNvPr id="8" name="Rectangle: Rounded Corners 4">
            <a:extLst>
              <a:ext uri="{FF2B5EF4-FFF2-40B4-BE49-F238E27FC236}">
                <a16:creationId xmlns:a16="http://schemas.microsoft.com/office/drawing/2014/main" id="{FC7D0ED7-F827-43F9-8C1D-9C3A6FDABC3B}"/>
              </a:ext>
            </a:extLst>
          </p:cNvPr>
          <p:cNvSpPr/>
          <p:nvPr/>
        </p:nvSpPr>
        <p:spPr>
          <a:xfrm>
            <a:off x="1782305" y="3199649"/>
            <a:ext cx="2295144" cy="229351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2858E58-7AE8-4125-B840-88E28C82C4E2}"/>
              </a:ext>
            </a:extLst>
          </p:cNvPr>
          <p:cNvGrpSpPr/>
          <p:nvPr/>
        </p:nvGrpSpPr>
        <p:grpSpPr>
          <a:xfrm>
            <a:off x="5810264" y="5805807"/>
            <a:ext cx="4958118" cy="754066"/>
            <a:chOff x="4938087" y="5835138"/>
            <a:chExt cx="4958118" cy="754066"/>
          </a:xfrm>
        </p:grpSpPr>
        <p:sp>
          <p:nvSpPr>
            <p:cNvPr id="14" name="Rectangle: Rounded Corners 54">
              <a:extLst>
                <a:ext uri="{FF2B5EF4-FFF2-40B4-BE49-F238E27FC236}">
                  <a16:creationId xmlns:a16="http://schemas.microsoft.com/office/drawing/2014/main" id="{CBB8F1DB-EE20-42A5-8033-3E8C24FDF14A}"/>
                </a:ext>
              </a:extLst>
            </p:cNvPr>
            <p:cNvSpPr/>
            <p:nvPr/>
          </p:nvSpPr>
          <p:spPr>
            <a:xfrm>
              <a:off x="4938087" y="5920897"/>
              <a:ext cx="4958118" cy="668307"/>
            </a:xfrm>
            <a:prstGeom prst="roundRect">
              <a:avLst>
                <a:gd name="adj" fmla="val 50000"/>
              </a:avLst>
            </a:prstGeom>
            <a:solidFill>
              <a:srgbClr val="179D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endParaRPr lang="it-IT" sz="1200" i="1" dirty="0">
                <a:solidFill>
                  <a:schemeClr val="tx1"/>
                </a:solidFill>
              </a:endParaRPr>
            </a:p>
          </p:txBody>
        </p:sp>
        <p:sp>
          <p:nvSpPr>
            <p:cNvPr id="15" name="Oval 16">
              <a:extLst>
                <a:ext uri="{FF2B5EF4-FFF2-40B4-BE49-F238E27FC236}">
                  <a16:creationId xmlns:a16="http://schemas.microsoft.com/office/drawing/2014/main" id="{A31BC99D-0474-4E62-BD10-212F3E25A3EF}"/>
                </a:ext>
              </a:extLst>
            </p:cNvPr>
            <p:cNvSpPr/>
            <p:nvPr/>
          </p:nvSpPr>
          <p:spPr>
            <a:xfrm>
              <a:off x="4999433" y="5972656"/>
              <a:ext cx="608540" cy="5647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 i="1" dirty="0" err="1">
                <a:solidFill>
                  <a:schemeClr val="bg1"/>
                </a:solidFill>
              </a:endParaRPr>
            </a:p>
          </p:txBody>
        </p:sp>
        <p:sp>
          <p:nvSpPr>
            <p:cNvPr id="16" name="Rectangle 17">
              <a:extLst>
                <a:ext uri="{FF2B5EF4-FFF2-40B4-BE49-F238E27FC236}">
                  <a16:creationId xmlns:a16="http://schemas.microsoft.com/office/drawing/2014/main" id="{29DBF31D-D763-415C-945A-8B2629AB0F5F}"/>
                </a:ext>
              </a:extLst>
            </p:cNvPr>
            <p:cNvSpPr/>
            <p:nvPr/>
          </p:nvSpPr>
          <p:spPr>
            <a:xfrm>
              <a:off x="5669319" y="5989203"/>
              <a:ext cx="3860062" cy="5213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r>
                <a:rPr lang="it-IT" sz="1200" i="1" dirty="0">
                  <a:solidFill>
                    <a:prstClr val="black"/>
                  </a:solidFill>
                </a:rPr>
                <a:t>Gli studenti potranno accedere alla piattaforma del «Curriculum dello studente» </a:t>
              </a:r>
              <a:r>
                <a:rPr lang="it-IT" sz="1200" b="1" i="1" dirty="0">
                  <a:solidFill>
                    <a:prstClr val="black"/>
                  </a:solidFill>
                </a:rPr>
                <a:t>solo se correttamente abilitati dalla segreteria.</a:t>
              </a:r>
            </a:p>
          </p:txBody>
        </p:sp>
        <p:pic>
          <p:nvPicPr>
            <p:cNvPr id="17" name="Graphic 57" descr="Magnifying glass">
              <a:extLst>
                <a:ext uri="{FF2B5EF4-FFF2-40B4-BE49-F238E27FC236}">
                  <a16:creationId xmlns:a16="http://schemas.microsoft.com/office/drawing/2014/main" id="{8198AC79-066F-4D21-88E5-44724ED892C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5400000">
              <a:off x="5108168" y="5835138"/>
              <a:ext cx="567771" cy="567771"/>
            </a:xfrm>
            <a:prstGeom prst="rect">
              <a:avLst/>
            </a:prstGeom>
          </p:spPr>
        </p:pic>
      </p:grpSp>
      <p:grpSp>
        <p:nvGrpSpPr>
          <p:cNvPr id="18" name="Group 19">
            <a:extLst>
              <a:ext uri="{FF2B5EF4-FFF2-40B4-BE49-F238E27FC236}">
                <a16:creationId xmlns:a16="http://schemas.microsoft.com/office/drawing/2014/main" id="{E9726E99-8985-4548-BEC4-9F5433D8CD12}"/>
              </a:ext>
            </a:extLst>
          </p:cNvPr>
          <p:cNvGrpSpPr/>
          <p:nvPr/>
        </p:nvGrpSpPr>
        <p:grpSpPr>
          <a:xfrm>
            <a:off x="6482784" y="1099139"/>
            <a:ext cx="4958118" cy="754066"/>
            <a:chOff x="4938087" y="5835138"/>
            <a:chExt cx="4958118" cy="754066"/>
          </a:xfrm>
        </p:grpSpPr>
        <p:sp>
          <p:nvSpPr>
            <p:cNvPr id="19" name="Rectangle: Rounded Corners 54">
              <a:extLst>
                <a:ext uri="{FF2B5EF4-FFF2-40B4-BE49-F238E27FC236}">
                  <a16:creationId xmlns:a16="http://schemas.microsoft.com/office/drawing/2014/main" id="{ED0344F0-B82A-40D8-90B3-23728FD433EA}"/>
                </a:ext>
              </a:extLst>
            </p:cNvPr>
            <p:cNvSpPr/>
            <p:nvPr/>
          </p:nvSpPr>
          <p:spPr>
            <a:xfrm>
              <a:off x="4938087" y="5920897"/>
              <a:ext cx="4958118" cy="668307"/>
            </a:xfrm>
            <a:prstGeom prst="roundRect">
              <a:avLst>
                <a:gd name="adj" fmla="val 50000"/>
              </a:avLst>
            </a:prstGeom>
            <a:solidFill>
              <a:srgbClr val="179D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endParaRPr lang="it-IT" sz="1200" dirty="0">
                <a:solidFill>
                  <a:schemeClr val="tx1"/>
                </a:solidFill>
              </a:endParaRPr>
            </a:p>
          </p:txBody>
        </p:sp>
        <p:sp>
          <p:nvSpPr>
            <p:cNvPr id="20" name="Oval 22">
              <a:extLst>
                <a:ext uri="{FF2B5EF4-FFF2-40B4-BE49-F238E27FC236}">
                  <a16:creationId xmlns:a16="http://schemas.microsoft.com/office/drawing/2014/main" id="{6EA2E644-384E-4813-92CB-0B533451C209}"/>
                </a:ext>
              </a:extLst>
            </p:cNvPr>
            <p:cNvSpPr/>
            <p:nvPr/>
          </p:nvSpPr>
          <p:spPr>
            <a:xfrm>
              <a:off x="4999433" y="5972656"/>
              <a:ext cx="608540" cy="5647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 dirty="0" err="1">
                <a:solidFill>
                  <a:schemeClr val="bg1"/>
                </a:solidFill>
              </a:endParaRPr>
            </a:p>
          </p:txBody>
        </p:sp>
        <p:sp>
          <p:nvSpPr>
            <p:cNvPr id="21" name="Rectangle 25">
              <a:extLst>
                <a:ext uri="{FF2B5EF4-FFF2-40B4-BE49-F238E27FC236}">
                  <a16:creationId xmlns:a16="http://schemas.microsoft.com/office/drawing/2014/main" id="{A471422A-114C-45F9-BF73-793FEA7593BF}"/>
                </a:ext>
              </a:extLst>
            </p:cNvPr>
            <p:cNvSpPr/>
            <p:nvPr/>
          </p:nvSpPr>
          <p:spPr>
            <a:xfrm>
              <a:off x="5669319" y="5989203"/>
              <a:ext cx="3860062" cy="53169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r>
                <a:rPr lang="it-IT" sz="1200" i="1" dirty="0">
                  <a:solidFill>
                    <a:prstClr val="black"/>
                  </a:solidFill>
                </a:rPr>
                <a:t>Per procedere all’abilitazione, </a:t>
              </a:r>
              <a:r>
                <a:rPr lang="it-IT" sz="1200" b="1" i="1" dirty="0">
                  <a:solidFill>
                    <a:prstClr val="black"/>
                  </a:solidFill>
                </a:rPr>
                <a:t>è necessario che lo studente abbia già effettuato la registrazione all’area riservata del Ministero dell’Istruzione</a:t>
              </a:r>
            </a:p>
          </p:txBody>
        </p:sp>
        <p:pic>
          <p:nvPicPr>
            <p:cNvPr id="22" name="Graphic 57" descr="Magnifying glass">
              <a:extLst>
                <a:ext uri="{FF2B5EF4-FFF2-40B4-BE49-F238E27FC236}">
                  <a16:creationId xmlns:a16="http://schemas.microsoft.com/office/drawing/2014/main" id="{A6B9B228-F8CB-47C2-AE97-3C565563A0D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5400000">
              <a:off x="5108168" y="5835138"/>
              <a:ext cx="567771" cy="567771"/>
            </a:xfrm>
            <a:prstGeom prst="rect">
              <a:avLst/>
            </a:prstGeom>
          </p:spPr>
        </p:pic>
      </p:grpSp>
      <p:pic>
        <p:nvPicPr>
          <p:cNvPr id="23" name="Immagine 57">
            <a:extLst>
              <a:ext uri="{FF2B5EF4-FFF2-40B4-BE49-F238E27FC236}">
                <a16:creationId xmlns:a16="http://schemas.microsoft.com/office/drawing/2014/main" id="{C39482F5-B25E-4161-8535-F6F77005B0B7}"/>
              </a:ext>
            </a:extLst>
          </p:cNvPr>
          <p:cNvPicPr/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190891" y="2307151"/>
            <a:ext cx="8051037" cy="3099832"/>
          </a:xfrm>
          <a:prstGeom prst="rect">
            <a:avLst/>
          </a:prstGeom>
        </p:spPr>
      </p:pic>
      <p:sp>
        <p:nvSpPr>
          <p:cNvPr id="30" name="Rectangle: Rounded Corners 5">
            <a:extLst>
              <a:ext uri="{FF2B5EF4-FFF2-40B4-BE49-F238E27FC236}">
                <a16:creationId xmlns:a16="http://schemas.microsoft.com/office/drawing/2014/main" id="{7C1A8065-F0BC-4BB9-8DBA-59D6F371E625}"/>
              </a:ext>
            </a:extLst>
          </p:cNvPr>
          <p:cNvSpPr/>
          <p:nvPr/>
        </p:nvSpPr>
        <p:spPr>
          <a:xfrm>
            <a:off x="5293806" y="3437800"/>
            <a:ext cx="254465" cy="1329771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31" name="Freeform 19">
            <a:extLst>
              <a:ext uri="{FF2B5EF4-FFF2-40B4-BE49-F238E27FC236}">
                <a16:creationId xmlns:a16="http://schemas.microsoft.com/office/drawing/2014/main" id="{811BAD85-4C60-455D-A62E-46B8C39B7F45}"/>
              </a:ext>
            </a:extLst>
          </p:cNvPr>
          <p:cNvSpPr>
            <a:spLocks noChangeAspect="1" noEditPoints="1"/>
          </p:cNvSpPr>
          <p:nvPr/>
        </p:nvSpPr>
        <p:spPr bwMode="auto">
          <a:xfrm rot="18157096">
            <a:off x="4187045" y="4045997"/>
            <a:ext cx="1162845" cy="443889"/>
          </a:xfrm>
          <a:custGeom>
            <a:avLst/>
            <a:gdLst>
              <a:gd name="T0" fmla="*/ 715 w 868"/>
              <a:gd name="T1" fmla="*/ 128 h 351"/>
              <a:gd name="T2" fmla="*/ 363 w 868"/>
              <a:gd name="T3" fmla="*/ 50 h 351"/>
              <a:gd name="T4" fmla="*/ 226 w 868"/>
              <a:gd name="T5" fmla="*/ 94 h 351"/>
              <a:gd name="T6" fmla="*/ 155 w 868"/>
              <a:gd name="T7" fmla="*/ 112 h 351"/>
              <a:gd name="T8" fmla="*/ 111 w 868"/>
              <a:gd name="T9" fmla="*/ 138 h 351"/>
              <a:gd name="T10" fmla="*/ 85 w 868"/>
              <a:gd name="T11" fmla="*/ 163 h 351"/>
              <a:gd name="T12" fmla="*/ 104 w 868"/>
              <a:gd name="T13" fmla="*/ 185 h 351"/>
              <a:gd name="T14" fmla="*/ 69 w 868"/>
              <a:gd name="T15" fmla="*/ 174 h 351"/>
              <a:gd name="T16" fmla="*/ 92 w 868"/>
              <a:gd name="T17" fmla="*/ 203 h 351"/>
              <a:gd name="T18" fmla="*/ 66 w 868"/>
              <a:gd name="T19" fmla="*/ 192 h 351"/>
              <a:gd name="T20" fmla="*/ 75 w 868"/>
              <a:gd name="T21" fmla="*/ 207 h 351"/>
              <a:gd name="T22" fmla="*/ 72 w 868"/>
              <a:gd name="T23" fmla="*/ 224 h 351"/>
              <a:gd name="T24" fmla="*/ 64 w 868"/>
              <a:gd name="T25" fmla="*/ 228 h 351"/>
              <a:gd name="T26" fmla="*/ 29 w 868"/>
              <a:gd name="T27" fmla="*/ 217 h 351"/>
              <a:gd name="T28" fmla="*/ 31 w 868"/>
              <a:gd name="T29" fmla="*/ 228 h 351"/>
              <a:gd name="T30" fmla="*/ 53 w 868"/>
              <a:gd name="T31" fmla="*/ 253 h 351"/>
              <a:gd name="T32" fmla="*/ 36 w 868"/>
              <a:gd name="T33" fmla="*/ 257 h 351"/>
              <a:gd name="T34" fmla="*/ 774 w 868"/>
              <a:gd name="T35" fmla="*/ 258 h 351"/>
              <a:gd name="T36" fmla="*/ 640 w 868"/>
              <a:gd name="T37" fmla="*/ 136 h 351"/>
              <a:gd name="T38" fmla="*/ 376 w 868"/>
              <a:gd name="T39" fmla="*/ 47 h 351"/>
              <a:gd name="T40" fmla="*/ 235 w 868"/>
              <a:gd name="T41" fmla="*/ 76 h 351"/>
              <a:gd name="T42" fmla="*/ 221 w 868"/>
              <a:gd name="T43" fmla="*/ 70 h 351"/>
              <a:gd name="T44" fmla="*/ 180 w 868"/>
              <a:gd name="T45" fmla="*/ 89 h 351"/>
              <a:gd name="T46" fmla="*/ 168 w 868"/>
              <a:gd name="T47" fmla="*/ 110 h 351"/>
              <a:gd name="T48" fmla="*/ 140 w 868"/>
              <a:gd name="T49" fmla="*/ 145 h 351"/>
              <a:gd name="T50" fmla="*/ 81 w 868"/>
              <a:gd name="T51" fmla="*/ 192 h 351"/>
              <a:gd name="T52" fmla="*/ 126 w 868"/>
              <a:gd name="T53" fmla="*/ 134 h 351"/>
              <a:gd name="T54" fmla="*/ 253 w 868"/>
              <a:gd name="T55" fmla="*/ 36 h 351"/>
              <a:gd name="T56" fmla="*/ 399 w 868"/>
              <a:gd name="T57" fmla="*/ 2 h 351"/>
              <a:gd name="T58" fmla="*/ 510 w 868"/>
              <a:gd name="T59" fmla="*/ 14 h 351"/>
              <a:gd name="T60" fmla="*/ 732 w 868"/>
              <a:gd name="T61" fmla="*/ 145 h 351"/>
              <a:gd name="T62" fmla="*/ 794 w 868"/>
              <a:gd name="T63" fmla="*/ 260 h 351"/>
              <a:gd name="T64" fmla="*/ 787 w 868"/>
              <a:gd name="T65" fmla="*/ 222 h 351"/>
              <a:gd name="T66" fmla="*/ 721 w 868"/>
              <a:gd name="T67" fmla="*/ 150 h 351"/>
              <a:gd name="T68" fmla="*/ 533 w 868"/>
              <a:gd name="T69" fmla="*/ 22 h 351"/>
              <a:gd name="T70" fmla="*/ 380 w 868"/>
              <a:gd name="T71" fmla="*/ 47 h 351"/>
              <a:gd name="T72" fmla="*/ 307 w 868"/>
              <a:gd name="T73" fmla="*/ 53 h 351"/>
              <a:gd name="T74" fmla="*/ 281 w 868"/>
              <a:gd name="T75" fmla="*/ 47 h 351"/>
              <a:gd name="T76" fmla="*/ 242 w 868"/>
              <a:gd name="T77" fmla="*/ 43 h 351"/>
              <a:gd name="T78" fmla="*/ 222 w 868"/>
              <a:gd name="T79" fmla="*/ 51 h 351"/>
              <a:gd name="T80" fmla="*/ 197 w 868"/>
              <a:gd name="T81" fmla="*/ 73 h 351"/>
              <a:gd name="T82" fmla="*/ 164 w 868"/>
              <a:gd name="T83" fmla="*/ 99 h 351"/>
              <a:gd name="T84" fmla="*/ 142 w 868"/>
              <a:gd name="T85" fmla="*/ 117 h 351"/>
              <a:gd name="T86" fmla="*/ 141 w 868"/>
              <a:gd name="T87" fmla="*/ 138 h 351"/>
              <a:gd name="T88" fmla="*/ 124 w 868"/>
              <a:gd name="T89" fmla="*/ 129 h 351"/>
              <a:gd name="T90" fmla="*/ 113 w 868"/>
              <a:gd name="T91" fmla="*/ 142 h 351"/>
              <a:gd name="T92" fmla="*/ 337 w 868"/>
              <a:gd name="T93" fmla="*/ 9 h 351"/>
              <a:gd name="T94" fmla="*/ 168 w 868"/>
              <a:gd name="T95" fmla="*/ 125 h 351"/>
              <a:gd name="T96" fmla="*/ 197 w 868"/>
              <a:gd name="T97" fmla="*/ 105 h 351"/>
              <a:gd name="T98" fmla="*/ 131 w 868"/>
              <a:gd name="T99" fmla="*/ 159 h 351"/>
              <a:gd name="T100" fmla="*/ 88 w 868"/>
              <a:gd name="T101" fmla="*/ 171 h 351"/>
              <a:gd name="T102" fmla="*/ 85 w 868"/>
              <a:gd name="T103" fmla="*/ 191 h 351"/>
              <a:gd name="T104" fmla="*/ 79 w 868"/>
              <a:gd name="T105" fmla="*/ 215 h 351"/>
              <a:gd name="T106" fmla="*/ 48 w 868"/>
              <a:gd name="T107" fmla="*/ 193 h 351"/>
              <a:gd name="T108" fmla="*/ 64 w 868"/>
              <a:gd name="T109" fmla="*/ 238 h 351"/>
              <a:gd name="T110" fmla="*/ 17 w 868"/>
              <a:gd name="T111" fmla="*/ 235 h 351"/>
              <a:gd name="T112" fmla="*/ 87 w 868"/>
              <a:gd name="T113" fmla="*/ 158 h 351"/>
              <a:gd name="T114" fmla="*/ 865 w 868"/>
              <a:gd name="T115" fmla="*/ 172 h 351"/>
              <a:gd name="T116" fmla="*/ 859 w 868"/>
              <a:gd name="T117" fmla="*/ 117 h 351"/>
              <a:gd name="T118" fmla="*/ 782 w 868"/>
              <a:gd name="T119" fmla="*/ 277 h 351"/>
              <a:gd name="T120" fmla="*/ 841 w 868"/>
              <a:gd name="T121" fmla="*/ 164 h 351"/>
              <a:gd name="T122" fmla="*/ 861 w 868"/>
              <a:gd name="T123" fmla="*/ 201 h 351"/>
              <a:gd name="T124" fmla="*/ 666 w 868"/>
              <a:gd name="T125" fmla="*/ 296 h 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68" h="351">
                <a:moveTo>
                  <a:pt x="813" y="278"/>
                </a:moveTo>
                <a:cubicBezTo>
                  <a:pt x="812" y="276"/>
                  <a:pt x="811" y="275"/>
                  <a:pt x="812" y="275"/>
                </a:cubicBezTo>
                <a:cubicBezTo>
                  <a:pt x="813" y="277"/>
                  <a:pt x="813" y="278"/>
                  <a:pt x="813" y="278"/>
                </a:cubicBezTo>
                <a:close/>
                <a:moveTo>
                  <a:pt x="812" y="266"/>
                </a:moveTo>
                <a:cubicBezTo>
                  <a:pt x="813" y="269"/>
                  <a:pt x="814" y="269"/>
                  <a:pt x="814" y="271"/>
                </a:cubicBezTo>
                <a:cubicBezTo>
                  <a:pt x="813" y="267"/>
                  <a:pt x="813" y="271"/>
                  <a:pt x="813" y="270"/>
                </a:cubicBezTo>
                <a:cubicBezTo>
                  <a:pt x="815" y="276"/>
                  <a:pt x="814" y="270"/>
                  <a:pt x="815" y="272"/>
                </a:cubicBezTo>
                <a:cubicBezTo>
                  <a:pt x="814" y="268"/>
                  <a:pt x="813" y="267"/>
                  <a:pt x="812" y="266"/>
                </a:cubicBezTo>
                <a:close/>
                <a:moveTo>
                  <a:pt x="781" y="282"/>
                </a:moveTo>
                <a:cubicBezTo>
                  <a:pt x="782" y="285"/>
                  <a:pt x="783" y="285"/>
                  <a:pt x="784" y="284"/>
                </a:cubicBezTo>
                <a:cubicBezTo>
                  <a:pt x="782" y="282"/>
                  <a:pt x="782" y="282"/>
                  <a:pt x="781" y="282"/>
                </a:cubicBezTo>
                <a:close/>
                <a:moveTo>
                  <a:pt x="798" y="267"/>
                </a:moveTo>
                <a:cubicBezTo>
                  <a:pt x="798" y="268"/>
                  <a:pt x="801" y="272"/>
                  <a:pt x="801" y="272"/>
                </a:cubicBezTo>
                <a:cubicBezTo>
                  <a:pt x="801" y="269"/>
                  <a:pt x="799" y="267"/>
                  <a:pt x="798" y="267"/>
                </a:cubicBezTo>
                <a:close/>
                <a:moveTo>
                  <a:pt x="791" y="270"/>
                </a:moveTo>
                <a:cubicBezTo>
                  <a:pt x="791" y="272"/>
                  <a:pt x="793" y="275"/>
                  <a:pt x="793" y="276"/>
                </a:cubicBezTo>
                <a:cubicBezTo>
                  <a:pt x="793" y="274"/>
                  <a:pt x="791" y="271"/>
                  <a:pt x="791" y="270"/>
                </a:cubicBezTo>
                <a:close/>
                <a:moveTo>
                  <a:pt x="789" y="269"/>
                </a:moveTo>
                <a:cubicBezTo>
                  <a:pt x="788" y="269"/>
                  <a:pt x="791" y="272"/>
                  <a:pt x="790" y="273"/>
                </a:cubicBezTo>
                <a:cubicBezTo>
                  <a:pt x="789" y="270"/>
                  <a:pt x="788" y="270"/>
                  <a:pt x="787" y="270"/>
                </a:cubicBezTo>
                <a:cubicBezTo>
                  <a:pt x="789" y="273"/>
                  <a:pt x="790" y="274"/>
                  <a:pt x="791" y="276"/>
                </a:cubicBezTo>
                <a:cubicBezTo>
                  <a:pt x="792" y="276"/>
                  <a:pt x="792" y="274"/>
                  <a:pt x="793" y="276"/>
                </a:cubicBezTo>
                <a:cubicBezTo>
                  <a:pt x="792" y="273"/>
                  <a:pt x="791" y="272"/>
                  <a:pt x="789" y="269"/>
                </a:cubicBezTo>
                <a:close/>
                <a:moveTo>
                  <a:pt x="801" y="266"/>
                </a:moveTo>
                <a:cubicBezTo>
                  <a:pt x="800" y="266"/>
                  <a:pt x="800" y="268"/>
                  <a:pt x="801" y="271"/>
                </a:cubicBezTo>
                <a:cubicBezTo>
                  <a:pt x="802" y="271"/>
                  <a:pt x="801" y="267"/>
                  <a:pt x="801" y="266"/>
                </a:cubicBezTo>
                <a:close/>
                <a:moveTo>
                  <a:pt x="799" y="270"/>
                </a:moveTo>
                <a:cubicBezTo>
                  <a:pt x="799" y="270"/>
                  <a:pt x="798" y="270"/>
                  <a:pt x="798" y="269"/>
                </a:cubicBezTo>
                <a:cubicBezTo>
                  <a:pt x="797" y="269"/>
                  <a:pt x="797" y="270"/>
                  <a:pt x="798" y="272"/>
                </a:cubicBezTo>
                <a:cubicBezTo>
                  <a:pt x="798" y="271"/>
                  <a:pt x="800" y="273"/>
                  <a:pt x="799" y="270"/>
                </a:cubicBezTo>
                <a:close/>
                <a:moveTo>
                  <a:pt x="770" y="269"/>
                </a:moveTo>
                <a:cubicBezTo>
                  <a:pt x="771" y="271"/>
                  <a:pt x="772" y="272"/>
                  <a:pt x="773" y="272"/>
                </a:cubicBezTo>
                <a:cubicBezTo>
                  <a:pt x="772" y="270"/>
                  <a:pt x="771" y="269"/>
                  <a:pt x="770" y="269"/>
                </a:cubicBezTo>
                <a:close/>
                <a:moveTo>
                  <a:pt x="807" y="248"/>
                </a:moveTo>
                <a:cubicBezTo>
                  <a:pt x="808" y="250"/>
                  <a:pt x="810" y="253"/>
                  <a:pt x="810" y="252"/>
                </a:cubicBezTo>
                <a:cubicBezTo>
                  <a:pt x="809" y="249"/>
                  <a:pt x="808" y="247"/>
                  <a:pt x="807" y="248"/>
                </a:cubicBezTo>
                <a:close/>
                <a:moveTo>
                  <a:pt x="802" y="246"/>
                </a:moveTo>
                <a:cubicBezTo>
                  <a:pt x="803" y="247"/>
                  <a:pt x="803" y="248"/>
                  <a:pt x="804" y="251"/>
                </a:cubicBezTo>
                <a:cubicBezTo>
                  <a:pt x="805" y="251"/>
                  <a:pt x="803" y="245"/>
                  <a:pt x="802" y="246"/>
                </a:cubicBezTo>
                <a:close/>
                <a:moveTo>
                  <a:pt x="805" y="245"/>
                </a:moveTo>
                <a:cubicBezTo>
                  <a:pt x="803" y="240"/>
                  <a:pt x="804" y="239"/>
                  <a:pt x="802" y="235"/>
                </a:cubicBezTo>
                <a:cubicBezTo>
                  <a:pt x="800" y="234"/>
                  <a:pt x="796" y="236"/>
                  <a:pt x="801" y="245"/>
                </a:cubicBezTo>
                <a:cubicBezTo>
                  <a:pt x="801" y="242"/>
                  <a:pt x="806" y="248"/>
                  <a:pt x="805" y="245"/>
                </a:cubicBezTo>
                <a:close/>
                <a:moveTo>
                  <a:pt x="759" y="246"/>
                </a:moveTo>
                <a:cubicBezTo>
                  <a:pt x="759" y="247"/>
                  <a:pt x="758" y="246"/>
                  <a:pt x="758" y="246"/>
                </a:cubicBezTo>
                <a:cubicBezTo>
                  <a:pt x="759" y="248"/>
                  <a:pt x="760" y="248"/>
                  <a:pt x="759" y="248"/>
                </a:cubicBezTo>
                <a:cubicBezTo>
                  <a:pt x="760" y="250"/>
                  <a:pt x="760" y="250"/>
                  <a:pt x="761" y="250"/>
                </a:cubicBezTo>
                <a:cubicBezTo>
                  <a:pt x="759" y="248"/>
                  <a:pt x="760" y="248"/>
                  <a:pt x="759" y="246"/>
                </a:cubicBezTo>
                <a:close/>
                <a:moveTo>
                  <a:pt x="766" y="178"/>
                </a:moveTo>
                <a:cubicBezTo>
                  <a:pt x="766" y="178"/>
                  <a:pt x="766" y="178"/>
                  <a:pt x="767" y="180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67" y="179"/>
                  <a:pt x="768" y="180"/>
                  <a:pt x="766" y="178"/>
                </a:cubicBezTo>
                <a:close/>
                <a:moveTo>
                  <a:pt x="756" y="167"/>
                </a:moveTo>
                <a:cubicBezTo>
                  <a:pt x="757" y="168"/>
                  <a:pt x="758" y="169"/>
                  <a:pt x="757" y="169"/>
                </a:cubicBezTo>
                <a:cubicBezTo>
                  <a:pt x="762" y="175"/>
                  <a:pt x="758" y="167"/>
                  <a:pt x="756" y="167"/>
                </a:cubicBezTo>
                <a:close/>
                <a:moveTo>
                  <a:pt x="713" y="128"/>
                </a:moveTo>
                <a:cubicBezTo>
                  <a:pt x="713" y="127"/>
                  <a:pt x="714" y="127"/>
                  <a:pt x="715" y="128"/>
                </a:cubicBezTo>
                <a:cubicBezTo>
                  <a:pt x="712" y="125"/>
                  <a:pt x="710" y="125"/>
                  <a:pt x="713" y="128"/>
                </a:cubicBezTo>
                <a:close/>
                <a:moveTo>
                  <a:pt x="640" y="70"/>
                </a:moveTo>
                <a:cubicBezTo>
                  <a:pt x="634" y="64"/>
                  <a:pt x="636" y="68"/>
                  <a:pt x="640" y="70"/>
                </a:cubicBezTo>
                <a:close/>
                <a:moveTo>
                  <a:pt x="545" y="23"/>
                </a:moveTo>
                <a:cubicBezTo>
                  <a:pt x="544" y="24"/>
                  <a:pt x="548" y="25"/>
                  <a:pt x="549" y="24"/>
                </a:cubicBezTo>
                <a:cubicBezTo>
                  <a:pt x="546" y="24"/>
                  <a:pt x="547" y="24"/>
                  <a:pt x="545" y="23"/>
                </a:cubicBezTo>
                <a:close/>
                <a:moveTo>
                  <a:pt x="539" y="20"/>
                </a:moveTo>
                <a:cubicBezTo>
                  <a:pt x="539" y="20"/>
                  <a:pt x="538" y="20"/>
                  <a:pt x="538" y="20"/>
                </a:cubicBezTo>
                <a:cubicBezTo>
                  <a:pt x="540" y="21"/>
                  <a:pt x="543" y="22"/>
                  <a:pt x="543" y="21"/>
                </a:cubicBezTo>
                <a:cubicBezTo>
                  <a:pt x="540" y="20"/>
                  <a:pt x="540" y="21"/>
                  <a:pt x="539" y="20"/>
                </a:cubicBezTo>
                <a:close/>
                <a:moveTo>
                  <a:pt x="530" y="17"/>
                </a:moveTo>
                <a:cubicBezTo>
                  <a:pt x="529" y="18"/>
                  <a:pt x="534" y="19"/>
                  <a:pt x="534" y="18"/>
                </a:cubicBezTo>
                <a:lnTo>
                  <a:pt x="530" y="17"/>
                </a:lnTo>
                <a:close/>
                <a:moveTo>
                  <a:pt x="524" y="16"/>
                </a:moveTo>
                <a:cubicBezTo>
                  <a:pt x="524" y="16"/>
                  <a:pt x="522" y="16"/>
                  <a:pt x="522" y="17"/>
                </a:cubicBezTo>
                <a:cubicBezTo>
                  <a:pt x="524" y="17"/>
                  <a:pt x="527" y="18"/>
                  <a:pt x="529" y="18"/>
                </a:cubicBezTo>
                <a:cubicBezTo>
                  <a:pt x="528" y="17"/>
                  <a:pt x="526" y="17"/>
                  <a:pt x="524" y="16"/>
                </a:cubicBezTo>
                <a:close/>
                <a:moveTo>
                  <a:pt x="498" y="10"/>
                </a:moveTo>
                <a:cubicBezTo>
                  <a:pt x="501" y="10"/>
                  <a:pt x="502" y="10"/>
                  <a:pt x="503" y="10"/>
                </a:cubicBezTo>
                <a:cubicBezTo>
                  <a:pt x="502" y="10"/>
                  <a:pt x="498" y="9"/>
                  <a:pt x="498" y="10"/>
                </a:cubicBezTo>
                <a:close/>
                <a:moveTo>
                  <a:pt x="467" y="7"/>
                </a:moveTo>
                <a:cubicBezTo>
                  <a:pt x="468" y="7"/>
                  <a:pt x="473" y="8"/>
                  <a:pt x="473" y="7"/>
                </a:cubicBezTo>
                <a:cubicBezTo>
                  <a:pt x="470" y="7"/>
                  <a:pt x="467" y="6"/>
                  <a:pt x="467" y="7"/>
                </a:cubicBezTo>
                <a:close/>
                <a:moveTo>
                  <a:pt x="443" y="52"/>
                </a:moveTo>
                <a:cubicBezTo>
                  <a:pt x="443" y="52"/>
                  <a:pt x="443" y="52"/>
                  <a:pt x="443" y="53"/>
                </a:cubicBezTo>
                <a:cubicBezTo>
                  <a:pt x="445" y="53"/>
                  <a:pt x="444" y="54"/>
                  <a:pt x="447" y="54"/>
                </a:cubicBezTo>
                <a:cubicBezTo>
                  <a:pt x="446" y="53"/>
                  <a:pt x="446" y="53"/>
                  <a:pt x="448" y="53"/>
                </a:cubicBezTo>
                <a:cubicBezTo>
                  <a:pt x="447" y="52"/>
                  <a:pt x="446" y="52"/>
                  <a:pt x="443" y="52"/>
                </a:cubicBezTo>
                <a:close/>
                <a:moveTo>
                  <a:pt x="435" y="51"/>
                </a:moveTo>
                <a:cubicBezTo>
                  <a:pt x="435" y="52"/>
                  <a:pt x="430" y="51"/>
                  <a:pt x="431" y="51"/>
                </a:cubicBezTo>
                <a:cubicBezTo>
                  <a:pt x="432" y="51"/>
                  <a:pt x="436" y="52"/>
                  <a:pt x="437" y="52"/>
                </a:cubicBezTo>
                <a:cubicBezTo>
                  <a:pt x="435" y="52"/>
                  <a:pt x="437" y="51"/>
                  <a:pt x="435" y="51"/>
                </a:cubicBezTo>
                <a:close/>
                <a:moveTo>
                  <a:pt x="402" y="50"/>
                </a:moveTo>
                <a:cubicBezTo>
                  <a:pt x="404" y="50"/>
                  <a:pt x="406" y="50"/>
                  <a:pt x="406" y="49"/>
                </a:cubicBezTo>
                <a:cubicBezTo>
                  <a:pt x="404" y="49"/>
                  <a:pt x="402" y="49"/>
                  <a:pt x="402" y="50"/>
                </a:cubicBezTo>
                <a:close/>
                <a:moveTo>
                  <a:pt x="391" y="1"/>
                </a:moveTo>
                <a:cubicBezTo>
                  <a:pt x="391" y="2"/>
                  <a:pt x="395" y="2"/>
                  <a:pt x="397" y="2"/>
                </a:cubicBezTo>
                <a:cubicBezTo>
                  <a:pt x="397" y="2"/>
                  <a:pt x="395" y="2"/>
                  <a:pt x="395" y="3"/>
                </a:cubicBezTo>
                <a:cubicBezTo>
                  <a:pt x="396" y="3"/>
                  <a:pt x="397" y="3"/>
                  <a:pt x="398" y="3"/>
                </a:cubicBezTo>
                <a:cubicBezTo>
                  <a:pt x="397" y="2"/>
                  <a:pt x="401" y="4"/>
                  <a:pt x="402" y="3"/>
                </a:cubicBezTo>
                <a:cubicBezTo>
                  <a:pt x="400" y="2"/>
                  <a:pt x="396" y="3"/>
                  <a:pt x="399" y="2"/>
                </a:cubicBezTo>
                <a:cubicBezTo>
                  <a:pt x="393" y="2"/>
                  <a:pt x="395" y="1"/>
                  <a:pt x="391" y="1"/>
                </a:cubicBezTo>
                <a:close/>
                <a:moveTo>
                  <a:pt x="394" y="3"/>
                </a:moveTo>
                <a:cubicBezTo>
                  <a:pt x="391" y="3"/>
                  <a:pt x="389" y="3"/>
                  <a:pt x="388" y="3"/>
                </a:cubicBezTo>
                <a:cubicBezTo>
                  <a:pt x="391" y="3"/>
                  <a:pt x="394" y="4"/>
                  <a:pt x="395" y="3"/>
                </a:cubicBezTo>
                <a:cubicBezTo>
                  <a:pt x="394" y="3"/>
                  <a:pt x="394" y="3"/>
                  <a:pt x="394" y="3"/>
                </a:cubicBezTo>
                <a:close/>
                <a:moveTo>
                  <a:pt x="384" y="2"/>
                </a:moveTo>
                <a:cubicBezTo>
                  <a:pt x="386" y="2"/>
                  <a:pt x="388" y="2"/>
                  <a:pt x="389" y="2"/>
                </a:cubicBezTo>
                <a:cubicBezTo>
                  <a:pt x="387" y="2"/>
                  <a:pt x="384" y="2"/>
                  <a:pt x="384" y="2"/>
                </a:cubicBezTo>
                <a:close/>
                <a:moveTo>
                  <a:pt x="371" y="5"/>
                </a:moveTo>
                <a:cubicBezTo>
                  <a:pt x="370" y="6"/>
                  <a:pt x="367" y="6"/>
                  <a:pt x="365" y="6"/>
                </a:cubicBezTo>
                <a:cubicBezTo>
                  <a:pt x="367" y="7"/>
                  <a:pt x="377" y="6"/>
                  <a:pt x="377" y="5"/>
                </a:cubicBezTo>
                <a:cubicBezTo>
                  <a:pt x="374" y="5"/>
                  <a:pt x="374" y="5"/>
                  <a:pt x="371" y="5"/>
                </a:cubicBezTo>
                <a:close/>
                <a:moveTo>
                  <a:pt x="364" y="51"/>
                </a:moveTo>
                <a:cubicBezTo>
                  <a:pt x="364" y="52"/>
                  <a:pt x="367" y="51"/>
                  <a:pt x="370" y="51"/>
                </a:cubicBezTo>
                <a:cubicBezTo>
                  <a:pt x="370" y="51"/>
                  <a:pt x="366" y="51"/>
                  <a:pt x="364" y="51"/>
                </a:cubicBezTo>
                <a:close/>
                <a:moveTo>
                  <a:pt x="363" y="50"/>
                </a:moveTo>
                <a:cubicBezTo>
                  <a:pt x="365" y="49"/>
                  <a:pt x="366" y="49"/>
                  <a:pt x="367" y="49"/>
                </a:cubicBezTo>
                <a:cubicBezTo>
                  <a:pt x="365" y="48"/>
                  <a:pt x="363" y="49"/>
                  <a:pt x="363" y="50"/>
                </a:cubicBezTo>
                <a:close/>
                <a:moveTo>
                  <a:pt x="326" y="13"/>
                </a:moveTo>
                <a:cubicBezTo>
                  <a:pt x="327" y="12"/>
                  <a:pt x="332" y="11"/>
                  <a:pt x="333" y="11"/>
                </a:cubicBezTo>
                <a:cubicBezTo>
                  <a:pt x="329" y="11"/>
                  <a:pt x="328" y="12"/>
                  <a:pt x="326" y="13"/>
                </a:cubicBezTo>
                <a:close/>
                <a:moveTo>
                  <a:pt x="321" y="10"/>
                </a:moveTo>
                <a:cubicBezTo>
                  <a:pt x="322" y="11"/>
                  <a:pt x="325" y="10"/>
                  <a:pt x="329" y="9"/>
                </a:cubicBezTo>
                <a:cubicBezTo>
                  <a:pt x="329" y="9"/>
                  <a:pt x="329" y="9"/>
                  <a:pt x="328" y="9"/>
                </a:cubicBezTo>
                <a:cubicBezTo>
                  <a:pt x="326" y="10"/>
                  <a:pt x="323" y="10"/>
                  <a:pt x="321" y="10"/>
                </a:cubicBezTo>
                <a:close/>
                <a:moveTo>
                  <a:pt x="322" y="58"/>
                </a:moveTo>
                <a:cubicBezTo>
                  <a:pt x="323" y="58"/>
                  <a:pt x="326" y="58"/>
                  <a:pt x="328" y="58"/>
                </a:cubicBezTo>
                <a:cubicBezTo>
                  <a:pt x="327" y="57"/>
                  <a:pt x="325" y="57"/>
                  <a:pt x="322" y="58"/>
                </a:cubicBezTo>
                <a:close/>
                <a:moveTo>
                  <a:pt x="313" y="59"/>
                </a:moveTo>
                <a:cubicBezTo>
                  <a:pt x="314" y="60"/>
                  <a:pt x="309" y="60"/>
                  <a:pt x="309" y="61"/>
                </a:cubicBezTo>
                <a:cubicBezTo>
                  <a:pt x="311" y="61"/>
                  <a:pt x="312" y="61"/>
                  <a:pt x="316" y="60"/>
                </a:cubicBezTo>
                <a:cubicBezTo>
                  <a:pt x="315" y="60"/>
                  <a:pt x="316" y="59"/>
                  <a:pt x="313" y="59"/>
                </a:cubicBezTo>
                <a:close/>
                <a:moveTo>
                  <a:pt x="286" y="24"/>
                </a:moveTo>
                <a:cubicBezTo>
                  <a:pt x="286" y="24"/>
                  <a:pt x="280" y="25"/>
                  <a:pt x="280" y="26"/>
                </a:cubicBezTo>
                <a:cubicBezTo>
                  <a:pt x="281" y="26"/>
                  <a:pt x="280" y="26"/>
                  <a:pt x="281" y="26"/>
                </a:cubicBezTo>
                <a:cubicBezTo>
                  <a:pt x="282" y="26"/>
                  <a:pt x="284" y="25"/>
                  <a:pt x="285" y="24"/>
                </a:cubicBezTo>
                <a:cubicBezTo>
                  <a:pt x="285" y="25"/>
                  <a:pt x="286" y="25"/>
                  <a:pt x="287" y="25"/>
                </a:cubicBezTo>
                <a:cubicBezTo>
                  <a:pt x="290" y="24"/>
                  <a:pt x="290" y="24"/>
                  <a:pt x="294" y="23"/>
                </a:cubicBezTo>
                <a:cubicBezTo>
                  <a:pt x="293" y="22"/>
                  <a:pt x="293" y="22"/>
                  <a:pt x="293" y="22"/>
                </a:cubicBezTo>
                <a:cubicBezTo>
                  <a:pt x="290" y="23"/>
                  <a:pt x="288" y="23"/>
                  <a:pt x="286" y="24"/>
                </a:cubicBezTo>
                <a:close/>
                <a:moveTo>
                  <a:pt x="287" y="68"/>
                </a:moveTo>
                <a:cubicBezTo>
                  <a:pt x="289" y="67"/>
                  <a:pt x="289" y="67"/>
                  <a:pt x="289" y="66"/>
                </a:cubicBezTo>
                <a:cubicBezTo>
                  <a:pt x="287" y="67"/>
                  <a:pt x="287" y="67"/>
                  <a:pt x="287" y="68"/>
                </a:cubicBezTo>
                <a:close/>
                <a:moveTo>
                  <a:pt x="237" y="80"/>
                </a:moveTo>
                <a:cubicBezTo>
                  <a:pt x="236" y="81"/>
                  <a:pt x="235" y="83"/>
                  <a:pt x="230" y="86"/>
                </a:cubicBezTo>
                <a:cubicBezTo>
                  <a:pt x="227" y="86"/>
                  <a:pt x="224" y="88"/>
                  <a:pt x="221" y="89"/>
                </a:cubicBezTo>
                <a:cubicBezTo>
                  <a:pt x="221" y="89"/>
                  <a:pt x="221" y="90"/>
                  <a:pt x="220" y="91"/>
                </a:cubicBezTo>
                <a:cubicBezTo>
                  <a:pt x="219" y="91"/>
                  <a:pt x="215" y="92"/>
                  <a:pt x="215" y="93"/>
                </a:cubicBezTo>
                <a:cubicBezTo>
                  <a:pt x="217" y="93"/>
                  <a:pt x="218" y="93"/>
                  <a:pt x="220" y="92"/>
                </a:cubicBezTo>
                <a:cubicBezTo>
                  <a:pt x="222" y="91"/>
                  <a:pt x="219" y="91"/>
                  <a:pt x="221" y="90"/>
                </a:cubicBezTo>
                <a:cubicBezTo>
                  <a:pt x="227" y="88"/>
                  <a:pt x="233" y="84"/>
                  <a:pt x="238" y="81"/>
                </a:cubicBezTo>
                <a:cubicBezTo>
                  <a:pt x="237" y="81"/>
                  <a:pt x="237" y="81"/>
                  <a:pt x="236" y="81"/>
                </a:cubicBezTo>
                <a:cubicBezTo>
                  <a:pt x="239" y="80"/>
                  <a:pt x="241" y="79"/>
                  <a:pt x="242" y="78"/>
                </a:cubicBezTo>
                <a:cubicBezTo>
                  <a:pt x="239" y="79"/>
                  <a:pt x="238" y="79"/>
                  <a:pt x="237" y="80"/>
                </a:cubicBezTo>
                <a:close/>
                <a:moveTo>
                  <a:pt x="228" y="79"/>
                </a:moveTo>
                <a:cubicBezTo>
                  <a:pt x="228" y="80"/>
                  <a:pt x="230" y="79"/>
                  <a:pt x="228" y="80"/>
                </a:cubicBezTo>
                <a:cubicBezTo>
                  <a:pt x="228" y="80"/>
                  <a:pt x="224" y="82"/>
                  <a:pt x="224" y="81"/>
                </a:cubicBezTo>
                <a:cubicBezTo>
                  <a:pt x="219" y="84"/>
                  <a:pt x="214" y="86"/>
                  <a:pt x="212" y="89"/>
                </a:cubicBezTo>
                <a:cubicBezTo>
                  <a:pt x="217" y="86"/>
                  <a:pt x="220" y="83"/>
                  <a:pt x="224" y="82"/>
                </a:cubicBezTo>
                <a:cubicBezTo>
                  <a:pt x="224" y="82"/>
                  <a:pt x="222" y="83"/>
                  <a:pt x="223" y="83"/>
                </a:cubicBezTo>
                <a:cubicBezTo>
                  <a:pt x="226" y="82"/>
                  <a:pt x="228" y="80"/>
                  <a:pt x="232" y="79"/>
                </a:cubicBezTo>
                <a:cubicBezTo>
                  <a:pt x="231" y="78"/>
                  <a:pt x="231" y="78"/>
                  <a:pt x="228" y="79"/>
                </a:cubicBezTo>
                <a:close/>
                <a:moveTo>
                  <a:pt x="209" y="55"/>
                </a:moveTo>
                <a:cubicBezTo>
                  <a:pt x="212" y="54"/>
                  <a:pt x="215" y="52"/>
                  <a:pt x="216" y="50"/>
                </a:cubicBezTo>
                <a:cubicBezTo>
                  <a:pt x="212" y="52"/>
                  <a:pt x="211" y="53"/>
                  <a:pt x="209" y="55"/>
                </a:cubicBezTo>
                <a:close/>
                <a:moveTo>
                  <a:pt x="220" y="66"/>
                </a:moveTo>
                <a:cubicBezTo>
                  <a:pt x="223" y="64"/>
                  <a:pt x="220" y="67"/>
                  <a:pt x="223" y="65"/>
                </a:cubicBezTo>
                <a:cubicBezTo>
                  <a:pt x="224" y="64"/>
                  <a:pt x="223" y="65"/>
                  <a:pt x="223" y="64"/>
                </a:cubicBezTo>
                <a:cubicBezTo>
                  <a:pt x="222" y="65"/>
                  <a:pt x="220" y="65"/>
                  <a:pt x="220" y="66"/>
                </a:cubicBezTo>
                <a:close/>
                <a:moveTo>
                  <a:pt x="217" y="67"/>
                </a:moveTo>
                <a:cubicBezTo>
                  <a:pt x="214" y="69"/>
                  <a:pt x="216" y="70"/>
                  <a:pt x="219" y="67"/>
                </a:cubicBezTo>
                <a:cubicBezTo>
                  <a:pt x="214" y="69"/>
                  <a:pt x="222" y="65"/>
                  <a:pt x="217" y="67"/>
                </a:cubicBezTo>
                <a:close/>
                <a:moveTo>
                  <a:pt x="226" y="94"/>
                </a:moveTo>
                <a:cubicBezTo>
                  <a:pt x="225" y="94"/>
                  <a:pt x="224" y="95"/>
                  <a:pt x="224" y="96"/>
                </a:cubicBezTo>
                <a:cubicBezTo>
                  <a:pt x="226" y="94"/>
                  <a:pt x="226" y="95"/>
                  <a:pt x="228" y="94"/>
                </a:cubicBezTo>
                <a:cubicBezTo>
                  <a:pt x="228" y="93"/>
                  <a:pt x="227" y="94"/>
                  <a:pt x="226" y="94"/>
                </a:cubicBezTo>
                <a:close/>
                <a:moveTo>
                  <a:pt x="216" y="80"/>
                </a:moveTo>
                <a:cubicBezTo>
                  <a:pt x="215" y="80"/>
                  <a:pt x="213" y="82"/>
                  <a:pt x="211" y="82"/>
                </a:cubicBezTo>
                <a:cubicBezTo>
                  <a:pt x="211" y="83"/>
                  <a:pt x="214" y="82"/>
                  <a:pt x="216" y="80"/>
                </a:cubicBezTo>
                <a:close/>
                <a:moveTo>
                  <a:pt x="206" y="79"/>
                </a:moveTo>
                <a:cubicBezTo>
                  <a:pt x="206" y="79"/>
                  <a:pt x="208" y="78"/>
                  <a:pt x="207" y="79"/>
                </a:cubicBezTo>
                <a:cubicBezTo>
                  <a:pt x="209" y="77"/>
                  <a:pt x="210" y="78"/>
                  <a:pt x="212" y="75"/>
                </a:cubicBezTo>
                <a:cubicBezTo>
                  <a:pt x="210" y="76"/>
                  <a:pt x="208" y="77"/>
                  <a:pt x="206" y="79"/>
                </a:cubicBezTo>
                <a:close/>
                <a:moveTo>
                  <a:pt x="192" y="65"/>
                </a:moveTo>
                <a:cubicBezTo>
                  <a:pt x="191" y="66"/>
                  <a:pt x="190" y="67"/>
                  <a:pt x="190" y="67"/>
                </a:cubicBezTo>
                <a:cubicBezTo>
                  <a:pt x="193" y="65"/>
                  <a:pt x="197" y="64"/>
                  <a:pt x="198" y="63"/>
                </a:cubicBezTo>
                <a:cubicBezTo>
                  <a:pt x="194" y="64"/>
                  <a:pt x="195" y="64"/>
                  <a:pt x="192" y="65"/>
                </a:cubicBezTo>
                <a:close/>
                <a:moveTo>
                  <a:pt x="208" y="90"/>
                </a:moveTo>
                <a:cubicBezTo>
                  <a:pt x="207" y="91"/>
                  <a:pt x="206" y="91"/>
                  <a:pt x="206" y="92"/>
                </a:cubicBezTo>
                <a:cubicBezTo>
                  <a:pt x="207" y="91"/>
                  <a:pt x="206" y="93"/>
                  <a:pt x="209" y="91"/>
                </a:cubicBezTo>
                <a:cubicBezTo>
                  <a:pt x="210" y="90"/>
                  <a:pt x="208" y="91"/>
                  <a:pt x="208" y="90"/>
                </a:cubicBezTo>
                <a:close/>
                <a:moveTo>
                  <a:pt x="207" y="101"/>
                </a:moveTo>
                <a:cubicBezTo>
                  <a:pt x="208" y="101"/>
                  <a:pt x="212" y="98"/>
                  <a:pt x="214" y="97"/>
                </a:cubicBezTo>
                <a:cubicBezTo>
                  <a:pt x="211" y="99"/>
                  <a:pt x="207" y="101"/>
                  <a:pt x="207" y="101"/>
                </a:cubicBezTo>
                <a:close/>
                <a:moveTo>
                  <a:pt x="190" y="86"/>
                </a:moveTo>
                <a:cubicBezTo>
                  <a:pt x="191" y="85"/>
                  <a:pt x="196" y="82"/>
                  <a:pt x="196" y="82"/>
                </a:cubicBezTo>
                <a:cubicBezTo>
                  <a:pt x="194" y="83"/>
                  <a:pt x="192" y="85"/>
                  <a:pt x="190" y="86"/>
                </a:cubicBezTo>
                <a:close/>
                <a:moveTo>
                  <a:pt x="198" y="111"/>
                </a:moveTo>
                <a:cubicBezTo>
                  <a:pt x="199" y="112"/>
                  <a:pt x="204" y="109"/>
                  <a:pt x="205" y="107"/>
                </a:cubicBezTo>
                <a:cubicBezTo>
                  <a:pt x="203" y="109"/>
                  <a:pt x="201" y="110"/>
                  <a:pt x="198" y="111"/>
                </a:cubicBezTo>
                <a:close/>
                <a:moveTo>
                  <a:pt x="185" y="86"/>
                </a:moveTo>
                <a:cubicBezTo>
                  <a:pt x="185" y="86"/>
                  <a:pt x="189" y="84"/>
                  <a:pt x="188" y="84"/>
                </a:cubicBezTo>
                <a:cubicBezTo>
                  <a:pt x="184" y="85"/>
                  <a:pt x="184" y="87"/>
                  <a:pt x="183" y="89"/>
                </a:cubicBezTo>
                <a:cubicBezTo>
                  <a:pt x="184" y="88"/>
                  <a:pt x="184" y="88"/>
                  <a:pt x="184" y="88"/>
                </a:cubicBezTo>
                <a:cubicBezTo>
                  <a:pt x="187" y="87"/>
                  <a:pt x="190" y="84"/>
                  <a:pt x="188" y="84"/>
                </a:cubicBezTo>
                <a:cubicBezTo>
                  <a:pt x="188" y="84"/>
                  <a:pt x="186" y="86"/>
                  <a:pt x="185" y="86"/>
                </a:cubicBezTo>
                <a:close/>
                <a:moveTo>
                  <a:pt x="175" y="77"/>
                </a:moveTo>
                <a:cubicBezTo>
                  <a:pt x="177" y="75"/>
                  <a:pt x="182" y="73"/>
                  <a:pt x="180" y="73"/>
                </a:cubicBezTo>
                <a:cubicBezTo>
                  <a:pt x="179" y="75"/>
                  <a:pt x="174" y="76"/>
                  <a:pt x="175" y="77"/>
                </a:cubicBezTo>
                <a:close/>
                <a:moveTo>
                  <a:pt x="186" y="115"/>
                </a:moveTo>
                <a:cubicBezTo>
                  <a:pt x="187" y="115"/>
                  <a:pt x="191" y="112"/>
                  <a:pt x="191" y="111"/>
                </a:cubicBezTo>
                <a:cubicBezTo>
                  <a:pt x="190" y="112"/>
                  <a:pt x="187" y="113"/>
                  <a:pt x="186" y="115"/>
                </a:cubicBezTo>
                <a:close/>
                <a:moveTo>
                  <a:pt x="177" y="93"/>
                </a:moveTo>
                <a:cubicBezTo>
                  <a:pt x="170" y="97"/>
                  <a:pt x="177" y="95"/>
                  <a:pt x="177" y="93"/>
                </a:cubicBezTo>
                <a:close/>
                <a:moveTo>
                  <a:pt x="183" y="114"/>
                </a:moveTo>
                <a:cubicBezTo>
                  <a:pt x="185" y="113"/>
                  <a:pt x="188" y="111"/>
                  <a:pt x="188" y="110"/>
                </a:cubicBezTo>
                <a:cubicBezTo>
                  <a:pt x="185" y="112"/>
                  <a:pt x="184" y="113"/>
                  <a:pt x="183" y="114"/>
                </a:cubicBezTo>
                <a:close/>
                <a:moveTo>
                  <a:pt x="158" y="89"/>
                </a:moveTo>
                <a:cubicBezTo>
                  <a:pt x="160" y="88"/>
                  <a:pt x="165" y="84"/>
                  <a:pt x="163" y="85"/>
                </a:cubicBezTo>
                <a:cubicBezTo>
                  <a:pt x="163" y="85"/>
                  <a:pt x="157" y="89"/>
                  <a:pt x="158" y="89"/>
                </a:cubicBezTo>
                <a:close/>
                <a:moveTo>
                  <a:pt x="166" y="104"/>
                </a:moveTo>
                <a:cubicBezTo>
                  <a:pt x="168" y="103"/>
                  <a:pt x="170" y="102"/>
                  <a:pt x="171" y="101"/>
                </a:cubicBezTo>
                <a:cubicBezTo>
                  <a:pt x="169" y="103"/>
                  <a:pt x="166" y="103"/>
                  <a:pt x="166" y="104"/>
                </a:cubicBezTo>
                <a:close/>
                <a:moveTo>
                  <a:pt x="172" y="122"/>
                </a:moveTo>
                <a:cubicBezTo>
                  <a:pt x="172" y="122"/>
                  <a:pt x="176" y="120"/>
                  <a:pt x="176" y="120"/>
                </a:cubicBezTo>
                <a:cubicBezTo>
                  <a:pt x="175" y="120"/>
                  <a:pt x="175" y="120"/>
                  <a:pt x="172" y="122"/>
                </a:cubicBezTo>
                <a:close/>
                <a:moveTo>
                  <a:pt x="142" y="97"/>
                </a:moveTo>
                <a:cubicBezTo>
                  <a:pt x="145" y="95"/>
                  <a:pt x="147" y="93"/>
                  <a:pt x="148" y="92"/>
                </a:cubicBezTo>
                <a:cubicBezTo>
                  <a:pt x="146" y="93"/>
                  <a:pt x="142" y="96"/>
                  <a:pt x="142" y="97"/>
                </a:cubicBezTo>
                <a:close/>
                <a:moveTo>
                  <a:pt x="155" y="112"/>
                </a:moveTo>
                <a:cubicBezTo>
                  <a:pt x="155" y="112"/>
                  <a:pt x="156" y="111"/>
                  <a:pt x="156" y="111"/>
                </a:cubicBezTo>
                <a:cubicBezTo>
                  <a:pt x="155" y="112"/>
                  <a:pt x="156" y="112"/>
                  <a:pt x="157" y="111"/>
                </a:cubicBezTo>
                <a:cubicBezTo>
                  <a:pt x="157" y="111"/>
                  <a:pt x="158" y="110"/>
                  <a:pt x="158" y="109"/>
                </a:cubicBezTo>
                <a:cubicBezTo>
                  <a:pt x="157" y="110"/>
                  <a:pt x="155" y="111"/>
                  <a:pt x="155" y="112"/>
                </a:cubicBezTo>
                <a:close/>
                <a:moveTo>
                  <a:pt x="164" y="129"/>
                </a:moveTo>
                <a:cubicBezTo>
                  <a:pt x="165" y="128"/>
                  <a:pt x="170" y="125"/>
                  <a:pt x="169" y="124"/>
                </a:cubicBezTo>
                <a:cubicBezTo>
                  <a:pt x="167" y="126"/>
                  <a:pt x="165" y="127"/>
                  <a:pt x="164" y="129"/>
                </a:cubicBezTo>
                <a:close/>
                <a:moveTo>
                  <a:pt x="153" y="112"/>
                </a:moveTo>
                <a:cubicBezTo>
                  <a:pt x="155" y="111"/>
                  <a:pt x="158" y="109"/>
                  <a:pt x="157" y="109"/>
                </a:cubicBezTo>
                <a:cubicBezTo>
                  <a:pt x="154" y="110"/>
                  <a:pt x="154" y="111"/>
                  <a:pt x="153" y="112"/>
                </a:cubicBezTo>
                <a:close/>
                <a:moveTo>
                  <a:pt x="164" y="125"/>
                </a:moveTo>
                <a:cubicBezTo>
                  <a:pt x="165" y="124"/>
                  <a:pt x="167" y="122"/>
                  <a:pt x="167" y="122"/>
                </a:cubicBezTo>
                <a:cubicBezTo>
                  <a:pt x="166" y="122"/>
                  <a:pt x="162" y="125"/>
                  <a:pt x="164" y="125"/>
                </a:cubicBezTo>
                <a:close/>
                <a:moveTo>
                  <a:pt x="162" y="131"/>
                </a:moveTo>
                <a:cubicBezTo>
                  <a:pt x="162" y="131"/>
                  <a:pt x="161" y="132"/>
                  <a:pt x="161" y="133"/>
                </a:cubicBezTo>
                <a:cubicBezTo>
                  <a:pt x="164" y="130"/>
                  <a:pt x="164" y="130"/>
                  <a:pt x="164" y="130"/>
                </a:cubicBezTo>
                <a:cubicBezTo>
                  <a:pt x="162" y="131"/>
                  <a:pt x="170" y="126"/>
                  <a:pt x="167" y="127"/>
                </a:cubicBezTo>
                <a:cubicBezTo>
                  <a:pt x="165" y="129"/>
                  <a:pt x="163" y="130"/>
                  <a:pt x="162" y="131"/>
                </a:cubicBezTo>
                <a:close/>
                <a:moveTo>
                  <a:pt x="153" y="115"/>
                </a:moveTo>
                <a:cubicBezTo>
                  <a:pt x="153" y="115"/>
                  <a:pt x="154" y="114"/>
                  <a:pt x="153" y="114"/>
                </a:cubicBezTo>
                <a:cubicBezTo>
                  <a:pt x="149" y="118"/>
                  <a:pt x="155" y="114"/>
                  <a:pt x="153" y="116"/>
                </a:cubicBezTo>
                <a:cubicBezTo>
                  <a:pt x="155" y="115"/>
                  <a:pt x="155" y="115"/>
                  <a:pt x="155" y="115"/>
                </a:cubicBezTo>
                <a:cubicBezTo>
                  <a:pt x="155" y="115"/>
                  <a:pt x="155" y="114"/>
                  <a:pt x="155" y="114"/>
                </a:cubicBezTo>
                <a:cubicBezTo>
                  <a:pt x="154" y="115"/>
                  <a:pt x="153" y="115"/>
                  <a:pt x="153" y="115"/>
                </a:cubicBezTo>
                <a:close/>
                <a:moveTo>
                  <a:pt x="132" y="105"/>
                </a:moveTo>
                <a:cubicBezTo>
                  <a:pt x="135" y="103"/>
                  <a:pt x="140" y="99"/>
                  <a:pt x="140" y="98"/>
                </a:cubicBezTo>
                <a:cubicBezTo>
                  <a:pt x="136" y="101"/>
                  <a:pt x="133" y="104"/>
                  <a:pt x="132" y="105"/>
                </a:cubicBezTo>
                <a:close/>
                <a:moveTo>
                  <a:pt x="158" y="134"/>
                </a:moveTo>
                <a:cubicBezTo>
                  <a:pt x="159" y="132"/>
                  <a:pt x="163" y="130"/>
                  <a:pt x="163" y="130"/>
                </a:cubicBezTo>
                <a:cubicBezTo>
                  <a:pt x="161" y="131"/>
                  <a:pt x="157" y="133"/>
                  <a:pt x="158" y="134"/>
                </a:cubicBezTo>
                <a:close/>
                <a:moveTo>
                  <a:pt x="149" y="141"/>
                </a:moveTo>
                <a:cubicBezTo>
                  <a:pt x="151" y="141"/>
                  <a:pt x="153" y="139"/>
                  <a:pt x="153" y="138"/>
                </a:cubicBezTo>
                <a:cubicBezTo>
                  <a:pt x="154" y="138"/>
                  <a:pt x="157" y="136"/>
                  <a:pt x="158" y="135"/>
                </a:cubicBezTo>
                <a:cubicBezTo>
                  <a:pt x="155" y="136"/>
                  <a:pt x="151" y="139"/>
                  <a:pt x="149" y="141"/>
                </a:cubicBezTo>
                <a:close/>
                <a:moveTo>
                  <a:pt x="132" y="110"/>
                </a:moveTo>
                <a:cubicBezTo>
                  <a:pt x="132" y="108"/>
                  <a:pt x="128" y="112"/>
                  <a:pt x="127" y="113"/>
                </a:cubicBezTo>
                <a:cubicBezTo>
                  <a:pt x="126" y="114"/>
                  <a:pt x="128" y="114"/>
                  <a:pt x="129" y="112"/>
                </a:cubicBezTo>
                <a:cubicBezTo>
                  <a:pt x="129" y="111"/>
                  <a:pt x="131" y="110"/>
                  <a:pt x="131" y="110"/>
                </a:cubicBezTo>
                <a:cubicBezTo>
                  <a:pt x="131" y="110"/>
                  <a:pt x="131" y="110"/>
                  <a:pt x="132" y="110"/>
                </a:cubicBezTo>
                <a:close/>
                <a:moveTo>
                  <a:pt x="137" y="153"/>
                </a:moveTo>
                <a:cubicBezTo>
                  <a:pt x="139" y="150"/>
                  <a:pt x="143" y="148"/>
                  <a:pt x="143" y="147"/>
                </a:cubicBezTo>
                <a:cubicBezTo>
                  <a:pt x="140" y="149"/>
                  <a:pt x="138" y="151"/>
                  <a:pt x="137" y="153"/>
                </a:cubicBezTo>
                <a:close/>
                <a:moveTo>
                  <a:pt x="105" y="131"/>
                </a:moveTo>
                <a:cubicBezTo>
                  <a:pt x="110" y="128"/>
                  <a:pt x="114" y="123"/>
                  <a:pt x="118" y="120"/>
                </a:cubicBezTo>
                <a:cubicBezTo>
                  <a:pt x="117" y="119"/>
                  <a:pt x="117" y="119"/>
                  <a:pt x="117" y="119"/>
                </a:cubicBezTo>
                <a:cubicBezTo>
                  <a:pt x="113" y="123"/>
                  <a:pt x="107" y="128"/>
                  <a:pt x="105" y="131"/>
                </a:cubicBezTo>
                <a:close/>
                <a:moveTo>
                  <a:pt x="144" y="153"/>
                </a:moveTo>
                <a:cubicBezTo>
                  <a:pt x="144" y="154"/>
                  <a:pt x="143" y="155"/>
                  <a:pt x="143" y="155"/>
                </a:cubicBezTo>
                <a:cubicBezTo>
                  <a:pt x="146" y="153"/>
                  <a:pt x="146" y="153"/>
                  <a:pt x="146" y="153"/>
                </a:cubicBezTo>
                <a:cubicBezTo>
                  <a:pt x="145" y="153"/>
                  <a:pt x="146" y="152"/>
                  <a:pt x="144" y="153"/>
                </a:cubicBezTo>
                <a:close/>
                <a:moveTo>
                  <a:pt x="124" y="137"/>
                </a:moveTo>
                <a:cubicBezTo>
                  <a:pt x="125" y="137"/>
                  <a:pt x="126" y="136"/>
                  <a:pt x="126" y="136"/>
                </a:cubicBezTo>
                <a:cubicBezTo>
                  <a:pt x="125" y="136"/>
                  <a:pt x="123" y="138"/>
                  <a:pt x="122" y="139"/>
                </a:cubicBezTo>
                <a:cubicBezTo>
                  <a:pt x="121" y="140"/>
                  <a:pt x="121" y="140"/>
                  <a:pt x="122" y="140"/>
                </a:cubicBezTo>
                <a:cubicBezTo>
                  <a:pt x="124" y="138"/>
                  <a:pt x="123" y="138"/>
                  <a:pt x="124" y="137"/>
                </a:cubicBezTo>
                <a:close/>
                <a:moveTo>
                  <a:pt x="112" y="136"/>
                </a:moveTo>
                <a:cubicBezTo>
                  <a:pt x="109" y="139"/>
                  <a:pt x="114" y="135"/>
                  <a:pt x="111" y="138"/>
                </a:cubicBezTo>
                <a:cubicBezTo>
                  <a:pt x="113" y="136"/>
                  <a:pt x="113" y="136"/>
                  <a:pt x="115" y="135"/>
                </a:cubicBezTo>
                <a:cubicBezTo>
                  <a:pt x="115" y="135"/>
                  <a:pt x="116" y="134"/>
                  <a:pt x="115" y="134"/>
                </a:cubicBezTo>
                <a:cubicBezTo>
                  <a:pt x="113" y="136"/>
                  <a:pt x="114" y="134"/>
                  <a:pt x="112" y="136"/>
                </a:cubicBezTo>
                <a:close/>
                <a:moveTo>
                  <a:pt x="125" y="156"/>
                </a:moveTo>
                <a:cubicBezTo>
                  <a:pt x="126" y="156"/>
                  <a:pt x="128" y="154"/>
                  <a:pt x="129" y="152"/>
                </a:cubicBezTo>
                <a:cubicBezTo>
                  <a:pt x="128" y="153"/>
                  <a:pt x="126" y="154"/>
                  <a:pt x="125" y="156"/>
                </a:cubicBezTo>
                <a:close/>
                <a:moveTo>
                  <a:pt x="113" y="150"/>
                </a:moveTo>
                <a:cubicBezTo>
                  <a:pt x="117" y="147"/>
                  <a:pt x="116" y="148"/>
                  <a:pt x="120" y="145"/>
                </a:cubicBezTo>
                <a:cubicBezTo>
                  <a:pt x="118" y="145"/>
                  <a:pt x="121" y="143"/>
                  <a:pt x="120" y="143"/>
                </a:cubicBezTo>
                <a:cubicBezTo>
                  <a:pt x="119" y="145"/>
                  <a:pt x="113" y="149"/>
                  <a:pt x="113" y="150"/>
                </a:cubicBezTo>
                <a:close/>
                <a:moveTo>
                  <a:pt x="112" y="138"/>
                </a:moveTo>
                <a:cubicBezTo>
                  <a:pt x="110" y="140"/>
                  <a:pt x="110" y="138"/>
                  <a:pt x="108" y="140"/>
                </a:cubicBezTo>
                <a:cubicBezTo>
                  <a:pt x="107" y="142"/>
                  <a:pt x="109" y="140"/>
                  <a:pt x="110" y="141"/>
                </a:cubicBezTo>
                <a:cubicBezTo>
                  <a:pt x="111" y="140"/>
                  <a:pt x="114" y="137"/>
                  <a:pt x="112" y="138"/>
                </a:cubicBezTo>
                <a:close/>
                <a:moveTo>
                  <a:pt x="96" y="141"/>
                </a:moveTo>
                <a:cubicBezTo>
                  <a:pt x="99" y="138"/>
                  <a:pt x="99" y="138"/>
                  <a:pt x="99" y="138"/>
                </a:cubicBezTo>
                <a:cubicBezTo>
                  <a:pt x="98" y="137"/>
                  <a:pt x="98" y="137"/>
                  <a:pt x="98" y="137"/>
                </a:cubicBezTo>
                <a:cubicBezTo>
                  <a:pt x="96" y="139"/>
                  <a:pt x="97" y="139"/>
                  <a:pt x="96" y="141"/>
                </a:cubicBezTo>
                <a:close/>
                <a:moveTo>
                  <a:pt x="119" y="170"/>
                </a:moveTo>
                <a:cubicBezTo>
                  <a:pt x="119" y="171"/>
                  <a:pt x="120" y="168"/>
                  <a:pt x="120" y="169"/>
                </a:cubicBezTo>
                <a:cubicBezTo>
                  <a:pt x="121" y="168"/>
                  <a:pt x="125" y="165"/>
                  <a:pt x="123" y="166"/>
                </a:cubicBezTo>
                <a:cubicBezTo>
                  <a:pt x="121" y="168"/>
                  <a:pt x="121" y="168"/>
                  <a:pt x="119" y="170"/>
                </a:cubicBezTo>
                <a:close/>
                <a:moveTo>
                  <a:pt x="111" y="161"/>
                </a:moveTo>
                <a:cubicBezTo>
                  <a:pt x="113" y="159"/>
                  <a:pt x="114" y="159"/>
                  <a:pt x="115" y="158"/>
                </a:cubicBezTo>
                <a:cubicBezTo>
                  <a:pt x="114" y="158"/>
                  <a:pt x="115" y="157"/>
                  <a:pt x="114" y="157"/>
                </a:cubicBezTo>
                <a:cubicBezTo>
                  <a:pt x="113" y="159"/>
                  <a:pt x="111" y="160"/>
                  <a:pt x="111" y="161"/>
                </a:cubicBezTo>
                <a:close/>
                <a:moveTo>
                  <a:pt x="85" y="151"/>
                </a:moveTo>
                <a:cubicBezTo>
                  <a:pt x="83" y="153"/>
                  <a:pt x="82" y="154"/>
                  <a:pt x="81" y="155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2" y="156"/>
                  <a:pt x="82" y="156"/>
                  <a:pt x="82" y="156"/>
                </a:cubicBezTo>
                <a:cubicBezTo>
                  <a:pt x="83" y="155"/>
                  <a:pt x="83" y="155"/>
                  <a:pt x="83" y="155"/>
                </a:cubicBezTo>
                <a:cubicBezTo>
                  <a:pt x="84" y="154"/>
                  <a:pt x="85" y="152"/>
                  <a:pt x="86" y="151"/>
                </a:cubicBezTo>
                <a:cubicBezTo>
                  <a:pt x="89" y="149"/>
                  <a:pt x="91" y="146"/>
                  <a:pt x="93" y="143"/>
                </a:cubicBezTo>
                <a:cubicBezTo>
                  <a:pt x="90" y="146"/>
                  <a:pt x="87" y="149"/>
                  <a:pt x="85" y="151"/>
                </a:cubicBezTo>
                <a:close/>
                <a:moveTo>
                  <a:pt x="88" y="156"/>
                </a:moveTo>
                <a:cubicBezTo>
                  <a:pt x="90" y="154"/>
                  <a:pt x="91" y="154"/>
                  <a:pt x="93" y="152"/>
                </a:cubicBezTo>
                <a:cubicBezTo>
                  <a:pt x="93" y="151"/>
                  <a:pt x="93" y="150"/>
                  <a:pt x="94" y="149"/>
                </a:cubicBezTo>
                <a:cubicBezTo>
                  <a:pt x="91" y="152"/>
                  <a:pt x="87" y="156"/>
                  <a:pt x="88" y="156"/>
                </a:cubicBezTo>
                <a:close/>
                <a:moveTo>
                  <a:pt x="86" y="154"/>
                </a:moveTo>
                <a:cubicBezTo>
                  <a:pt x="88" y="153"/>
                  <a:pt x="87" y="154"/>
                  <a:pt x="89" y="152"/>
                </a:cubicBezTo>
                <a:cubicBezTo>
                  <a:pt x="89" y="152"/>
                  <a:pt x="89" y="152"/>
                  <a:pt x="90" y="151"/>
                </a:cubicBezTo>
                <a:cubicBezTo>
                  <a:pt x="89" y="151"/>
                  <a:pt x="89" y="151"/>
                  <a:pt x="90" y="151"/>
                </a:cubicBezTo>
                <a:cubicBezTo>
                  <a:pt x="90" y="150"/>
                  <a:pt x="90" y="150"/>
                  <a:pt x="90" y="150"/>
                </a:cubicBezTo>
                <a:cubicBezTo>
                  <a:pt x="89" y="152"/>
                  <a:pt x="86" y="154"/>
                  <a:pt x="86" y="154"/>
                </a:cubicBezTo>
                <a:close/>
                <a:moveTo>
                  <a:pt x="96" y="160"/>
                </a:moveTo>
                <a:cubicBezTo>
                  <a:pt x="96" y="161"/>
                  <a:pt x="94" y="163"/>
                  <a:pt x="94" y="164"/>
                </a:cubicBezTo>
                <a:cubicBezTo>
                  <a:pt x="96" y="162"/>
                  <a:pt x="96" y="161"/>
                  <a:pt x="98" y="160"/>
                </a:cubicBezTo>
                <a:cubicBezTo>
                  <a:pt x="97" y="159"/>
                  <a:pt x="97" y="160"/>
                  <a:pt x="96" y="160"/>
                </a:cubicBezTo>
                <a:close/>
                <a:moveTo>
                  <a:pt x="95" y="158"/>
                </a:moveTo>
                <a:cubicBezTo>
                  <a:pt x="95" y="158"/>
                  <a:pt x="95" y="158"/>
                  <a:pt x="95" y="158"/>
                </a:cubicBezTo>
                <a:cubicBezTo>
                  <a:pt x="93" y="159"/>
                  <a:pt x="94" y="159"/>
                  <a:pt x="92" y="160"/>
                </a:cubicBezTo>
                <a:cubicBezTo>
                  <a:pt x="93" y="161"/>
                  <a:pt x="93" y="161"/>
                  <a:pt x="93" y="161"/>
                </a:cubicBezTo>
                <a:cubicBezTo>
                  <a:pt x="94" y="159"/>
                  <a:pt x="94" y="160"/>
                  <a:pt x="95" y="158"/>
                </a:cubicBezTo>
                <a:close/>
                <a:moveTo>
                  <a:pt x="85" y="163"/>
                </a:moveTo>
                <a:cubicBezTo>
                  <a:pt x="86" y="162"/>
                  <a:pt x="86" y="162"/>
                  <a:pt x="86" y="162"/>
                </a:cubicBezTo>
                <a:cubicBezTo>
                  <a:pt x="86" y="162"/>
                  <a:pt x="85" y="162"/>
                  <a:pt x="85" y="163"/>
                </a:cubicBezTo>
                <a:close/>
                <a:moveTo>
                  <a:pt x="91" y="167"/>
                </a:moveTo>
                <a:cubicBezTo>
                  <a:pt x="91" y="167"/>
                  <a:pt x="91" y="167"/>
                  <a:pt x="91" y="168"/>
                </a:cubicBezTo>
                <a:cubicBezTo>
                  <a:pt x="92" y="168"/>
                  <a:pt x="92" y="168"/>
                  <a:pt x="92" y="167"/>
                </a:cubicBezTo>
                <a:cubicBezTo>
                  <a:pt x="92" y="167"/>
                  <a:pt x="92" y="167"/>
                  <a:pt x="92" y="167"/>
                </a:cubicBezTo>
                <a:cubicBezTo>
                  <a:pt x="92" y="167"/>
                  <a:pt x="91" y="166"/>
                  <a:pt x="91" y="167"/>
                </a:cubicBezTo>
                <a:close/>
                <a:moveTo>
                  <a:pt x="101" y="179"/>
                </a:moveTo>
                <a:cubicBezTo>
                  <a:pt x="101" y="179"/>
                  <a:pt x="101" y="179"/>
                  <a:pt x="102" y="180"/>
                </a:cubicBezTo>
                <a:cubicBezTo>
                  <a:pt x="102" y="179"/>
                  <a:pt x="102" y="178"/>
                  <a:pt x="103" y="178"/>
                </a:cubicBezTo>
                <a:cubicBezTo>
                  <a:pt x="103" y="178"/>
                  <a:pt x="103" y="178"/>
                  <a:pt x="103" y="177"/>
                </a:cubicBezTo>
                <a:cubicBezTo>
                  <a:pt x="102" y="178"/>
                  <a:pt x="102" y="178"/>
                  <a:pt x="101" y="179"/>
                </a:cubicBezTo>
                <a:close/>
                <a:moveTo>
                  <a:pt x="111" y="187"/>
                </a:moveTo>
                <a:cubicBezTo>
                  <a:pt x="111" y="188"/>
                  <a:pt x="112" y="187"/>
                  <a:pt x="112" y="187"/>
                </a:cubicBezTo>
                <a:cubicBezTo>
                  <a:pt x="111" y="187"/>
                  <a:pt x="112" y="187"/>
                  <a:pt x="112" y="186"/>
                </a:cubicBezTo>
                <a:cubicBezTo>
                  <a:pt x="111" y="186"/>
                  <a:pt x="112" y="187"/>
                  <a:pt x="111" y="187"/>
                </a:cubicBezTo>
                <a:close/>
                <a:moveTo>
                  <a:pt x="100" y="178"/>
                </a:moveTo>
                <a:cubicBezTo>
                  <a:pt x="100" y="179"/>
                  <a:pt x="101" y="179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0" y="178"/>
                  <a:pt x="100" y="178"/>
                </a:cubicBezTo>
                <a:close/>
                <a:moveTo>
                  <a:pt x="101" y="180"/>
                </a:moveTo>
                <a:cubicBezTo>
                  <a:pt x="101" y="179"/>
                  <a:pt x="101" y="181"/>
                  <a:pt x="102" y="180"/>
                </a:cubicBezTo>
                <a:cubicBezTo>
                  <a:pt x="102" y="180"/>
                  <a:pt x="101" y="179"/>
                  <a:pt x="101" y="179"/>
                </a:cubicBezTo>
                <a:cubicBezTo>
                  <a:pt x="101" y="179"/>
                  <a:pt x="100" y="180"/>
                  <a:pt x="101" y="180"/>
                </a:cubicBezTo>
                <a:close/>
                <a:moveTo>
                  <a:pt x="76" y="157"/>
                </a:moveTo>
                <a:cubicBezTo>
                  <a:pt x="76" y="157"/>
                  <a:pt x="77" y="156"/>
                  <a:pt x="76" y="156"/>
                </a:cubicBezTo>
                <a:cubicBezTo>
                  <a:pt x="76" y="156"/>
                  <a:pt x="76" y="157"/>
                  <a:pt x="76" y="157"/>
                </a:cubicBezTo>
                <a:close/>
                <a:moveTo>
                  <a:pt x="99" y="179"/>
                </a:moveTo>
                <a:cubicBezTo>
                  <a:pt x="99" y="178"/>
                  <a:pt x="100" y="180"/>
                  <a:pt x="100" y="179"/>
                </a:cubicBezTo>
                <a:cubicBezTo>
                  <a:pt x="99" y="179"/>
                  <a:pt x="100" y="179"/>
                  <a:pt x="100" y="178"/>
                </a:cubicBezTo>
                <a:cubicBezTo>
                  <a:pt x="100" y="178"/>
                  <a:pt x="99" y="179"/>
                  <a:pt x="99" y="179"/>
                </a:cubicBezTo>
                <a:close/>
                <a:moveTo>
                  <a:pt x="104" y="186"/>
                </a:moveTo>
                <a:cubicBezTo>
                  <a:pt x="105" y="185"/>
                  <a:pt x="105" y="185"/>
                  <a:pt x="105" y="185"/>
                </a:cubicBezTo>
                <a:cubicBezTo>
                  <a:pt x="105" y="184"/>
                  <a:pt x="104" y="185"/>
                  <a:pt x="104" y="186"/>
                </a:cubicBezTo>
                <a:close/>
                <a:moveTo>
                  <a:pt x="100" y="181"/>
                </a:move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1" y="181"/>
                  <a:pt x="101" y="181"/>
                </a:cubicBezTo>
                <a:cubicBezTo>
                  <a:pt x="100" y="181"/>
                  <a:pt x="100" y="180"/>
                  <a:pt x="100" y="181"/>
                </a:cubicBezTo>
                <a:close/>
                <a:moveTo>
                  <a:pt x="108" y="192"/>
                </a:moveTo>
                <a:cubicBezTo>
                  <a:pt x="108" y="191"/>
                  <a:pt x="109" y="190"/>
                  <a:pt x="109" y="190"/>
                </a:cubicBezTo>
                <a:cubicBezTo>
                  <a:pt x="108" y="191"/>
                  <a:pt x="107" y="191"/>
                  <a:pt x="108" y="192"/>
                </a:cubicBezTo>
                <a:close/>
                <a:moveTo>
                  <a:pt x="76" y="161"/>
                </a:moveTo>
                <a:cubicBezTo>
                  <a:pt x="76" y="161"/>
                  <a:pt x="77" y="162"/>
                  <a:pt x="77" y="161"/>
                </a:cubicBezTo>
                <a:cubicBezTo>
                  <a:pt x="77" y="161"/>
                  <a:pt x="77" y="161"/>
                  <a:pt x="77" y="161"/>
                </a:cubicBezTo>
                <a:cubicBezTo>
                  <a:pt x="77" y="161"/>
                  <a:pt x="78" y="161"/>
                  <a:pt x="77" y="161"/>
                </a:cubicBezTo>
                <a:cubicBezTo>
                  <a:pt x="77" y="161"/>
                  <a:pt x="77" y="161"/>
                  <a:pt x="76" y="161"/>
                </a:cubicBezTo>
                <a:close/>
                <a:moveTo>
                  <a:pt x="99" y="182"/>
                </a:moveTo>
                <a:cubicBezTo>
                  <a:pt x="99" y="182"/>
                  <a:pt x="99" y="182"/>
                  <a:pt x="99" y="182"/>
                </a:cubicBezTo>
                <a:cubicBezTo>
                  <a:pt x="100" y="182"/>
                  <a:pt x="100" y="182"/>
                  <a:pt x="100" y="181"/>
                </a:cubicBezTo>
                <a:cubicBezTo>
                  <a:pt x="99" y="181"/>
                  <a:pt x="99" y="182"/>
                  <a:pt x="99" y="182"/>
                </a:cubicBezTo>
                <a:close/>
                <a:moveTo>
                  <a:pt x="102" y="184"/>
                </a:moveTo>
                <a:cubicBezTo>
                  <a:pt x="102" y="184"/>
                  <a:pt x="102" y="185"/>
                  <a:pt x="102" y="185"/>
                </a:cubicBezTo>
                <a:cubicBezTo>
                  <a:pt x="102" y="185"/>
                  <a:pt x="102" y="185"/>
                  <a:pt x="102" y="185"/>
                </a:cubicBezTo>
                <a:cubicBezTo>
                  <a:pt x="102" y="185"/>
                  <a:pt x="103" y="185"/>
                  <a:pt x="103" y="184"/>
                </a:cubicBezTo>
                <a:cubicBezTo>
                  <a:pt x="103" y="185"/>
                  <a:pt x="102" y="184"/>
                  <a:pt x="102" y="184"/>
                </a:cubicBezTo>
                <a:close/>
                <a:moveTo>
                  <a:pt x="103" y="187"/>
                </a:moveTo>
                <a:cubicBezTo>
                  <a:pt x="104" y="186"/>
                  <a:pt x="104" y="186"/>
                  <a:pt x="104" y="185"/>
                </a:cubicBezTo>
                <a:cubicBezTo>
                  <a:pt x="104" y="186"/>
                  <a:pt x="103" y="186"/>
                  <a:pt x="103" y="187"/>
                </a:cubicBezTo>
                <a:close/>
                <a:moveTo>
                  <a:pt x="99" y="185"/>
                </a:moveTo>
                <a:cubicBezTo>
                  <a:pt x="99" y="185"/>
                  <a:pt x="100" y="185"/>
                  <a:pt x="100" y="185"/>
                </a:cubicBezTo>
                <a:cubicBezTo>
                  <a:pt x="100" y="185"/>
                  <a:pt x="101" y="185"/>
                  <a:pt x="101" y="186"/>
                </a:cubicBezTo>
                <a:cubicBezTo>
                  <a:pt x="102" y="186"/>
                  <a:pt x="100" y="184"/>
                  <a:pt x="102" y="184"/>
                </a:cubicBezTo>
                <a:cubicBezTo>
                  <a:pt x="101" y="184"/>
                  <a:pt x="101" y="184"/>
                  <a:pt x="101" y="183"/>
                </a:cubicBezTo>
                <a:cubicBezTo>
                  <a:pt x="100" y="184"/>
                  <a:pt x="99" y="184"/>
                  <a:pt x="99" y="185"/>
                </a:cubicBezTo>
                <a:close/>
                <a:moveTo>
                  <a:pt x="84" y="169"/>
                </a:moveTo>
                <a:cubicBezTo>
                  <a:pt x="84" y="169"/>
                  <a:pt x="85" y="169"/>
                  <a:pt x="85" y="168"/>
                </a:cubicBezTo>
                <a:cubicBezTo>
                  <a:pt x="85" y="169"/>
                  <a:pt x="84" y="169"/>
                  <a:pt x="84" y="169"/>
                </a:cubicBezTo>
                <a:close/>
                <a:moveTo>
                  <a:pt x="97" y="181"/>
                </a:moveTo>
                <a:cubicBezTo>
                  <a:pt x="98" y="181"/>
                  <a:pt x="97" y="182"/>
                  <a:pt x="98" y="182"/>
                </a:cubicBezTo>
                <a:cubicBezTo>
                  <a:pt x="98" y="181"/>
                  <a:pt x="98" y="181"/>
                  <a:pt x="98" y="181"/>
                </a:cubicBezTo>
                <a:cubicBezTo>
                  <a:pt x="98" y="181"/>
                  <a:pt x="98" y="181"/>
                  <a:pt x="97" y="181"/>
                </a:cubicBezTo>
                <a:close/>
                <a:moveTo>
                  <a:pt x="105" y="194"/>
                </a:moveTo>
                <a:cubicBezTo>
                  <a:pt x="106" y="194"/>
                  <a:pt x="106" y="192"/>
                  <a:pt x="107" y="192"/>
                </a:cubicBezTo>
                <a:cubicBezTo>
                  <a:pt x="107" y="192"/>
                  <a:pt x="107" y="192"/>
                  <a:pt x="107" y="192"/>
                </a:cubicBezTo>
                <a:cubicBezTo>
                  <a:pt x="106" y="192"/>
                  <a:pt x="105" y="193"/>
                  <a:pt x="105" y="194"/>
                </a:cubicBezTo>
                <a:close/>
                <a:moveTo>
                  <a:pt x="91" y="184"/>
                </a:moveTo>
                <a:cubicBezTo>
                  <a:pt x="92" y="184"/>
                  <a:pt x="91" y="185"/>
                  <a:pt x="91" y="185"/>
                </a:cubicBezTo>
                <a:cubicBezTo>
                  <a:pt x="92" y="185"/>
                  <a:pt x="92" y="184"/>
                  <a:pt x="93" y="184"/>
                </a:cubicBezTo>
                <a:cubicBezTo>
                  <a:pt x="92" y="184"/>
                  <a:pt x="92" y="184"/>
                  <a:pt x="92" y="183"/>
                </a:cubicBezTo>
                <a:cubicBezTo>
                  <a:pt x="92" y="184"/>
                  <a:pt x="92" y="184"/>
                  <a:pt x="91" y="184"/>
                </a:cubicBezTo>
                <a:close/>
                <a:moveTo>
                  <a:pt x="72" y="169"/>
                </a:moveTo>
                <a:cubicBezTo>
                  <a:pt x="73" y="170"/>
                  <a:pt x="73" y="170"/>
                  <a:pt x="73" y="170"/>
                </a:cubicBezTo>
                <a:cubicBezTo>
                  <a:pt x="73" y="169"/>
                  <a:pt x="75" y="168"/>
                  <a:pt x="74" y="167"/>
                </a:cubicBezTo>
                <a:cubicBezTo>
                  <a:pt x="73" y="168"/>
                  <a:pt x="73" y="169"/>
                  <a:pt x="72" y="169"/>
                </a:cubicBezTo>
                <a:close/>
                <a:moveTo>
                  <a:pt x="74" y="170"/>
                </a:moveTo>
                <a:cubicBezTo>
                  <a:pt x="75" y="170"/>
                  <a:pt x="76" y="169"/>
                  <a:pt x="76" y="168"/>
                </a:cubicBezTo>
                <a:cubicBezTo>
                  <a:pt x="75" y="169"/>
                  <a:pt x="74" y="170"/>
                  <a:pt x="74" y="170"/>
                </a:cubicBezTo>
                <a:close/>
                <a:moveTo>
                  <a:pt x="88" y="184"/>
                </a:moveTo>
                <a:cubicBezTo>
                  <a:pt x="89" y="185"/>
                  <a:pt x="89" y="185"/>
                  <a:pt x="89" y="185"/>
                </a:cubicBezTo>
                <a:cubicBezTo>
                  <a:pt x="90" y="184"/>
                  <a:pt x="90" y="184"/>
                  <a:pt x="90" y="183"/>
                </a:cubicBezTo>
                <a:cubicBezTo>
                  <a:pt x="90" y="183"/>
                  <a:pt x="89" y="184"/>
                  <a:pt x="88" y="184"/>
                </a:cubicBezTo>
                <a:close/>
                <a:moveTo>
                  <a:pt x="71" y="168"/>
                </a:moveTo>
                <a:cubicBezTo>
                  <a:pt x="71" y="168"/>
                  <a:pt x="71" y="167"/>
                  <a:pt x="71" y="167"/>
                </a:cubicBezTo>
                <a:cubicBezTo>
                  <a:pt x="71" y="167"/>
                  <a:pt x="71" y="168"/>
                  <a:pt x="71" y="168"/>
                </a:cubicBezTo>
                <a:close/>
                <a:moveTo>
                  <a:pt x="89" y="187"/>
                </a:moveTo>
                <a:cubicBezTo>
                  <a:pt x="90" y="188"/>
                  <a:pt x="90" y="187"/>
                  <a:pt x="90" y="187"/>
                </a:cubicBezTo>
                <a:cubicBezTo>
                  <a:pt x="91" y="187"/>
                  <a:pt x="91" y="186"/>
                  <a:pt x="91" y="186"/>
                </a:cubicBezTo>
                <a:cubicBezTo>
                  <a:pt x="90" y="186"/>
                  <a:pt x="90" y="187"/>
                  <a:pt x="89" y="186"/>
                </a:cubicBezTo>
                <a:cubicBezTo>
                  <a:pt x="89" y="186"/>
                  <a:pt x="90" y="187"/>
                  <a:pt x="89" y="187"/>
                </a:cubicBezTo>
                <a:close/>
                <a:moveTo>
                  <a:pt x="84" y="182"/>
                </a:moveTo>
                <a:cubicBezTo>
                  <a:pt x="84" y="182"/>
                  <a:pt x="85" y="180"/>
                  <a:pt x="84" y="180"/>
                </a:cubicBezTo>
                <a:cubicBezTo>
                  <a:pt x="84" y="181"/>
                  <a:pt x="83" y="181"/>
                  <a:pt x="84" y="182"/>
                </a:cubicBezTo>
                <a:close/>
                <a:moveTo>
                  <a:pt x="72" y="173"/>
                </a:moveTo>
                <a:cubicBezTo>
                  <a:pt x="72" y="173"/>
                  <a:pt x="73" y="173"/>
                  <a:pt x="73" y="173"/>
                </a:cubicBezTo>
                <a:cubicBezTo>
                  <a:pt x="73" y="173"/>
                  <a:pt x="73" y="173"/>
                  <a:pt x="73" y="172"/>
                </a:cubicBezTo>
                <a:cubicBezTo>
                  <a:pt x="72" y="172"/>
                  <a:pt x="75" y="172"/>
                  <a:pt x="74" y="171"/>
                </a:cubicBezTo>
                <a:cubicBezTo>
                  <a:pt x="73" y="171"/>
                  <a:pt x="73" y="172"/>
                  <a:pt x="72" y="173"/>
                </a:cubicBezTo>
                <a:close/>
                <a:moveTo>
                  <a:pt x="97" y="197"/>
                </a:moveTo>
                <a:cubicBezTo>
                  <a:pt x="98" y="196"/>
                  <a:pt x="99" y="195"/>
                  <a:pt x="99" y="194"/>
                </a:cubicBezTo>
                <a:cubicBezTo>
                  <a:pt x="99" y="195"/>
                  <a:pt x="97" y="195"/>
                  <a:pt x="97" y="197"/>
                </a:cubicBezTo>
                <a:close/>
                <a:moveTo>
                  <a:pt x="69" y="174"/>
                </a:moveTo>
                <a:cubicBezTo>
                  <a:pt x="70" y="173"/>
                  <a:pt x="71" y="172"/>
                  <a:pt x="72" y="171"/>
                </a:cubicBezTo>
                <a:cubicBezTo>
                  <a:pt x="72" y="170"/>
                  <a:pt x="72" y="170"/>
                  <a:pt x="72" y="170"/>
                </a:cubicBezTo>
                <a:cubicBezTo>
                  <a:pt x="71" y="172"/>
                  <a:pt x="69" y="172"/>
                  <a:pt x="69" y="174"/>
                </a:cubicBezTo>
                <a:close/>
                <a:moveTo>
                  <a:pt x="91" y="189"/>
                </a:moveTo>
                <a:cubicBezTo>
                  <a:pt x="91" y="189"/>
                  <a:pt x="92" y="189"/>
                  <a:pt x="91" y="188"/>
                </a:cubicBezTo>
                <a:cubicBezTo>
                  <a:pt x="91" y="189"/>
                  <a:pt x="90" y="189"/>
                  <a:pt x="91" y="189"/>
                </a:cubicBezTo>
                <a:close/>
                <a:moveTo>
                  <a:pt x="69" y="171"/>
                </a:moveTo>
                <a:cubicBezTo>
                  <a:pt x="69" y="170"/>
                  <a:pt x="70" y="169"/>
                  <a:pt x="70" y="169"/>
                </a:cubicBezTo>
                <a:cubicBezTo>
                  <a:pt x="69" y="169"/>
                  <a:pt x="68" y="170"/>
                  <a:pt x="69" y="171"/>
                </a:cubicBezTo>
                <a:close/>
                <a:moveTo>
                  <a:pt x="67" y="172"/>
                </a:moveTo>
                <a:cubicBezTo>
                  <a:pt x="68" y="173"/>
                  <a:pt x="68" y="172"/>
                  <a:pt x="68" y="171"/>
                </a:cubicBezTo>
                <a:lnTo>
                  <a:pt x="67" y="172"/>
                </a:lnTo>
                <a:close/>
                <a:moveTo>
                  <a:pt x="96" y="198"/>
                </a:moveTo>
                <a:cubicBezTo>
                  <a:pt x="97" y="198"/>
                  <a:pt x="97" y="197"/>
                  <a:pt x="97" y="197"/>
                </a:cubicBezTo>
                <a:cubicBezTo>
                  <a:pt x="96" y="197"/>
                  <a:pt x="96" y="198"/>
                  <a:pt x="96" y="198"/>
                </a:cubicBezTo>
                <a:close/>
                <a:moveTo>
                  <a:pt x="75" y="181"/>
                </a:moveTo>
                <a:cubicBezTo>
                  <a:pt x="76" y="181"/>
                  <a:pt x="77" y="180"/>
                  <a:pt x="76" y="180"/>
                </a:cubicBezTo>
                <a:cubicBezTo>
                  <a:pt x="76" y="180"/>
                  <a:pt x="75" y="181"/>
                  <a:pt x="75" y="181"/>
                </a:cubicBezTo>
                <a:close/>
                <a:moveTo>
                  <a:pt x="90" y="195"/>
                </a:moveTo>
                <a:cubicBezTo>
                  <a:pt x="91" y="196"/>
                  <a:pt x="91" y="194"/>
                  <a:pt x="92" y="194"/>
                </a:cubicBezTo>
                <a:cubicBezTo>
                  <a:pt x="92" y="194"/>
                  <a:pt x="92" y="194"/>
                  <a:pt x="91" y="193"/>
                </a:cubicBezTo>
                <a:cubicBezTo>
                  <a:pt x="91" y="194"/>
                  <a:pt x="91" y="195"/>
                  <a:pt x="90" y="195"/>
                </a:cubicBezTo>
                <a:close/>
                <a:moveTo>
                  <a:pt x="65" y="173"/>
                </a:moveTo>
                <a:cubicBezTo>
                  <a:pt x="66" y="173"/>
                  <a:pt x="66" y="172"/>
                  <a:pt x="66" y="172"/>
                </a:cubicBezTo>
                <a:cubicBezTo>
                  <a:pt x="66" y="172"/>
                  <a:pt x="65" y="173"/>
                  <a:pt x="65" y="173"/>
                </a:cubicBezTo>
                <a:close/>
                <a:moveTo>
                  <a:pt x="67" y="176"/>
                </a:moveTo>
                <a:cubicBezTo>
                  <a:pt x="68" y="177"/>
                  <a:pt x="69" y="175"/>
                  <a:pt x="68" y="175"/>
                </a:cubicBezTo>
                <a:cubicBezTo>
                  <a:pt x="68" y="176"/>
                  <a:pt x="67" y="176"/>
                  <a:pt x="67" y="176"/>
                </a:cubicBezTo>
                <a:close/>
                <a:moveTo>
                  <a:pt x="70" y="178"/>
                </a:moveTo>
                <a:cubicBezTo>
                  <a:pt x="70" y="179"/>
                  <a:pt x="70" y="178"/>
                  <a:pt x="70" y="177"/>
                </a:cubicBezTo>
                <a:cubicBezTo>
                  <a:pt x="70" y="177"/>
                  <a:pt x="70" y="178"/>
                  <a:pt x="70" y="178"/>
                </a:cubicBezTo>
                <a:close/>
                <a:moveTo>
                  <a:pt x="88" y="196"/>
                </a:moveTo>
                <a:cubicBezTo>
                  <a:pt x="89" y="196"/>
                  <a:pt x="90" y="195"/>
                  <a:pt x="89" y="194"/>
                </a:cubicBezTo>
                <a:cubicBezTo>
                  <a:pt x="89" y="196"/>
                  <a:pt x="87" y="195"/>
                  <a:pt x="88" y="196"/>
                </a:cubicBezTo>
                <a:close/>
                <a:moveTo>
                  <a:pt x="63" y="174"/>
                </a:moveTo>
                <a:cubicBezTo>
                  <a:pt x="63" y="174"/>
                  <a:pt x="63" y="174"/>
                  <a:pt x="63" y="174"/>
                </a:cubicBezTo>
                <a:cubicBezTo>
                  <a:pt x="64" y="174"/>
                  <a:pt x="64" y="173"/>
                  <a:pt x="64" y="172"/>
                </a:cubicBezTo>
                <a:cubicBezTo>
                  <a:pt x="64" y="172"/>
                  <a:pt x="64" y="173"/>
                  <a:pt x="63" y="174"/>
                </a:cubicBezTo>
                <a:close/>
                <a:moveTo>
                  <a:pt x="87" y="195"/>
                </a:moveTo>
                <a:cubicBezTo>
                  <a:pt x="87" y="194"/>
                  <a:pt x="87" y="194"/>
                  <a:pt x="88" y="194"/>
                </a:cubicBezTo>
                <a:cubicBezTo>
                  <a:pt x="87" y="193"/>
                  <a:pt x="87" y="193"/>
                  <a:pt x="87" y="193"/>
                </a:cubicBezTo>
                <a:cubicBezTo>
                  <a:pt x="87" y="194"/>
                  <a:pt x="86" y="194"/>
                  <a:pt x="87" y="195"/>
                </a:cubicBezTo>
                <a:close/>
                <a:moveTo>
                  <a:pt x="89" y="196"/>
                </a:moveTo>
                <a:cubicBezTo>
                  <a:pt x="89" y="196"/>
                  <a:pt x="90" y="197"/>
                  <a:pt x="90" y="197"/>
                </a:cubicBezTo>
                <a:cubicBezTo>
                  <a:pt x="90" y="196"/>
                  <a:pt x="90" y="196"/>
                  <a:pt x="89" y="196"/>
                </a:cubicBezTo>
                <a:close/>
                <a:moveTo>
                  <a:pt x="70" y="180"/>
                </a:moveTo>
                <a:cubicBezTo>
                  <a:pt x="70" y="180"/>
                  <a:pt x="70" y="180"/>
                  <a:pt x="70" y="179"/>
                </a:cubicBezTo>
                <a:cubicBezTo>
                  <a:pt x="70" y="179"/>
                  <a:pt x="69" y="179"/>
                  <a:pt x="69" y="180"/>
                </a:cubicBezTo>
                <a:cubicBezTo>
                  <a:pt x="69" y="180"/>
                  <a:pt x="69" y="180"/>
                  <a:pt x="70" y="180"/>
                </a:cubicBezTo>
                <a:close/>
                <a:moveTo>
                  <a:pt x="63" y="175"/>
                </a:moveTo>
                <a:cubicBezTo>
                  <a:pt x="62" y="175"/>
                  <a:pt x="61" y="176"/>
                  <a:pt x="61" y="177"/>
                </a:cubicBezTo>
                <a:cubicBezTo>
                  <a:pt x="62" y="177"/>
                  <a:pt x="63" y="175"/>
                  <a:pt x="63" y="174"/>
                </a:cubicBezTo>
                <a:cubicBezTo>
                  <a:pt x="63" y="174"/>
                  <a:pt x="63" y="175"/>
                  <a:pt x="63" y="175"/>
                </a:cubicBezTo>
                <a:close/>
                <a:moveTo>
                  <a:pt x="88" y="201"/>
                </a:moveTo>
                <a:cubicBezTo>
                  <a:pt x="88" y="202"/>
                  <a:pt x="88" y="202"/>
                  <a:pt x="89" y="202"/>
                </a:cubicBezTo>
                <a:cubicBezTo>
                  <a:pt x="89" y="201"/>
                  <a:pt x="89" y="201"/>
                  <a:pt x="90" y="200"/>
                </a:cubicBezTo>
                <a:cubicBezTo>
                  <a:pt x="90" y="200"/>
                  <a:pt x="90" y="200"/>
                  <a:pt x="90" y="199"/>
                </a:cubicBezTo>
                <a:cubicBezTo>
                  <a:pt x="90" y="199"/>
                  <a:pt x="90" y="199"/>
                  <a:pt x="90" y="199"/>
                </a:cubicBezTo>
                <a:cubicBezTo>
                  <a:pt x="89" y="200"/>
                  <a:pt x="89" y="201"/>
                  <a:pt x="88" y="201"/>
                </a:cubicBezTo>
                <a:close/>
                <a:moveTo>
                  <a:pt x="92" y="203"/>
                </a:moveTo>
                <a:cubicBezTo>
                  <a:pt x="92" y="203"/>
                  <a:pt x="93" y="202"/>
                  <a:pt x="93" y="202"/>
                </a:cubicBezTo>
                <a:cubicBezTo>
                  <a:pt x="92" y="202"/>
                  <a:pt x="92" y="202"/>
                  <a:pt x="92" y="203"/>
                </a:cubicBezTo>
                <a:close/>
                <a:moveTo>
                  <a:pt x="62" y="177"/>
                </a:moveTo>
                <a:cubicBezTo>
                  <a:pt x="62" y="177"/>
                  <a:pt x="63" y="177"/>
                  <a:pt x="63" y="176"/>
                </a:cubicBezTo>
                <a:cubicBezTo>
                  <a:pt x="62" y="176"/>
                  <a:pt x="62" y="177"/>
                  <a:pt x="62" y="177"/>
                </a:cubicBezTo>
                <a:close/>
                <a:moveTo>
                  <a:pt x="62" y="177"/>
                </a:moveTo>
                <a:cubicBezTo>
                  <a:pt x="62" y="178"/>
                  <a:pt x="63" y="178"/>
                  <a:pt x="63" y="178"/>
                </a:cubicBezTo>
                <a:cubicBezTo>
                  <a:pt x="63" y="177"/>
                  <a:pt x="63" y="177"/>
                  <a:pt x="62" y="177"/>
                </a:cubicBezTo>
                <a:close/>
                <a:moveTo>
                  <a:pt x="90" y="205"/>
                </a:moveTo>
                <a:cubicBezTo>
                  <a:pt x="90" y="205"/>
                  <a:pt x="92" y="204"/>
                  <a:pt x="91" y="203"/>
                </a:cubicBezTo>
                <a:cubicBezTo>
                  <a:pt x="91" y="203"/>
                  <a:pt x="90" y="204"/>
                  <a:pt x="90" y="205"/>
                </a:cubicBezTo>
                <a:close/>
                <a:moveTo>
                  <a:pt x="89" y="203"/>
                </a:moveTo>
                <a:cubicBezTo>
                  <a:pt x="90" y="204"/>
                  <a:pt x="91" y="202"/>
                  <a:pt x="90" y="202"/>
                </a:cubicBezTo>
                <a:cubicBezTo>
                  <a:pt x="90" y="203"/>
                  <a:pt x="90" y="203"/>
                  <a:pt x="89" y="203"/>
                </a:cubicBezTo>
                <a:close/>
                <a:moveTo>
                  <a:pt x="78" y="193"/>
                </a:moveTo>
                <a:cubicBezTo>
                  <a:pt x="76" y="194"/>
                  <a:pt x="79" y="195"/>
                  <a:pt x="78" y="196"/>
                </a:cubicBezTo>
                <a:cubicBezTo>
                  <a:pt x="79" y="196"/>
                  <a:pt x="80" y="194"/>
                  <a:pt x="80" y="194"/>
                </a:cubicBezTo>
                <a:cubicBezTo>
                  <a:pt x="79" y="195"/>
                  <a:pt x="78" y="194"/>
                  <a:pt x="78" y="193"/>
                </a:cubicBezTo>
                <a:close/>
                <a:moveTo>
                  <a:pt x="70" y="188"/>
                </a:moveTo>
                <a:cubicBezTo>
                  <a:pt x="69" y="188"/>
                  <a:pt x="70" y="188"/>
                  <a:pt x="69" y="188"/>
                </a:cubicBezTo>
                <a:cubicBezTo>
                  <a:pt x="69" y="189"/>
                  <a:pt x="67" y="189"/>
                  <a:pt x="68" y="190"/>
                </a:cubicBezTo>
                <a:cubicBezTo>
                  <a:pt x="68" y="189"/>
                  <a:pt x="70" y="190"/>
                  <a:pt x="70" y="188"/>
                </a:cubicBezTo>
                <a:cubicBezTo>
                  <a:pt x="70" y="188"/>
                  <a:pt x="70" y="188"/>
                  <a:pt x="70" y="188"/>
                </a:cubicBezTo>
                <a:close/>
                <a:moveTo>
                  <a:pt x="66" y="185"/>
                </a:moveTo>
                <a:cubicBezTo>
                  <a:pt x="65" y="185"/>
                  <a:pt x="65" y="185"/>
                  <a:pt x="66" y="186"/>
                </a:cubicBezTo>
                <a:cubicBezTo>
                  <a:pt x="66" y="185"/>
                  <a:pt x="66" y="184"/>
                  <a:pt x="66" y="185"/>
                </a:cubicBezTo>
                <a:close/>
                <a:moveTo>
                  <a:pt x="79" y="199"/>
                </a:moveTo>
                <a:cubicBezTo>
                  <a:pt x="80" y="199"/>
                  <a:pt x="81" y="198"/>
                  <a:pt x="81" y="198"/>
                </a:cubicBezTo>
                <a:cubicBezTo>
                  <a:pt x="80" y="198"/>
                  <a:pt x="79" y="199"/>
                  <a:pt x="79" y="199"/>
                </a:cubicBezTo>
                <a:close/>
                <a:moveTo>
                  <a:pt x="84" y="202"/>
                </a:moveTo>
                <a:cubicBezTo>
                  <a:pt x="85" y="202"/>
                  <a:pt x="85" y="201"/>
                  <a:pt x="85" y="201"/>
                </a:cubicBezTo>
                <a:cubicBezTo>
                  <a:pt x="84" y="201"/>
                  <a:pt x="84" y="202"/>
                  <a:pt x="84" y="202"/>
                </a:cubicBezTo>
                <a:close/>
                <a:moveTo>
                  <a:pt x="58" y="182"/>
                </a:moveTo>
                <a:cubicBezTo>
                  <a:pt x="58" y="183"/>
                  <a:pt x="60" y="181"/>
                  <a:pt x="59" y="181"/>
                </a:cubicBezTo>
                <a:cubicBezTo>
                  <a:pt x="59" y="181"/>
                  <a:pt x="57" y="182"/>
                  <a:pt x="58" y="182"/>
                </a:cubicBezTo>
                <a:close/>
                <a:moveTo>
                  <a:pt x="76" y="197"/>
                </a:moveTo>
                <a:cubicBezTo>
                  <a:pt x="77" y="198"/>
                  <a:pt x="78" y="196"/>
                  <a:pt x="77" y="197"/>
                </a:cubicBezTo>
                <a:cubicBezTo>
                  <a:pt x="77" y="197"/>
                  <a:pt x="76" y="197"/>
                  <a:pt x="76" y="197"/>
                </a:cubicBezTo>
                <a:close/>
                <a:moveTo>
                  <a:pt x="68" y="191"/>
                </a:moveTo>
                <a:cubicBezTo>
                  <a:pt x="68" y="191"/>
                  <a:pt x="68" y="191"/>
                  <a:pt x="69" y="191"/>
                </a:cubicBezTo>
                <a:cubicBezTo>
                  <a:pt x="68" y="191"/>
                  <a:pt x="69" y="190"/>
                  <a:pt x="69" y="190"/>
                </a:cubicBezTo>
                <a:cubicBezTo>
                  <a:pt x="68" y="190"/>
                  <a:pt x="68" y="191"/>
                  <a:pt x="68" y="191"/>
                </a:cubicBezTo>
                <a:close/>
                <a:moveTo>
                  <a:pt x="69" y="194"/>
                </a:moveTo>
                <a:cubicBezTo>
                  <a:pt x="70" y="195"/>
                  <a:pt x="70" y="194"/>
                  <a:pt x="71" y="194"/>
                </a:cubicBezTo>
                <a:cubicBezTo>
                  <a:pt x="70" y="193"/>
                  <a:pt x="71" y="193"/>
                  <a:pt x="70" y="193"/>
                </a:cubicBezTo>
                <a:cubicBezTo>
                  <a:pt x="70" y="193"/>
                  <a:pt x="70" y="194"/>
                  <a:pt x="69" y="194"/>
                </a:cubicBezTo>
                <a:close/>
                <a:moveTo>
                  <a:pt x="64" y="195"/>
                </a:moveTo>
                <a:cubicBezTo>
                  <a:pt x="64" y="194"/>
                  <a:pt x="64" y="195"/>
                  <a:pt x="64" y="194"/>
                </a:cubicBezTo>
                <a:cubicBezTo>
                  <a:pt x="65" y="193"/>
                  <a:pt x="65" y="191"/>
                  <a:pt x="67" y="190"/>
                </a:cubicBezTo>
                <a:cubicBezTo>
                  <a:pt x="67" y="191"/>
                  <a:pt x="67" y="192"/>
                  <a:pt x="68" y="191"/>
                </a:cubicBezTo>
                <a:cubicBezTo>
                  <a:pt x="67" y="193"/>
                  <a:pt x="66" y="194"/>
                  <a:pt x="65" y="195"/>
                </a:cubicBezTo>
                <a:cubicBezTo>
                  <a:pt x="65" y="194"/>
                  <a:pt x="66" y="194"/>
                  <a:pt x="66" y="193"/>
                </a:cubicBezTo>
                <a:cubicBezTo>
                  <a:pt x="65" y="192"/>
                  <a:pt x="65" y="195"/>
                  <a:pt x="64" y="195"/>
                </a:cubicBezTo>
                <a:cubicBezTo>
                  <a:pt x="64" y="195"/>
                  <a:pt x="64" y="195"/>
                  <a:pt x="64" y="195"/>
                </a:cubicBezTo>
                <a:close/>
                <a:moveTo>
                  <a:pt x="66" y="192"/>
                </a:moveTo>
                <a:cubicBezTo>
                  <a:pt x="66" y="192"/>
                  <a:pt x="68" y="192"/>
                  <a:pt x="67" y="191"/>
                </a:cubicBezTo>
                <a:cubicBezTo>
                  <a:pt x="67" y="192"/>
                  <a:pt x="66" y="192"/>
                  <a:pt x="66" y="192"/>
                </a:cubicBezTo>
                <a:close/>
                <a:moveTo>
                  <a:pt x="68" y="196"/>
                </a:moveTo>
                <a:cubicBezTo>
                  <a:pt x="69" y="196"/>
                  <a:pt x="69" y="195"/>
                  <a:pt x="69" y="195"/>
                </a:cubicBezTo>
                <a:cubicBezTo>
                  <a:pt x="69" y="195"/>
                  <a:pt x="68" y="196"/>
                  <a:pt x="68" y="196"/>
                </a:cubicBezTo>
                <a:close/>
                <a:moveTo>
                  <a:pt x="81" y="205"/>
                </a:moveTo>
                <a:cubicBezTo>
                  <a:pt x="81" y="206"/>
                  <a:pt x="80" y="206"/>
                  <a:pt x="80" y="207"/>
                </a:cubicBezTo>
                <a:cubicBezTo>
                  <a:pt x="81" y="207"/>
                  <a:pt x="81" y="206"/>
                  <a:pt x="81" y="205"/>
                </a:cubicBezTo>
                <a:close/>
                <a:moveTo>
                  <a:pt x="85" y="210"/>
                </a:moveTo>
                <a:cubicBezTo>
                  <a:pt x="85" y="211"/>
                  <a:pt x="84" y="211"/>
                  <a:pt x="84" y="213"/>
                </a:cubicBezTo>
                <a:cubicBezTo>
                  <a:pt x="84" y="212"/>
                  <a:pt x="87" y="210"/>
                  <a:pt x="86" y="210"/>
                </a:cubicBezTo>
                <a:cubicBezTo>
                  <a:pt x="86" y="210"/>
                  <a:pt x="85" y="210"/>
                  <a:pt x="85" y="210"/>
                </a:cubicBezTo>
                <a:close/>
                <a:moveTo>
                  <a:pt x="81" y="210"/>
                </a:moveTo>
                <a:cubicBezTo>
                  <a:pt x="82" y="210"/>
                  <a:pt x="83" y="209"/>
                  <a:pt x="83" y="207"/>
                </a:cubicBezTo>
                <a:cubicBezTo>
                  <a:pt x="82" y="208"/>
                  <a:pt x="81" y="209"/>
                  <a:pt x="81" y="210"/>
                </a:cubicBezTo>
                <a:close/>
                <a:moveTo>
                  <a:pt x="67" y="196"/>
                </a:moveTo>
                <a:cubicBezTo>
                  <a:pt x="67" y="195"/>
                  <a:pt x="67" y="195"/>
                  <a:pt x="67" y="195"/>
                </a:cubicBezTo>
                <a:cubicBezTo>
                  <a:pt x="66" y="194"/>
                  <a:pt x="67" y="195"/>
                  <a:pt x="67" y="196"/>
                </a:cubicBezTo>
                <a:close/>
                <a:moveTo>
                  <a:pt x="54" y="186"/>
                </a:moveTo>
                <a:cubicBezTo>
                  <a:pt x="55" y="186"/>
                  <a:pt x="55" y="186"/>
                  <a:pt x="55" y="186"/>
                </a:cubicBezTo>
                <a:cubicBezTo>
                  <a:pt x="55" y="186"/>
                  <a:pt x="55" y="187"/>
                  <a:pt x="55" y="187"/>
                </a:cubicBezTo>
                <a:cubicBezTo>
                  <a:pt x="56" y="186"/>
                  <a:pt x="55" y="186"/>
                  <a:pt x="55" y="186"/>
                </a:cubicBezTo>
                <a:cubicBezTo>
                  <a:pt x="55" y="185"/>
                  <a:pt x="55" y="186"/>
                  <a:pt x="54" y="186"/>
                </a:cubicBezTo>
                <a:cubicBezTo>
                  <a:pt x="54" y="186"/>
                  <a:pt x="54" y="186"/>
                  <a:pt x="54" y="186"/>
                </a:cubicBezTo>
                <a:close/>
                <a:moveTo>
                  <a:pt x="63" y="194"/>
                </a:moveTo>
                <a:cubicBezTo>
                  <a:pt x="63" y="194"/>
                  <a:pt x="64" y="194"/>
                  <a:pt x="64" y="193"/>
                </a:cubicBezTo>
                <a:cubicBezTo>
                  <a:pt x="63" y="193"/>
                  <a:pt x="62" y="194"/>
                  <a:pt x="63" y="194"/>
                </a:cubicBezTo>
                <a:close/>
                <a:moveTo>
                  <a:pt x="68" y="198"/>
                </a:moveTo>
                <a:cubicBezTo>
                  <a:pt x="68" y="197"/>
                  <a:pt x="68" y="197"/>
                  <a:pt x="68" y="197"/>
                </a:cubicBezTo>
                <a:cubicBezTo>
                  <a:pt x="68" y="197"/>
                  <a:pt x="67" y="198"/>
                  <a:pt x="68" y="198"/>
                </a:cubicBezTo>
                <a:close/>
                <a:moveTo>
                  <a:pt x="68" y="200"/>
                </a:moveTo>
                <a:cubicBezTo>
                  <a:pt x="69" y="201"/>
                  <a:pt x="69" y="200"/>
                  <a:pt x="70" y="200"/>
                </a:cubicBezTo>
                <a:cubicBezTo>
                  <a:pt x="70" y="200"/>
                  <a:pt x="70" y="199"/>
                  <a:pt x="70" y="199"/>
                </a:cubicBezTo>
                <a:cubicBezTo>
                  <a:pt x="70" y="199"/>
                  <a:pt x="70" y="199"/>
                  <a:pt x="70" y="198"/>
                </a:cubicBezTo>
                <a:cubicBezTo>
                  <a:pt x="69" y="199"/>
                  <a:pt x="69" y="200"/>
                  <a:pt x="68" y="200"/>
                </a:cubicBezTo>
                <a:close/>
                <a:moveTo>
                  <a:pt x="53" y="186"/>
                </a:moveTo>
                <a:cubicBezTo>
                  <a:pt x="53" y="185"/>
                  <a:pt x="54" y="185"/>
                  <a:pt x="53" y="184"/>
                </a:cubicBezTo>
                <a:cubicBezTo>
                  <a:pt x="53" y="184"/>
                  <a:pt x="53" y="185"/>
                  <a:pt x="53" y="186"/>
                </a:cubicBezTo>
                <a:close/>
                <a:moveTo>
                  <a:pt x="66" y="197"/>
                </a:moveTo>
                <a:cubicBezTo>
                  <a:pt x="67" y="196"/>
                  <a:pt x="66" y="197"/>
                  <a:pt x="66" y="196"/>
                </a:cubicBezTo>
                <a:cubicBezTo>
                  <a:pt x="66" y="196"/>
                  <a:pt x="66" y="197"/>
                  <a:pt x="66" y="197"/>
                </a:cubicBezTo>
                <a:close/>
                <a:moveTo>
                  <a:pt x="71" y="202"/>
                </a:moveTo>
                <a:cubicBezTo>
                  <a:pt x="71" y="202"/>
                  <a:pt x="72" y="202"/>
                  <a:pt x="72" y="201"/>
                </a:cubicBezTo>
                <a:cubicBezTo>
                  <a:pt x="71" y="201"/>
                  <a:pt x="70" y="202"/>
                  <a:pt x="71" y="202"/>
                </a:cubicBezTo>
                <a:close/>
                <a:moveTo>
                  <a:pt x="60" y="193"/>
                </a:moveTo>
                <a:cubicBezTo>
                  <a:pt x="61" y="193"/>
                  <a:pt x="61" y="193"/>
                  <a:pt x="61" y="194"/>
                </a:cubicBezTo>
                <a:cubicBezTo>
                  <a:pt x="61" y="193"/>
                  <a:pt x="61" y="194"/>
                  <a:pt x="61" y="194"/>
                </a:cubicBezTo>
                <a:cubicBezTo>
                  <a:pt x="61" y="194"/>
                  <a:pt x="62" y="193"/>
                  <a:pt x="61" y="193"/>
                </a:cubicBezTo>
                <a:cubicBezTo>
                  <a:pt x="61" y="193"/>
                  <a:pt x="61" y="193"/>
                  <a:pt x="60" y="193"/>
                </a:cubicBezTo>
                <a:close/>
                <a:moveTo>
                  <a:pt x="54" y="191"/>
                </a:moveTo>
                <a:cubicBezTo>
                  <a:pt x="55" y="191"/>
                  <a:pt x="56" y="190"/>
                  <a:pt x="56" y="189"/>
                </a:cubicBezTo>
                <a:cubicBezTo>
                  <a:pt x="55" y="189"/>
                  <a:pt x="54" y="190"/>
                  <a:pt x="54" y="191"/>
                </a:cubicBezTo>
                <a:close/>
                <a:moveTo>
                  <a:pt x="76" y="210"/>
                </a:moveTo>
                <a:cubicBezTo>
                  <a:pt x="77" y="209"/>
                  <a:pt x="78" y="209"/>
                  <a:pt x="78" y="208"/>
                </a:cubicBezTo>
                <a:cubicBezTo>
                  <a:pt x="78" y="208"/>
                  <a:pt x="76" y="210"/>
                  <a:pt x="76" y="210"/>
                </a:cubicBezTo>
                <a:close/>
                <a:moveTo>
                  <a:pt x="75" y="208"/>
                </a:moveTo>
                <a:cubicBezTo>
                  <a:pt x="75" y="208"/>
                  <a:pt x="75" y="208"/>
                  <a:pt x="75" y="208"/>
                </a:cubicBezTo>
                <a:cubicBezTo>
                  <a:pt x="75" y="208"/>
                  <a:pt x="75" y="207"/>
                  <a:pt x="75" y="207"/>
                </a:cubicBezTo>
                <a:cubicBezTo>
                  <a:pt x="75" y="207"/>
                  <a:pt x="75" y="207"/>
                  <a:pt x="75" y="207"/>
                </a:cubicBezTo>
                <a:cubicBezTo>
                  <a:pt x="74" y="207"/>
                  <a:pt x="75" y="207"/>
                  <a:pt x="74" y="208"/>
                </a:cubicBezTo>
                <a:lnTo>
                  <a:pt x="75" y="208"/>
                </a:lnTo>
                <a:close/>
                <a:moveTo>
                  <a:pt x="74" y="206"/>
                </a:moveTo>
                <a:cubicBezTo>
                  <a:pt x="73" y="207"/>
                  <a:pt x="73" y="205"/>
                  <a:pt x="73" y="206"/>
                </a:cubicBezTo>
                <a:cubicBezTo>
                  <a:pt x="73" y="206"/>
                  <a:pt x="72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4" y="207"/>
                  <a:pt x="74" y="206"/>
                  <a:pt x="74" y="206"/>
                </a:cubicBezTo>
                <a:close/>
                <a:moveTo>
                  <a:pt x="50" y="189"/>
                </a:moveTo>
                <a:cubicBezTo>
                  <a:pt x="51" y="190"/>
                  <a:pt x="52" y="189"/>
                  <a:pt x="51" y="188"/>
                </a:cubicBezTo>
                <a:cubicBezTo>
                  <a:pt x="51" y="189"/>
                  <a:pt x="51" y="189"/>
                  <a:pt x="50" y="189"/>
                </a:cubicBezTo>
                <a:close/>
                <a:moveTo>
                  <a:pt x="53" y="192"/>
                </a:moveTo>
                <a:cubicBezTo>
                  <a:pt x="54" y="193"/>
                  <a:pt x="54" y="192"/>
                  <a:pt x="54" y="192"/>
                </a:cubicBezTo>
                <a:cubicBezTo>
                  <a:pt x="54" y="192"/>
                  <a:pt x="54" y="191"/>
                  <a:pt x="54" y="191"/>
                </a:cubicBezTo>
                <a:lnTo>
                  <a:pt x="53" y="192"/>
                </a:lnTo>
                <a:close/>
                <a:moveTo>
                  <a:pt x="73" y="209"/>
                </a:moveTo>
                <a:cubicBezTo>
                  <a:pt x="73" y="209"/>
                  <a:pt x="73" y="210"/>
                  <a:pt x="73" y="209"/>
                </a:cubicBezTo>
                <a:cubicBezTo>
                  <a:pt x="73" y="209"/>
                  <a:pt x="74" y="210"/>
                  <a:pt x="74" y="209"/>
                </a:cubicBezTo>
                <a:cubicBezTo>
                  <a:pt x="74" y="209"/>
                  <a:pt x="74" y="208"/>
                  <a:pt x="74" y="208"/>
                </a:cubicBezTo>
                <a:cubicBezTo>
                  <a:pt x="73" y="209"/>
                  <a:pt x="73" y="208"/>
                  <a:pt x="73" y="208"/>
                </a:cubicBezTo>
                <a:cubicBezTo>
                  <a:pt x="73" y="208"/>
                  <a:pt x="73" y="209"/>
                  <a:pt x="73" y="209"/>
                </a:cubicBezTo>
                <a:cubicBezTo>
                  <a:pt x="73" y="209"/>
                  <a:pt x="73" y="209"/>
                  <a:pt x="73" y="209"/>
                </a:cubicBezTo>
                <a:close/>
                <a:moveTo>
                  <a:pt x="49" y="190"/>
                </a:moveTo>
                <a:cubicBezTo>
                  <a:pt x="49" y="190"/>
                  <a:pt x="50" y="189"/>
                  <a:pt x="50" y="189"/>
                </a:cubicBezTo>
                <a:cubicBezTo>
                  <a:pt x="50" y="189"/>
                  <a:pt x="49" y="190"/>
                  <a:pt x="49" y="190"/>
                </a:cubicBezTo>
                <a:close/>
                <a:moveTo>
                  <a:pt x="52" y="194"/>
                </a:moveTo>
                <a:cubicBezTo>
                  <a:pt x="53" y="194"/>
                  <a:pt x="54" y="193"/>
                  <a:pt x="53" y="192"/>
                </a:cubicBezTo>
                <a:cubicBezTo>
                  <a:pt x="53" y="193"/>
                  <a:pt x="52" y="193"/>
                  <a:pt x="52" y="194"/>
                </a:cubicBezTo>
                <a:close/>
                <a:moveTo>
                  <a:pt x="66" y="205"/>
                </a:moveTo>
                <a:cubicBezTo>
                  <a:pt x="66" y="205"/>
                  <a:pt x="67" y="204"/>
                  <a:pt x="67" y="204"/>
                </a:cubicBezTo>
                <a:cubicBezTo>
                  <a:pt x="67" y="204"/>
                  <a:pt x="67" y="204"/>
                  <a:pt x="67" y="204"/>
                </a:cubicBezTo>
                <a:cubicBezTo>
                  <a:pt x="67" y="204"/>
                  <a:pt x="66" y="205"/>
                  <a:pt x="66" y="205"/>
                </a:cubicBezTo>
                <a:close/>
                <a:moveTo>
                  <a:pt x="58" y="198"/>
                </a:moveTo>
                <a:cubicBezTo>
                  <a:pt x="57" y="198"/>
                  <a:pt x="57" y="197"/>
                  <a:pt x="57" y="197"/>
                </a:cubicBezTo>
                <a:cubicBezTo>
                  <a:pt x="56" y="197"/>
                  <a:pt x="57" y="198"/>
                  <a:pt x="58" y="198"/>
                </a:cubicBezTo>
                <a:close/>
                <a:moveTo>
                  <a:pt x="50" y="197"/>
                </a:moveTo>
                <a:cubicBezTo>
                  <a:pt x="51" y="196"/>
                  <a:pt x="51" y="195"/>
                  <a:pt x="52" y="195"/>
                </a:cubicBezTo>
                <a:cubicBezTo>
                  <a:pt x="52" y="194"/>
                  <a:pt x="52" y="194"/>
                  <a:pt x="52" y="194"/>
                </a:cubicBezTo>
                <a:cubicBezTo>
                  <a:pt x="51" y="195"/>
                  <a:pt x="50" y="196"/>
                  <a:pt x="50" y="197"/>
                </a:cubicBezTo>
                <a:close/>
                <a:moveTo>
                  <a:pt x="79" y="218"/>
                </a:moveTo>
                <a:cubicBezTo>
                  <a:pt x="80" y="219"/>
                  <a:pt x="80" y="218"/>
                  <a:pt x="80" y="218"/>
                </a:cubicBezTo>
                <a:cubicBezTo>
                  <a:pt x="80" y="218"/>
                  <a:pt x="80" y="218"/>
                  <a:pt x="79" y="218"/>
                </a:cubicBezTo>
                <a:close/>
                <a:moveTo>
                  <a:pt x="45" y="192"/>
                </a:moveTo>
                <a:cubicBezTo>
                  <a:pt x="45" y="192"/>
                  <a:pt x="47" y="192"/>
                  <a:pt x="46" y="191"/>
                </a:cubicBezTo>
                <a:cubicBezTo>
                  <a:pt x="46" y="192"/>
                  <a:pt x="45" y="191"/>
                  <a:pt x="45" y="192"/>
                </a:cubicBezTo>
                <a:close/>
                <a:moveTo>
                  <a:pt x="42" y="196"/>
                </a:moveTo>
                <a:cubicBezTo>
                  <a:pt x="44" y="196"/>
                  <a:pt x="43" y="194"/>
                  <a:pt x="45" y="193"/>
                </a:cubicBezTo>
                <a:cubicBezTo>
                  <a:pt x="44" y="193"/>
                  <a:pt x="44" y="193"/>
                  <a:pt x="44" y="193"/>
                </a:cubicBezTo>
                <a:cubicBezTo>
                  <a:pt x="44" y="194"/>
                  <a:pt x="42" y="194"/>
                  <a:pt x="42" y="196"/>
                </a:cubicBezTo>
                <a:close/>
                <a:moveTo>
                  <a:pt x="49" y="199"/>
                </a:moveTo>
                <a:cubicBezTo>
                  <a:pt x="49" y="198"/>
                  <a:pt x="50" y="198"/>
                  <a:pt x="49" y="197"/>
                </a:cubicBezTo>
                <a:cubicBezTo>
                  <a:pt x="49" y="198"/>
                  <a:pt x="48" y="198"/>
                  <a:pt x="49" y="199"/>
                </a:cubicBezTo>
                <a:close/>
                <a:moveTo>
                  <a:pt x="67" y="214"/>
                </a:moveTo>
                <a:cubicBezTo>
                  <a:pt x="67" y="214"/>
                  <a:pt x="66" y="215"/>
                  <a:pt x="67" y="215"/>
                </a:cubicBezTo>
                <a:cubicBezTo>
                  <a:pt x="66" y="214"/>
                  <a:pt x="68" y="214"/>
                  <a:pt x="68" y="214"/>
                </a:cubicBezTo>
                <a:cubicBezTo>
                  <a:pt x="67" y="214"/>
                  <a:pt x="67" y="214"/>
                  <a:pt x="67" y="214"/>
                </a:cubicBezTo>
                <a:close/>
                <a:moveTo>
                  <a:pt x="72" y="224"/>
                </a:moveTo>
                <a:cubicBezTo>
                  <a:pt x="72" y="224"/>
                  <a:pt x="74" y="222"/>
                  <a:pt x="74" y="221"/>
                </a:cubicBezTo>
                <a:cubicBezTo>
                  <a:pt x="74" y="222"/>
                  <a:pt x="72" y="224"/>
                  <a:pt x="72" y="224"/>
                </a:cubicBezTo>
                <a:close/>
                <a:moveTo>
                  <a:pt x="59" y="212"/>
                </a:moveTo>
                <a:cubicBezTo>
                  <a:pt x="59" y="211"/>
                  <a:pt x="61" y="211"/>
                  <a:pt x="61" y="211"/>
                </a:cubicBezTo>
                <a:cubicBezTo>
                  <a:pt x="60" y="211"/>
                  <a:pt x="59" y="211"/>
                  <a:pt x="59" y="212"/>
                </a:cubicBezTo>
                <a:close/>
                <a:moveTo>
                  <a:pt x="71" y="219"/>
                </a:moveTo>
                <a:cubicBezTo>
                  <a:pt x="71" y="219"/>
                  <a:pt x="70" y="219"/>
                  <a:pt x="70" y="218"/>
                </a:cubicBezTo>
                <a:cubicBezTo>
                  <a:pt x="70" y="219"/>
                  <a:pt x="70" y="219"/>
                  <a:pt x="71" y="219"/>
                </a:cubicBezTo>
                <a:close/>
                <a:moveTo>
                  <a:pt x="41" y="197"/>
                </a:moveTo>
                <a:cubicBezTo>
                  <a:pt x="42" y="198"/>
                  <a:pt x="42" y="197"/>
                  <a:pt x="42" y="196"/>
                </a:cubicBezTo>
                <a:cubicBezTo>
                  <a:pt x="42" y="196"/>
                  <a:pt x="42" y="196"/>
                  <a:pt x="41" y="197"/>
                </a:cubicBezTo>
                <a:close/>
                <a:moveTo>
                  <a:pt x="57" y="214"/>
                </a:moveTo>
                <a:cubicBezTo>
                  <a:pt x="57" y="214"/>
                  <a:pt x="57" y="214"/>
                  <a:pt x="57" y="215"/>
                </a:cubicBezTo>
                <a:cubicBezTo>
                  <a:pt x="58" y="214"/>
                  <a:pt x="58" y="214"/>
                  <a:pt x="58" y="213"/>
                </a:cubicBezTo>
                <a:cubicBezTo>
                  <a:pt x="58" y="214"/>
                  <a:pt x="58" y="214"/>
                  <a:pt x="57" y="214"/>
                </a:cubicBezTo>
                <a:close/>
                <a:moveTo>
                  <a:pt x="62" y="219"/>
                </a:moveTo>
                <a:cubicBezTo>
                  <a:pt x="62" y="218"/>
                  <a:pt x="62" y="218"/>
                  <a:pt x="62" y="218"/>
                </a:cubicBezTo>
                <a:cubicBezTo>
                  <a:pt x="61" y="218"/>
                  <a:pt x="61" y="218"/>
                  <a:pt x="62" y="219"/>
                </a:cubicBezTo>
                <a:close/>
                <a:moveTo>
                  <a:pt x="62" y="219"/>
                </a:moveTo>
                <a:cubicBezTo>
                  <a:pt x="62" y="220"/>
                  <a:pt x="63" y="220"/>
                  <a:pt x="63" y="220"/>
                </a:cubicBezTo>
                <a:cubicBezTo>
                  <a:pt x="63" y="220"/>
                  <a:pt x="62" y="219"/>
                  <a:pt x="62" y="219"/>
                </a:cubicBezTo>
                <a:close/>
                <a:moveTo>
                  <a:pt x="43" y="206"/>
                </a:moveTo>
                <a:cubicBezTo>
                  <a:pt x="43" y="205"/>
                  <a:pt x="44" y="204"/>
                  <a:pt x="43" y="204"/>
                </a:cubicBezTo>
                <a:cubicBezTo>
                  <a:pt x="42" y="205"/>
                  <a:pt x="42" y="205"/>
                  <a:pt x="43" y="206"/>
                </a:cubicBezTo>
                <a:close/>
                <a:moveTo>
                  <a:pt x="59" y="218"/>
                </a:moveTo>
                <a:cubicBezTo>
                  <a:pt x="60" y="219"/>
                  <a:pt x="60" y="218"/>
                  <a:pt x="60" y="217"/>
                </a:cubicBezTo>
                <a:cubicBezTo>
                  <a:pt x="60" y="217"/>
                  <a:pt x="59" y="218"/>
                  <a:pt x="59" y="218"/>
                </a:cubicBezTo>
                <a:close/>
                <a:moveTo>
                  <a:pt x="57" y="218"/>
                </a:moveTo>
                <a:cubicBezTo>
                  <a:pt x="57" y="217"/>
                  <a:pt x="58" y="217"/>
                  <a:pt x="58" y="216"/>
                </a:cubicBezTo>
                <a:cubicBezTo>
                  <a:pt x="58" y="216"/>
                  <a:pt x="57" y="217"/>
                  <a:pt x="57" y="218"/>
                </a:cubicBezTo>
                <a:close/>
                <a:moveTo>
                  <a:pt x="64" y="226"/>
                </a:moveTo>
                <a:cubicBezTo>
                  <a:pt x="65" y="225"/>
                  <a:pt x="66" y="225"/>
                  <a:pt x="66" y="224"/>
                </a:cubicBezTo>
                <a:cubicBezTo>
                  <a:pt x="66" y="224"/>
                  <a:pt x="66" y="224"/>
                  <a:pt x="66" y="223"/>
                </a:cubicBezTo>
                <a:cubicBezTo>
                  <a:pt x="65" y="224"/>
                  <a:pt x="64" y="225"/>
                  <a:pt x="64" y="226"/>
                </a:cubicBezTo>
                <a:close/>
                <a:moveTo>
                  <a:pt x="49" y="214"/>
                </a:moveTo>
                <a:cubicBezTo>
                  <a:pt x="50" y="214"/>
                  <a:pt x="51" y="213"/>
                  <a:pt x="51" y="212"/>
                </a:cubicBezTo>
                <a:cubicBezTo>
                  <a:pt x="50" y="213"/>
                  <a:pt x="49" y="213"/>
                  <a:pt x="49" y="214"/>
                </a:cubicBezTo>
                <a:close/>
                <a:moveTo>
                  <a:pt x="57" y="221"/>
                </a:moveTo>
                <a:cubicBezTo>
                  <a:pt x="58" y="220"/>
                  <a:pt x="59" y="220"/>
                  <a:pt x="59" y="219"/>
                </a:cubicBezTo>
                <a:cubicBezTo>
                  <a:pt x="58" y="219"/>
                  <a:pt x="56" y="220"/>
                  <a:pt x="57" y="221"/>
                </a:cubicBezTo>
                <a:close/>
                <a:moveTo>
                  <a:pt x="41" y="208"/>
                </a:moveTo>
                <a:cubicBezTo>
                  <a:pt x="41" y="208"/>
                  <a:pt x="41" y="207"/>
                  <a:pt x="41" y="207"/>
                </a:cubicBezTo>
                <a:cubicBezTo>
                  <a:pt x="41" y="207"/>
                  <a:pt x="40" y="208"/>
                  <a:pt x="41" y="208"/>
                </a:cubicBezTo>
                <a:close/>
                <a:moveTo>
                  <a:pt x="62" y="226"/>
                </a:moveTo>
                <a:cubicBezTo>
                  <a:pt x="62" y="225"/>
                  <a:pt x="63" y="225"/>
                  <a:pt x="62" y="224"/>
                </a:cubicBezTo>
                <a:cubicBezTo>
                  <a:pt x="62" y="225"/>
                  <a:pt x="61" y="225"/>
                  <a:pt x="62" y="226"/>
                </a:cubicBezTo>
                <a:close/>
                <a:moveTo>
                  <a:pt x="53" y="219"/>
                </a:moveTo>
                <a:cubicBezTo>
                  <a:pt x="54" y="219"/>
                  <a:pt x="54" y="220"/>
                  <a:pt x="55" y="219"/>
                </a:cubicBezTo>
                <a:cubicBezTo>
                  <a:pt x="54" y="219"/>
                  <a:pt x="54" y="218"/>
                  <a:pt x="53" y="219"/>
                </a:cubicBezTo>
                <a:close/>
                <a:moveTo>
                  <a:pt x="68" y="232"/>
                </a:moveTo>
                <a:cubicBezTo>
                  <a:pt x="69" y="233"/>
                  <a:pt x="70" y="231"/>
                  <a:pt x="69" y="231"/>
                </a:cubicBezTo>
                <a:cubicBezTo>
                  <a:pt x="69" y="231"/>
                  <a:pt x="69" y="232"/>
                  <a:pt x="68" y="232"/>
                </a:cubicBezTo>
                <a:close/>
                <a:moveTo>
                  <a:pt x="55" y="224"/>
                </a:moveTo>
                <a:cubicBezTo>
                  <a:pt x="56" y="223"/>
                  <a:pt x="57" y="222"/>
                  <a:pt x="57" y="221"/>
                </a:cubicBezTo>
                <a:cubicBezTo>
                  <a:pt x="56" y="222"/>
                  <a:pt x="56" y="223"/>
                  <a:pt x="55" y="224"/>
                </a:cubicBezTo>
                <a:close/>
                <a:moveTo>
                  <a:pt x="62" y="228"/>
                </a:moveTo>
                <a:cubicBezTo>
                  <a:pt x="63" y="228"/>
                  <a:pt x="63" y="228"/>
                  <a:pt x="64" y="228"/>
                </a:cubicBezTo>
                <a:cubicBezTo>
                  <a:pt x="63" y="227"/>
                  <a:pt x="64" y="227"/>
                  <a:pt x="63" y="226"/>
                </a:cubicBezTo>
                <a:cubicBezTo>
                  <a:pt x="63" y="227"/>
                  <a:pt x="62" y="228"/>
                  <a:pt x="62" y="228"/>
                </a:cubicBezTo>
                <a:close/>
                <a:moveTo>
                  <a:pt x="53" y="220"/>
                </a:moveTo>
                <a:cubicBezTo>
                  <a:pt x="53" y="220"/>
                  <a:pt x="54" y="219"/>
                  <a:pt x="53" y="219"/>
                </a:cubicBezTo>
                <a:cubicBezTo>
                  <a:pt x="52" y="221"/>
                  <a:pt x="51" y="222"/>
                  <a:pt x="53" y="220"/>
                </a:cubicBezTo>
                <a:close/>
                <a:moveTo>
                  <a:pt x="47" y="216"/>
                </a:moveTo>
                <a:cubicBezTo>
                  <a:pt x="47" y="217"/>
                  <a:pt x="46" y="217"/>
                  <a:pt x="47" y="218"/>
                </a:cubicBezTo>
                <a:cubicBezTo>
                  <a:pt x="47" y="217"/>
                  <a:pt x="47" y="217"/>
                  <a:pt x="48" y="217"/>
                </a:cubicBezTo>
                <a:cubicBezTo>
                  <a:pt x="48" y="216"/>
                  <a:pt x="48" y="216"/>
                  <a:pt x="47" y="216"/>
                </a:cubicBezTo>
                <a:close/>
                <a:moveTo>
                  <a:pt x="59" y="227"/>
                </a:moveTo>
                <a:cubicBezTo>
                  <a:pt x="59" y="227"/>
                  <a:pt x="59" y="227"/>
                  <a:pt x="59" y="228"/>
                </a:cubicBezTo>
                <a:cubicBezTo>
                  <a:pt x="59" y="227"/>
                  <a:pt x="60" y="227"/>
                  <a:pt x="60" y="226"/>
                </a:cubicBezTo>
                <a:cubicBezTo>
                  <a:pt x="60" y="227"/>
                  <a:pt x="59" y="226"/>
                  <a:pt x="59" y="227"/>
                </a:cubicBezTo>
                <a:close/>
                <a:moveTo>
                  <a:pt x="57" y="227"/>
                </a:moveTo>
                <a:cubicBezTo>
                  <a:pt x="57" y="227"/>
                  <a:pt x="59" y="226"/>
                  <a:pt x="58" y="226"/>
                </a:cubicBezTo>
                <a:cubicBezTo>
                  <a:pt x="58" y="226"/>
                  <a:pt x="57" y="226"/>
                  <a:pt x="57" y="227"/>
                </a:cubicBezTo>
                <a:close/>
                <a:moveTo>
                  <a:pt x="51" y="223"/>
                </a:moveTo>
                <a:cubicBezTo>
                  <a:pt x="51" y="222"/>
                  <a:pt x="52" y="222"/>
                  <a:pt x="52" y="221"/>
                </a:cubicBezTo>
                <a:cubicBezTo>
                  <a:pt x="51" y="222"/>
                  <a:pt x="51" y="222"/>
                  <a:pt x="51" y="223"/>
                </a:cubicBezTo>
                <a:close/>
                <a:moveTo>
                  <a:pt x="33" y="211"/>
                </a:moveTo>
                <a:cubicBezTo>
                  <a:pt x="34" y="212"/>
                  <a:pt x="35" y="210"/>
                  <a:pt x="35" y="209"/>
                </a:cubicBezTo>
                <a:cubicBezTo>
                  <a:pt x="34" y="210"/>
                  <a:pt x="34" y="211"/>
                  <a:pt x="33" y="211"/>
                </a:cubicBezTo>
                <a:close/>
                <a:moveTo>
                  <a:pt x="40" y="214"/>
                </a:moveTo>
                <a:cubicBezTo>
                  <a:pt x="40" y="214"/>
                  <a:pt x="41" y="214"/>
                  <a:pt x="40" y="213"/>
                </a:cubicBezTo>
                <a:cubicBezTo>
                  <a:pt x="40" y="213"/>
                  <a:pt x="39" y="214"/>
                  <a:pt x="40" y="214"/>
                </a:cubicBezTo>
                <a:close/>
                <a:moveTo>
                  <a:pt x="35" y="215"/>
                </a:moveTo>
                <a:cubicBezTo>
                  <a:pt x="36" y="215"/>
                  <a:pt x="37" y="214"/>
                  <a:pt x="37" y="213"/>
                </a:cubicBezTo>
                <a:cubicBezTo>
                  <a:pt x="36" y="214"/>
                  <a:pt x="35" y="215"/>
                  <a:pt x="35" y="215"/>
                </a:cubicBezTo>
                <a:close/>
                <a:moveTo>
                  <a:pt x="48" y="223"/>
                </a:moveTo>
                <a:cubicBezTo>
                  <a:pt x="49" y="223"/>
                  <a:pt x="49" y="222"/>
                  <a:pt x="48" y="222"/>
                </a:cubicBezTo>
                <a:cubicBezTo>
                  <a:pt x="48" y="222"/>
                  <a:pt x="48" y="223"/>
                  <a:pt x="48" y="223"/>
                </a:cubicBezTo>
                <a:close/>
                <a:moveTo>
                  <a:pt x="38" y="217"/>
                </a:moveTo>
                <a:cubicBezTo>
                  <a:pt x="38" y="217"/>
                  <a:pt x="39" y="216"/>
                  <a:pt x="39" y="215"/>
                </a:cubicBezTo>
                <a:lnTo>
                  <a:pt x="38" y="217"/>
                </a:lnTo>
                <a:close/>
                <a:moveTo>
                  <a:pt x="43" y="223"/>
                </a:moveTo>
                <a:cubicBezTo>
                  <a:pt x="43" y="223"/>
                  <a:pt x="45" y="222"/>
                  <a:pt x="44" y="221"/>
                </a:cubicBezTo>
                <a:cubicBezTo>
                  <a:pt x="44" y="222"/>
                  <a:pt x="42" y="223"/>
                  <a:pt x="43" y="223"/>
                </a:cubicBezTo>
                <a:close/>
                <a:moveTo>
                  <a:pt x="62" y="237"/>
                </a:moveTo>
                <a:cubicBezTo>
                  <a:pt x="62" y="237"/>
                  <a:pt x="63" y="236"/>
                  <a:pt x="62" y="235"/>
                </a:cubicBezTo>
                <a:cubicBezTo>
                  <a:pt x="62" y="236"/>
                  <a:pt x="61" y="237"/>
                  <a:pt x="62" y="237"/>
                </a:cubicBezTo>
                <a:close/>
                <a:moveTo>
                  <a:pt x="30" y="213"/>
                </a:moveTo>
                <a:cubicBezTo>
                  <a:pt x="30" y="212"/>
                  <a:pt x="31" y="212"/>
                  <a:pt x="30" y="211"/>
                </a:cubicBezTo>
                <a:cubicBezTo>
                  <a:pt x="30" y="212"/>
                  <a:pt x="29" y="212"/>
                  <a:pt x="30" y="213"/>
                </a:cubicBezTo>
                <a:close/>
                <a:moveTo>
                  <a:pt x="49" y="228"/>
                </a:moveTo>
                <a:cubicBezTo>
                  <a:pt x="50" y="229"/>
                  <a:pt x="50" y="227"/>
                  <a:pt x="50" y="228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0" y="228"/>
                  <a:pt x="49" y="227"/>
                  <a:pt x="49" y="228"/>
                </a:cubicBezTo>
                <a:close/>
                <a:moveTo>
                  <a:pt x="44" y="225"/>
                </a:moveTo>
                <a:cubicBezTo>
                  <a:pt x="44" y="224"/>
                  <a:pt x="45" y="224"/>
                  <a:pt x="44" y="223"/>
                </a:cubicBezTo>
                <a:cubicBezTo>
                  <a:pt x="44" y="224"/>
                  <a:pt x="44" y="224"/>
                  <a:pt x="44" y="225"/>
                </a:cubicBezTo>
                <a:close/>
                <a:moveTo>
                  <a:pt x="64" y="238"/>
                </a:moveTo>
                <a:cubicBezTo>
                  <a:pt x="63" y="238"/>
                  <a:pt x="63" y="239"/>
                  <a:pt x="63" y="239"/>
                </a:cubicBezTo>
                <a:cubicBezTo>
                  <a:pt x="64" y="239"/>
                  <a:pt x="64" y="239"/>
                  <a:pt x="64" y="238"/>
                </a:cubicBezTo>
                <a:close/>
                <a:moveTo>
                  <a:pt x="29" y="217"/>
                </a:moveTo>
                <a:cubicBezTo>
                  <a:pt x="30" y="217"/>
                  <a:pt x="30" y="216"/>
                  <a:pt x="30" y="215"/>
                </a:cubicBezTo>
                <a:cubicBezTo>
                  <a:pt x="30" y="216"/>
                  <a:pt x="29" y="216"/>
                  <a:pt x="29" y="217"/>
                </a:cubicBezTo>
                <a:close/>
                <a:moveTo>
                  <a:pt x="55" y="237"/>
                </a:moveTo>
                <a:cubicBezTo>
                  <a:pt x="55" y="236"/>
                  <a:pt x="56" y="236"/>
                  <a:pt x="56" y="235"/>
                </a:cubicBezTo>
                <a:cubicBezTo>
                  <a:pt x="55" y="235"/>
                  <a:pt x="55" y="236"/>
                  <a:pt x="55" y="237"/>
                </a:cubicBezTo>
                <a:close/>
                <a:moveTo>
                  <a:pt x="47" y="231"/>
                </a:moveTo>
                <a:cubicBezTo>
                  <a:pt x="47" y="232"/>
                  <a:pt x="48" y="230"/>
                  <a:pt x="48" y="230"/>
                </a:cubicBezTo>
                <a:cubicBezTo>
                  <a:pt x="47" y="230"/>
                  <a:pt x="47" y="230"/>
                  <a:pt x="47" y="231"/>
                </a:cubicBezTo>
                <a:close/>
                <a:moveTo>
                  <a:pt x="61" y="240"/>
                </a:moveTo>
                <a:cubicBezTo>
                  <a:pt x="62" y="240"/>
                  <a:pt x="61" y="240"/>
                  <a:pt x="61" y="239"/>
                </a:cubicBezTo>
                <a:cubicBezTo>
                  <a:pt x="61" y="240"/>
                  <a:pt x="61" y="240"/>
                  <a:pt x="61" y="240"/>
                </a:cubicBezTo>
                <a:close/>
                <a:moveTo>
                  <a:pt x="34" y="223"/>
                </a:moveTo>
                <a:cubicBezTo>
                  <a:pt x="34" y="222"/>
                  <a:pt x="35" y="222"/>
                  <a:pt x="35" y="221"/>
                </a:cubicBezTo>
                <a:cubicBezTo>
                  <a:pt x="34" y="221"/>
                  <a:pt x="33" y="222"/>
                  <a:pt x="34" y="223"/>
                </a:cubicBezTo>
                <a:close/>
                <a:moveTo>
                  <a:pt x="26" y="217"/>
                </a:moveTo>
                <a:cubicBezTo>
                  <a:pt x="26" y="217"/>
                  <a:pt x="27" y="217"/>
                  <a:pt x="26" y="216"/>
                </a:cubicBezTo>
                <a:cubicBezTo>
                  <a:pt x="26" y="217"/>
                  <a:pt x="26" y="217"/>
                  <a:pt x="26" y="217"/>
                </a:cubicBezTo>
                <a:close/>
                <a:moveTo>
                  <a:pt x="32" y="222"/>
                </a:moveTo>
                <a:cubicBezTo>
                  <a:pt x="33" y="222"/>
                  <a:pt x="33" y="222"/>
                  <a:pt x="33" y="221"/>
                </a:cubicBezTo>
                <a:cubicBezTo>
                  <a:pt x="32" y="221"/>
                  <a:pt x="32" y="222"/>
                  <a:pt x="32" y="222"/>
                </a:cubicBezTo>
                <a:close/>
                <a:moveTo>
                  <a:pt x="27" y="218"/>
                </a:moveTo>
                <a:cubicBezTo>
                  <a:pt x="27" y="219"/>
                  <a:pt x="26" y="220"/>
                  <a:pt x="27" y="221"/>
                </a:cubicBezTo>
                <a:cubicBezTo>
                  <a:pt x="27" y="220"/>
                  <a:pt x="27" y="220"/>
                  <a:pt x="28" y="219"/>
                </a:cubicBezTo>
                <a:cubicBezTo>
                  <a:pt x="28" y="219"/>
                  <a:pt x="28" y="218"/>
                  <a:pt x="27" y="218"/>
                </a:cubicBezTo>
                <a:close/>
                <a:moveTo>
                  <a:pt x="32" y="225"/>
                </a:moveTo>
                <a:cubicBezTo>
                  <a:pt x="33" y="224"/>
                  <a:pt x="33" y="224"/>
                  <a:pt x="34" y="223"/>
                </a:cubicBezTo>
                <a:cubicBezTo>
                  <a:pt x="33" y="223"/>
                  <a:pt x="33" y="223"/>
                  <a:pt x="33" y="223"/>
                </a:cubicBezTo>
                <a:cubicBezTo>
                  <a:pt x="32" y="223"/>
                  <a:pt x="32" y="224"/>
                  <a:pt x="32" y="225"/>
                </a:cubicBezTo>
                <a:close/>
                <a:moveTo>
                  <a:pt x="23" y="221"/>
                </a:moveTo>
                <a:cubicBezTo>
                  <a:pt x="24" y="220"/>
                  <a:pt x="25" y="219"/>
                  <a:pt x="26" y="217"/>
                </a:cubicBezTo>
                <a:cubicBezTo>
                  <a:pt x="25" y="219"/>
                  <a:pt x="24" y="220"/>
                  <a:pt x="23" y="221"/>
                </a:cubicBezTo>
                <a:close/>
                <a:moveTo>
                  <a:pt x="57" y="242"/>
                </a:moveTo>
                <a:cubicBezTo>
                  <a:pt x="58" y="243"/>
                  <a:pt x="58" y="243"/>
                  <a:pt x="58" y="243"/>
                </a:cubicBezTo>
                <a:cubicBezTo>
                  <a:pt x="59" y="243"/>
                  <a:pt x="58" y="242"/>
                  <a:pt x="58" y="241"/>
                </a:cubicBezTo>
                <a:lnTo>
                  <a:pt x="57" y="242"/>
                </a:lnTo>
                <a:close/>
                <a:moveTo>
                  <a:pt x="25" y="220"/>
                </a:moveTo>
                <a:cubicBezTo>
                  <a:pt x="26" y="220"/>
                  <a:pt x="26" y="219"/>
                  <a:pt x="26" y="218"/>
                </a:cubicBezTo>
                <a:cubicBezTo>
                  <a:pt x="26" y="218"/>
                  <a:pt x="25" y="219"/>
                  <a:pt x="25" y="220"/>
                </a:cubicBezTo>
                <a:close/>
                <a:moveTo>
                  <a:pt x="44" y="234"/>
                </a:moveTo>
                <a:cubicBezTo>
                  <a:pt x="44" y="234"/>
                  <a:pt x="45" y="233"/>
                  <a:pt x="45" y="233"/>
                </a:cubicBezTo>
                <a:cubicBezTo>
                  <a:pt x="44" y="233"/>
                  <a:pt x="43" y="233"/>
                  <a:pt x="44" y="234"/>
                </a:cubicBezTo>
                <a:close/>
                <a:moveTo>
                  <a:pt x="49" y="243"/>
                </a:moveTo>
                <a:cubicBezTo>
                  <a:pt x="50" y="242"/>
                  <a:pt x="52" y="240"/>
                  <a:pt x="52" y="239"/>
                </a:cubicBezTo>
                <a:cubicBezTo>
                  <a:pt x="51" y="241"/>
                  <a:pt x="49" y="241"/>
                  <a:pt x="49" y="243"/>
                </a:cubicBezTo>
                <a:close/>
                <a:moveTo>
                  <a:pt x="31" y="225"/>
                </a:moveTo>
                <a:cubicBezTo>
                  <a:pt x="32" y="225"/>
                  <a:pt x="31" y="226"/>
                  <a:pt x="31" y="226"/>
                </a:cubicBezTo>
                <a:cubicBezTo>
                  <a:pt x="32" y="226"/>
                  <a:pt x="32" y="226"/>
                  <a:pt x="32" y="225"/>
                </a:cubicBezTo>
                <a:cubicBezTo>
                  <a:pt x="32" y="225"/>
                  <a:pt x="32" y="225"/>
                  <a:pt x="31" y="225"/>
                </a:cubicBezTo>
                <a:close/>
                <a:moveTo>
                  <a:pt x="42" y="242"/>
                </a:moveTo>
                <a:cubicBezTo>
                  <a:pt x="43" y="241"/>
                  <a:pt x="45" y="239"/>
                  <a:pt x="46" y="236"/>
                </a:cubicBezTo>
                <a:cubicBezTo>
                  <a:pt x="46" y="237"/>
                  <a:pt x="46" y="238"/>
                  <a:pt x="47" y="237"/>
                </a:cubicBezTo>
                <a:cubicBezTo>
                  <a:pt x="47" y="236"/>
                  <a:pt x="46" y="236"/>
                  <a:pt x="46" y="235"/>
                </a:cubicBezTo>
                <a:cubicBezTo>
                  <a:pt x="45" y="238"/>
                  <a:pt x="42" y="240"/>
                  <a:pt x="42" y="242"/>
                </a:cubicBezTo>
                <a:close/>
                <a:moveTo>
                  <a:pt x="23" y="220"/>
                </a:moveTo>
                <a:cubicBezTo>
                  <a:pt x="23" y="220"/>
                  <a:pt x="22" y="220"/>
                  <a:pt x="23" y="219"/>
                </a:cubicBezTo>
                <a:cubicBezTo>
                  <a:pt x="22" y="219"/>
                  <a:pt x="22" y="219"/>
                  <a:pt x="22" y="219"/>
                </a:cubicBezTo>
                <a:cubicBezTo>
                  <a:pt x="22" y="219"/>
                  <a:pt x="22" y="221"/>
                  <a:pt x="23" y="220"/>
                </a:cubicBezTo>
                <a:close/>
                <a:moveTo>
                  <a:pt x="30" y="227"/>
                </a:moveTo>
                <a:cubicBezTo>
                  <a:pt x="30" y="227"/>
                  <a:pt x="30" y="227"/>
                  <a:pt x="31" y="228"/>
                </a:cubicBezTo>
                <a:cubicBezTo>
                  <a:pt x="31" y="227"/>
                  <a:pt x="31" y="227"/>
                  <a:pt x="31" y="227"/>
                </a:cubicBezTo>
                <a:cubicBezTo>
                  <a:pt x="31" y="226"/>
                  <a:pt x="32" y="227"/>
                  <a:pt x="31" y="226"/>
                </a:cubicBezTo>
                <a:cubicBezTo>
                  <a:pt x="31" y="226"/>
                  <a:pt x="31" y="226"/>
                  <a:pt x="30" y="227"/>
                </a:cubicBezTo>
                <a:close/>
                <a:moveTo>
                  <a:pt x="31" y="230"/>
                </a:moveTo>
                <a:cubicBezTo>
                  <a:pt x="32" y="229"/>
                  <a:pt x="33" y="228"/>
                  <a:pt x="33" y="228"/>
                </a:cubicBezTo>
                <a:cubicBezTo>
                  <a:pt x="32" y="228"/>
                  <a:pt x="31" y="229"/>
                  <a:pt x="31" y="230"/>
                </a:cubicBezTo>
                <a:close/>
                <a:moveTo>
                  <a:pt x="57" y="246"/>
                </a:moveTo>
                <a:cubicBezTo>
                  <a:pt x="57" y="246"/>
                  <a:pt x="57" y="246"/>
                  <a:pt x="58" y="246"/>
                </a:cubicBezTo>
                <a:cubicBezTo>
                  <a:pt x="57" y="246"/>
                  <a:pt x="57" y="246"/>
                  <a:pt x="57" y="246"/>
                </a:cubicBezTo>
                <a:close/>
                <a:moveTo>
                  <a:pt x="21" y="224"/>
                </a:moveTo>
                <a:cubicBezTo>
                  <a:pt x="22" y="224"/>
                  <a:pt x="22" y="223"/>
                  <a:pt x="22" y="223"/>
                </a:cubicBezTo>
                <a:cubicBezTo>
                  <a:pt x="22" y="223"/>
                  <a:pt x="21" y="224"/>
                  <a:pt x="21" y="224"/>
                </a:cubicBezTo>
                <a:close/>
                <a:moveTo>
                  <a:pt x="52" y="249"/>
                </a:moveTo>
                <a:cubicBezTo>
                  <a:pt x="52" y="249"/>
                  <a:pt x="52" y="249"/>
                  <a:pt x="51" y="249"/>
                </a:cubicBezTo>
                <a:cubicBezTo>
                  <a:pt x="52" y="250"/>
                  <a:pt x="52" y="249"/>
                  <a:pt x="52" y="250"/>
                </a:cubicBezTo>
                <a:cubicBezTo>
                  <a:pt x="53" y="248"/>
                  <a:pt x="53" y="248"/>
                  <a:pt x="54" y="247"/>
                </a:cubicBezTo>
                <a:cubicBezTo>
                  <a:pt x="53" y="247"/>
                  <a:pt x="52" y="248"/>
                  <a:pt x="52" y="249"/>
                </a:cubicBezTo>
                <a:close/>
                <a:moveTo>
                  <a:pt x="29" y="230"/>
                </a:moveTo>
                <a:cubicBezTo>
                  <a:pt x="29" y="230"/>
                  <a:pt x="29" y="230"/>
                  <a:pt x="29" y="230"/>
                </a:cubicBezTo>
                <a:cubicBezTo>
                  <a:pt x="29" y="229"/>
                  <a:pt x="28" y="230"/>
                  <a:pt x="29" y="230"/>
                </a:cubicBezTo>
                <a:close/>
                <a:moveTo>
                  <a:pt x="54" y="249"/>
                </a:moveTo>
                <a:cubicBezTo>
                  <a:pt x="55" y="250"/>
                  <a:pt x="54" y="251"/>
                  <a:pt x="55" y="250"/>
                </a:cubicBezTo>
                <a:cubicBezTo>
                  <a:pt x="56" y="251"/>
                  <a:pt x="55" y="250"/>
                  <a:pt x="55" y="251"/>
                </a:cubicBezTo>
                <a:cubicBezTo>
                  <a:pt x="56" y="251"/>
                  <a:pt x="56" y="250"/>
                  <a:pt x="56" y="250"/>
                </a:cubicBezTo>
                <a:cubicBezTo>
                  <a:pt x="55" y="249"/>
                  <a:pt x="55" y="249"/>
                  <a:pt x="54" y="249"/>
                </a:cubicBezTo>
                <a:close/>
                <a:moveTo>
                  <a:pt x="47" y="245"/>
                </a:moveTo>
                <a:cubicBezTo>
                  <a:pt x="47" y="246"/>
                  <a:pt x="46" y="246"/>
                  <a:pt x="47" y="246"/>
                </a:cubicBezTo>
                <a:cubicBezTo>
                  <a:pt x="48" y="245"/>
                  <a:pt x="48" y="245"/>
                  <a:pt x="48" y="245"/>
                </a:cubicBezTo>
                <a:cubicBezTo>
                  <a:pt x="48" y="245"/>
                  <a:pt x="47" y="245"/>
                  <a:pt x="47" y="245"/>
                </a:cubicBezTo>
                <a:close/>
                <a:moveTo>
                  <a:pt x="28" y="231"/>
                </a:moveTo>
                <a:cubicBezTo>
                  <a:pt x="28" y="232"/>
                  <a:pt x="27" y="232"/>
                  <a:pt x="27" y="233"/>
                </a:cubicBezTo>
                <a:cubicBezTo>
                  <a:pt x="28" y="232"/>
                  <a:pt x="28" y="231"/>
                  <a:pt x="28" y="231"/>
                </a:cubicBezTo>
                <a:cubicBezTo>
                  <a:pt x="28" y="231"/>
                  <a:pt x="28" y="230"/>
                  <a:pt x="28" y="231"/>
                </a:cubicBezTo>
                <a:close/>
                <a:moveTo>
                  <a:pt x="28" y="235"/>
                </a:moveTo>
                <a:cubicBezTo>
                  <a:pt x="29" y="234"/>
                  <a:pt x="30" y="233"/>
                  <a:pt x="29" y="232"/>
                </a:cubicBezTo>
                <a:cubicBezTo>
                  <a:pt x="29" y="233"/>
                  <a:pt x="29" y="234"/>
                  <a:pt x="28" y="235"/>
                </a:cubicBezTo>
                <a:close/>
                <a:moveTo>
                  <a:pt x="48" y="247"/>
                </a:moveTo>
                <a:cubicBezTo>
                  <a:pt x="48" y="248"/>
                  <a:pt x="49" y="248"/>
                  <a:pt x="49" y="248"/>
                </a:cubicBezTo>
                <a:cubicBezTo>
                  <a:pt x="49" y="248"/>
                  <a:pt x="49" y="248"/>
                  <a:pt x="49" y="248"/>
                </a:cubicBezTo>
                <a:cubicBezTo>
                  <a:pt x="49" y="248"/>
                  <a:pt x="49" y="247"/>
                  <a:pt x="48" y="247"/>
                </a:cubicBezTo>
                <a:close/>
                <a:moveTo>
                  <a:pt x="17" y="226"/>
                </a:moveTo>
                <a:cubicBezTo>
                  <a:pt x="17" y="226"/>
                  <a:pt x="17" y="227"/>
                  <a:pt x="17" y="227"/>
                </a:cubicBezTo>
                <a:cubicBezTo>
                  <a:pt x="17" y="226"/>
                  <a:pt x="18" y="227"/>
                  <a:pt x="18" y="227"/>
                </a:cubicBezTo>
                <a:cubicBezTo>
                  <a:pt x="18" y="226"/>
                  <a:pt x="17" y="226"/>
                  <a:pt x="17" y="225"/>
                </a:cubicBezTo>
                <a:lnTo>
                  <a:pt x="17" y="226"/>
                </a:lnTo>
                <a:close/>
                <a:moveTo>
                  <a:pt x="41" y="244"/>
                </a:moveTo>
                <a:cubicBezTo>
                  <a:pt x="41" y="244"/>
                  <a:pt x="42" y="243"/>
                  <a:pt x="41" y="243"/>
                </a:cubicBezTo>
                <a:cubicBezTo>
                  <a:pt x="40" y="245"/>
                  <a:pt x="39" y="245"/>
                  <a:pt x="41" y="244"/>
                </a:cubicBezTo>
                <a:close/>
                <a:moveTo>
                  <a:pt x="50" y="252"/>
                </a:moveTo>
                <a:cubicBezTo>
                  <a:pt x="50" y="251"/>
                  <a:pt x="51" y="252"/>
                  <a:pt x="51" y="252"/>
                </a:cubicBezTo>
                <a:cubicBezTo>
                  <a:pt x="50" y="252"/>
                  <a:pt x="51" y="251"/>
                  <a:pt x="51" y="250"/>
                </a:cubicBezTo>
                <a:cubicBezTo>
                  <a:pt x="51" y="252"/>
                  <a:pt x="49" y="251"/>
                  <a:pt x="50" y="252"/>
                </a:cubicBezTo>
                <a:close/>
                <a:moveTo>
                  <a:pt x="42" y="245"/>
                </a:moveTo>
                <a:cubicBezTo>
                  <a:pt x="42" y="246"/>
                  <a:pt x="42" y="246"/>
                  <a:pt x="43" y="246"/>
                </a:cubicBezTo>
                <a:cubicBezTo>
                  <a:pt x="43" y="245"/>
                  <a:pt x="42" y="245"/>
                  <a:pt x="42" y="245"/>
                </a:cubicBezTo>
                <a:close/>
                <a:moveTo>
                  <a:pt x="53" y="255"/>
                </a:moveTo>
                <a:cubicBezTo>
                  <a:pt x="53" y="254"/>
                  <a:pt x="54" y="254"/>
                  <a:pt x="53" y="253"/>
                </a:cubicBezTo>
                <a:cubicBezTo>
                  <a:pt x="53" y="254"/>
                  <a:pt x="52" y="254"/>
                  <a:pt x="53" y="255"/>
                </a:cubicBezTo>
                <a:close/>
                <a:moveTo>
                  <a:pt x="40" y="247"/>
                </a:moveTo>
                <a:cubicBezTo>
                  <a:pt x="41" y="247"/>
                  <a:pt x="42" y="246"/>
                  <a:pt x="41" y="246"/>
                </a:cubicBezTo>
                <a:lnTo>
                  <a:pt x="40" y="247"/>
                </a:lnTo>
                <a:close/>
                <a:moveTo>
                  <a:pt x="43" y="248"/>
                </a:moveTo>
                <a:cubicBezTo>
                  <a:pt x="44" y="249"/>
                  <a:pt x="44" y="249"/>
                  <a:pt x="44" y="249"/>
                </a:cubicBezTo>
                <a:cubicBezTo>
                  <a:pt x="44" y="248"/>
                  <a:pt x="43" y="248"/>
                  <a:pt x="43" y="248"/>
                </a:cubicBezTo>
                <a:close/>
                <a:moveTo>
                  <a:pt x="15" y="234"/>
                </a:moveTo>
                <a:cubicBezTo>
                  <a:pt x="15" y="233"/>
                  <a:pt x="15" y="233"/>
                  <a:pt x="15" y="232"/>
                </a:cubicBezTo>
                <a:cubicBezTo>
                  <a:pt x="15" y="233"/>
                  <a:pt x="15" y="233"/>
                  <a:pt x="15" y="233"/>
                </a:cubicBezTo>
                <a:cubicBezTo>
                  <a:pt x="16" y="234"/>
                  <a:pt x="16" y="234"/>
                  <a:pt x="16" y="234"/>
                </a:cubicBezTo>
                <a:cubicBezTo>
                  <a:pt x="17" y="232"/>
                  <a:pt x="17" y="233"/>
                  <a:pt x="18" y="231"/>
                </a:cubicBezTo>
                <a:cubicBezTo>
                  <a:pt x="18" y="231"/>
                  <a:pt x="17" y="231"/>
                  <a:pt x="17" y="230"/>
                </a:cubicBezTo>
                <a:cubicBezTo>
                  <a:pt x="17" y="230"/>
                  <a:pt x="17" y="231"/>
                  <a:pt x="17" y="230"/>
                </a:cubicBezTo>
                <a:cubicBezTo>
                  <a:pt x="17" y="232"/>
                  <a:pt x="16" y="232"/>
                  <a:pt x="15" y="234"/>
                </a:cubicBezTo>
                <a:close/>
                <a:moveTo>
                  <a:pt x="51" y="255"/>
                </a:moveTo>
                <a:cubicBezTo>
                  <a:pt x="51" y="256"/>
                  <a:pt x="50" y="257"/>
                  <a:pt x="51" y="257"/>
                </a:cubicBezTo>
                <a:cubicBezTo>
                  <a:pt x="51" y="256"/>
                  <a:pt x="52" y="256"/>
                  <a:pt x="52" y="255"/>
                </a:cubicBezTo>
                <a:cubicBezTo>
                  <a:pt x="51" y="255"/>
                  <a:pt x="51" y="255"/>
                  <a:pt x="51" y="255"/>
                </a:cubicBezTo>
                <a:close/>
                <a:moveTo>
                  <a:pt x="20" y="235"/>
                </a:moveTo>
                <a:cubicBezTo>
                  <a:pt x="19" y="235"/>
                  <a:pt x="19" y="236"/>
                  <a:pt x="19" y="236"/>
                </a:cubicBezTo>
                <a:cubicBezTo>
                  <a:pt x="20" y="236"/>
                  <a:pt x="20" y="236"/>
                  <a:pt x="20" y="236"/>
                </a:cubicBezTo>
                <a:cubicBezTo>
                  <a:pt x="20" y="236"/>
                  <a:pt x="21" y="235"/>
                  <a:pt x="21" y="235"/>
                </a:cubicBezTo>
                <a:cubicBezTo>
                  <a:pt x="20" y="235"/>
                  <a:pt x="20" y="236"/>
                  <a:pt x="20" y="235"/>
                </a:cubicBezTo>
                <a:close/>
                <a:moveTo>
                  <a:pt x="21" y="238"/>
                </a:moveTo>
                <a:cubicBezTo>
                  <a:pt x="21" y="237"/>
                  <a:pt x="22" y="237"/>
                  <a:pt x="22" y="236"/>
                </a:cubicBezTo>
                <a:cubicBezTo>
                  <a:pt x="21" y="236"/>
                  <a:pt x="21" y="237"/>
                  <a:pt x="21" y="238"/>
                </a:cubicBezTo>
                <a:close/>
                <a:moveTo>
                  <a:pt x="17" y="236"/>
                </a:moveTo>
                <a:cubicBezTo>
                  <a:pt x="18" y="236"/>
                  <a:pt x="18" y="235"/>
                  <a:pt x="18" y="235"/>
                </a:cubicBezTo>
                <a:cubicBezTo>
                  <a:pt x="18" y="235"/>
                  <a:pt x="17" y="236"/>
                  <a:pt x="17" y="236"/>
                </a:cubicBezTo>
                <a:close/>
                <a:moveTo>
                  <a:pt x="23" y="243"/>
                </a:moveTo>
                <a:cubicBezTo>
                  <a:pt x="24" y="243"/>
                  <a:pt x="25" y="241"/>
                  <a:pt x="26" y="240"/>
                </a:cubicBezTo>
                <a:cubicBezTo>
                  <a:pt x="25" y="240"/>
                  <a:pt x="25" y="240"/>
                  <a:pt x="25" y="240"/>
                </a:cubicBezTo>
                <a:cubicBezTo>
                  <a:pt x="24" y="241"/>
                  <a:pt x="24" y="242"/>
                  <a:pt x="23" y="243"/>
                </a:cubicBezTo>
                <a:close/>
                <a:moveTo>
                  <a:pt x="17" y="238"/>
                </a:moveTo>
                <a:cubicBezTo>
                  <a:pt x="17" y="237"/>
                  <a:pt x="18" y="237"/>
                  <a:pt x="18" y="236"/>
                </a:cubicBezTo>
                <a:cubicBezTo>
                  <a:pt x="17" y="236"/>
                  <a:pt x="16" y="237"/>
                  <a:pt x="17" y="238"/>
                </a:cubicBezTo>
                <a:close/>
                <a:moveTo>
                  <a:pt x="35" y="251"/>
                </a:moveTo>
                <a:cubicBezTo>
                  <a:pt x="35" y="252"/>
                  <a:pt x="36" y="250"/>
                  <a:pt x="36" y="250"/>
                </a:cubicBezTo>
                <a:lnTo>
                  <a:pt x="35" y="251"/>
                </a:lnTo>
                <a:close/>
                <a:moveTo>
                  <a:pt x="38" y="255"/>
                </a:moveTo>
                <a:cubicBezTo>
                  <a:pt x="39" y="254"/>
                  <a:pt x="39" y="254"/>
                  <a:pt x="39" y="254"/>
                </a:cubicBezTo>
                <a:cubicBezTo>
                  <a:pt x="39" y="254"/>
                  <a:pt x="38" y="254"/>
                  <a:pt x="38" y="255"/>
                </a:cubicBezTo>
                <a:close/>
                <a:moveTo>
                  <a:pt x="12" y="236"/>
                </a:moveTo>
                <a:cubicBezTo>
                  <a:pt x="12" y="236"/>
                  <a:pt x="12" y="237"/>
                  <a:pt x="12" y="237"/>
                </a:cubicBezTo>
                <a:cubicBezTo>
                  <a:pt x="13" y="236"/>
                  <a:pt x="13" y="236"/>
                  <a:pt x="13" y="236"/>
                </a:cubicBezTo>
                <a:cubicBezTo>
                  <a:pt x="13" y="236"/>
                  <a:pt x="12" y="236"/>
                  <a:pt x="12" y="236"/>
                </a:cubicBezTo>
                <a:close/>
                <a:moveTo>
                  <a:pt x="38" y="253"/>
                </a:moveTo>
                <a:cubicBezTo>
                  <a:pt x="36" y="252"/>
                  <a:pt x="36" y="252"/>
                  <a:pt x="36" y="252"/>
                </a:cubicBezTo>
                <a:cubicBezTo>
                  <a:pt x="36" y="253"/>
                  <a:pt x="37" y="254"/>
                  <a:pt x="38" y="253"/>
                </a:cubicBezTo>
                <a:close/>
                <a:moveTo>
                  <a:pt x="12" y="239"/>
                </a:moveTo>
                <a:cubicBezTo>
                  <a:pt x="13" y="238"/>
                  <a:pt x="13" y="238"/>
                  <a:pt x="13" y="238"/>
                </a:cubicBezTo>
                <a:cubicBezTo>
                  <a:pt x="13" y="238"/>
                  <a:pt x="13" y="239"/>
                  <a:pt x="13" y="238"/>
                </a:cubicBezTo>
                <a:cubicBezTo>
                  <a:pt x="12" y="238"/>
                  <a:pt x="14" y="237"/>
                  <a:pt x="13" y="237"/>
                </a:cubicBezTo>
                <a:cubicBezTo>
                  <a:pt x="12" y="237"/>
                  <a:pt x="12" y="238"/>
                  <a:pt x="12" y="239"/>
                </a:cubicBezTo>
                <a:close/>
                <a:moveTo>
                  <a:pt x="35" y="256"/>
                </a:moveTo>
                <a:cubicBezTo>
                  <a:pt x="35" y="256"/>
                  <a:pt x="36" y="257"/>
                  <a:pt x="36" y="257"/>
                </a:cubicBezTo>
                <a:cubicBezTo>
                  <a:pt x="36" y="256"/>
                  <a:pt x="35" y="256"/>
                  <a:pt x="35" y="256"/>
                </a:cubicBezTo>
                <a:close/>
                <a:moveTo>
                  <a:pt x="27" y="255"/>
                </a:moveTo>
                <a:cubicBezTo>
                  <a:pt x="27" y="255"/>
                  <a:pt x="28" y="254"/>
                  <a:pt x="28" y="254"/>
                </a:cubicBezTo>
                <a:cubicBezTo>
                  <a:pt x="27" y="254"/>
                  <a:pt x="27" y="254"/>
                  <a:pt x="27" y="255"/>
                </a:cubicBezTo>
                <a:close/>
                <a:moveTo>
                  <a:pt x="8" y="244"/>
                </a:moveTo>
                <a:cubicBezTo>
                  <a:pt x="7" y="244"/>
                  <a:pt x="7" y="244"/>
                  <a:pt x="7" y="244"/>
                </a:cubicBezTo>
                <a:cubicBezTo>
                  <a:pt x="8" y="245"/>
                  <a:pt x="8" y="243"/>
                  <a:pt x="7" y="243"/>
                </a:cubicBezTo>
                <a:cubicBezTo>
                  <a:pt x="7" y="243"/>
                  <a:pt x="7" y="243"/>
                  <a:pt x="8" y="244"/>
                </a:cubicBezTo>
                <a:close/>
                <a:moveTo>
                  <a:pt x="6" y="247"/>
                </a:moveTo>
                <a:cubicBezTo>
                  <a:pt x="7" y="248"/>
                  <a:pt x="9" y="244"/>
                  <a:pt x="8" y="244"/>
                </a:cubicBezTo>
                <a:cubicBezTo>
                  <a:pt x="7" y="245"/>
                  <a:pt x="7" y="246"/>
                  <a:pt x="6" y="247"/>
                </a:cubicBezTo>
                <a:close/>
                <a:moveTo>
                  <a:pt x="11" y="248"/>
                </a:moveTo>
                <a:cubicBezTo>
                  <a:pt x="12" y="248"/>
                  <a:pt x="12" y="247"/>
                  <a:pt x="11" y="247"/>
                </a:cubicBezTo>
                <a:cubicBezTo>
                  <a:pt x="11" y="247"/>
                  <a:pt x="11" y="248"/>
                  <a:pt x="11" y="248"/>
                </a:cubicBezTo>
                <a:close/>
                <a:moveTo>
                  <a:pt x="32" y="264"/>
                </a:moveTo>
                <a:cubicBezTo>
                  <a:pt x="33" y="264"/>
                  <a:pt x="33" y="264"/>
                  <a:pt x="33" y="263"/>
                </a:cubicBezTo>
                <a:cubicBezTo>
                  <a:pt x="32" y="263"/>
                  <a:pt x="32" y="263"/>
                  <a:pt x="32" y="264"/>
                </a:cubicBezTo>
                <a:close/>
                <a:moveTo>
                  <a:pt x="10" y="250"/>
                </a:moveTo>
                <a:cubicBezTo>
                  <a:pt x="10" y="250"/>
                  <a:pt x="11" y="249"/>
                  <a:pt x="11" y="249"/>
                </a:cubicBezTo>
                <a:cubicBezTo>
                  <a:pt x="10" y="248"/>
                  <a:pt x="10" y="248"/>
                  <a:pt x="10" y="248"/>
                </a:cubicBezTo>
                <a:cubicBezTo>
                  <a:pt x="10" y="249"/>
                  <a:pt x="9" y="249"/>
                  <a:pt x="10" y="250"/>
                </a:cubicBezTo>
                <a:close/>
                <a:moveTo>
                  <a:pt x="7" y="252"/>
                </a:moveTo>
                <a:cubicBezTo>
                  <a:pt x="7" y="251"/>
                  <a:pt x="9" y="249"/>
                  <a:pt x="8" y="248"/>
                </a:cubicBezTo>
                <a:cubicBezTo>
                  <a:pt x="8" y="249"/>
                  <a:pt x="6" y="251"/>
                  <a:pt x="7" y="252"/>
                </a:cubicBezTo>
                <a:close/>
                <a:moveTo>
                  <a:pt x="3" y="247"/>
                </a:moveTo>
                <a:cubicBezTo>
                  <a:pt x="3" y="246"/>
                  <a:pt x="4" y="246"/>
                  <a:pt x="4" y="246"/>
                </a:cubicBezTo>
                <a:cubicBezTo>
                  <a:pt x="3" y="246"/>
                  <a:pt x="2" y="246"/>
                  <a:pt x="3" y="247"/>
                </a:cubicBezTo>
                <a:close/>
                <a:moveTo>
                  <a:pt x="0" y="255"/>
                </a:moveTo>
                <a:cubicBezTo>
                  <a:pt x="1" y="253"/>
                  <a:pt x="3" y="253"/>
                  <a:pt x="2" y="251"/>
                </a:cubicBezTo>
                <a:cubicBezTo>
                  <a:pt x="2" y="253"/>
                  <a:pt x="0" y="254"/>
                  <a:pt x="0" y="255"/>
                </a:cubicBezTo>
                <a:close/>
                <a:moveTo>
                  <a:pt x="30" y="271"/>
                </a:moveTo>
                <a:cubicBezTo>
                  <a:pt x="30" y="271"/>
                  <a:pt x="31" y="271"/>
                  <a:pt x="31" y="271"/>
                </a:cubicBezTo>
                <a:cubicBezTo>
                  <a:pt x="31" y="271"/>
                  <a:pt x="30" y="270"/>
                  <a:pt x="30" y="271"/>
                </a:cubicBezTo>
                <a:close/>
                <a:moveTo>
                  <a:pt x="34" y="274"/>
                </a:moveTo>
                <a:cubicBezTo>
                  <a:pt x="35" y="275"/>
                  <a:pt x="34" y="275"/>
                  <a:pt x="35" y="275"/>
                </a:cubicBezTo>
                <a:cubicBezTo>
                  <a:pt x="36" y="275"/>
                  <a:pt x="35" y="275"/>
                  <a:pt x="35" y="274"/>
                </a:cubicBezTo>
                <a:cubicBezTo>
                  <a:pt x="35" y="274"/>
                  <a:pt x="35" y="274"/>
                  <a:pt x="34" y="274"/>
                </a:cubicBezTo>
                <a:close/>
                <a:moveTo>
                  <a:pt x="3" y="254"/>
                </a:moveTo>
                <a:cubicBezTo>
                  <a:pt x="2" y="254"/>
                  <a:pt x="2" y="254"/>
                  <a:pt x="2" y="253"/>
                </a:cubicBezTo>
                <a:cubicBezTo>
                  <a:pt x="2" y="254"/>
                  <a:pt x="2" y="254"/>
                  <a:pt x="2" y="254"/>
                </a:cubicBezTo>
                <a:cubicBezTo>
                  <a:pt x="2" y="254"/>
                  <a:pt x="4" y="254"/>
                  <a:pt x="3" y="253"/>
                </a:cubicBezTo>
                <a:lnTo>
                  <a:pt x="3" y="254"/>
                </a:lnTo>
                <a:close/>
                <a:moveTo>
                  <a:pt x="27" y="271"/>
                </a:moveTo>
                <a:cubicBezTo>
                  <a:pt x="27" y="271"/>
                  <a:pt x="27" y="272"/>
                  <a:pt x="28" y="271"/>
                </a:cubicBezTo>
                <a:cubicBezTo>
                  <a:pt x="28" y="271"/>
                  <a:pt x="27" y="270"/>
                  <a:pt x="27" y="271"/>
                </a:cubicBezTo>
                <a:close/>
                <a:moveTo>
                  <a:pt x="31" y="278"/>
                </a:moveTo>
                <a:cubicBezTo>
                  <a:pt x="31" y="277"/>
                  <a:pt x="30" y="277"/>
                  <a:pt x="30" y="276"/>
                </a:cubicBezTo>
                <a:cubicBezTo>
                  <a:pt x="30" y="277"/>
                  <a:pt x="31" y="277"/>
                  <a:pt x="31" y="278"/>
                </a:cubicBezTo>
                <a:close/>
                <a:moveTo>
                  <a:pt x="31" y="281"/>
                </a:moveTo>
                <a:cubicBezTo>
                  <a:pt x="32" y="281"/>
                  <a:pt x="32" y="281"/>
                  <a:pt x="32" y="281"/>
                </a:cubicBezTo>
                <a:cubicBezTo>
                  <a:pt x="32" y="280"/>
                  <a:pt x="32" y="280"/>
                  <a:pt x="33" y="280"/>
                </a:cubicBezTo>
                <a:cubicBezTo>
                  <a:pt x="33" y="280"/>
                  <a:pt x="33" y="279"/>
                  <a:pt x="33" y="279"/>
                </a:cubicBezTo>
                <a:cubicBezTo>
                  <a:pt x="32" y="280"/>
                  <a:pt x="32" y="281"/>
                  <a:pt x="31" y="281"/>
                </a:cubicBezTo>
                <a:close/>
                <a:moveTo>
                  <a:pt x="782" y="255"/>
                </a:moveTo>
                <a:cubicBezTo>
                  <a:pt x="781" y="255"/>
                  <a:pt x="779" y="253"/>
                  <a:pt x="779" y="256"/>
                </a:cubicBezTo>
                <a:cubicBezTo>
                  <a:pt x="781" y="259"/>
                  <a:pt x="782" y="261"/>
                  <a:pt x="783" y="263"/>
                </a:cubicBezTo>
                <a:cubicBezTo>
                  <a:pt x="781" y="263"/>
                  <a:pt x="777" y="259"/>
                  <a:pt x="774" y="258"/>
                </a:cubicBezTo>
                <a:cubicBezTo>
                  <a:pt x="775" y="259"/>
                  <a:pt x="777" y="263"/>
                  <a:pt x="778" y="264"/>
                </a:cubicBezTo>
                <a:cubicBezTo>
                  <a:pt x="779" y="267"/>
                  <a:pt x="779" y="268"/>
                  <a:pt x="780" y="271"/>
                </a:cubicBezTo>
                <a:cubicBezTo>
                  <a:pt x="779" y="271"/>
                  <a:pt x="779" y="271"/>
                  <a:pt x="779" y="272"/>
                </a:cubicBezTo>
                <a:cubicBezTo>
                  <a:pt x="776" y="269"/>
                  <a:pt x="775" y="267"/>
                  <a:pt x="772" y="264"/>
                </a:cubicBezTo>
                <a:cubicBezTo>
                  <a:pt x="771" y="262"/>
                  <a:pt x="772" y="262"/>
                  <a:pt x="771" y="260"/>
                </a:cubicBezTo>
                <a:cubicBezTo>
                  <a:pt x="770" y="259"/>
                  <a:pt x="767" y="254"/>
                  <a:pt x="766" y="252"/>
                </a:cubicBezTo>
                <a:cubicBezTo>
                  <a:pt x="766" y="254"/>
                  <a:pt x="763" y="249"/>
                  <a:pt x="762" y="246"/>
                </a:cubicBezTo>
                <a:cubicBezTo>
                  <a:pt x="763" y="250"/>
                  <a:pt x="761" y="249"/>
                  <a:pt x="764" y="255"/>
                </a:cubicBezTo>
                <a:cubicBezTo>
                  <a:pt x="763" y="252"/>
                  <a:pt x="764" y="254"/>
                  <a:pt x="765" y="256"/>
                </a:cubicBezTo>
                <a:cubicBezTo>
                  <a:pt x="765" y="257"/>
                  <a:pt x="765" y="255"/>
                  <a:pt x="765" y="255"/>
                </a:cubicBezTo>
                <a:cubicBezTo>
                  <a:pt x="766" y="256"/>
                  <a:pt x="766" y="257"/>
                  <a:pt x="766" y="258"/>
                </a:cubicBezTo>
                <a:cubicBezTo>
                  <a:pt x="767" y="259"/>
                  <a:pt x="768" y="260"/>
                  <a:pt x="770" y="260"/>
                </a:cubicBezTo>
                <a:cubicBezTo>
                  <a:pt x="770" y="262"/>
                  <a:pt x="771" y="264"/>
                  <a:pt x="772" y="267"/>
                </a:cubicBezTo>
                <a:cubicBezTo>
                  <a:pt x="771" y="267"/>
                  <a:pt x="768" y="261"/>
                  <a:pt x="769" y="264"/>
                </a:cubicBezTo>
                <a:cubicBezTo>
                  <a:pt x="768" y="262"/>
                  <a:pt x="766" y="259"/>
                  <a:pt x="766" y="260"/>
                </a:cubicBezTo>
                <a:cubicBezTo>
                  <a:pt x="766" y="259"/>
                  <a:pt x="764" y="256"/>
                  <a:pt x="764" y="255"/>
                </a:cubicBezTo>
                <a:cubicBezTo>
                  <a:pt x="763" y="254"/>
                  <a:pt x="762" y="254"/>
                  <a:pt x="761" y="253"/>
                </a:cubicBezTo>
                <a:cubicBezTo>
                  <a:pt x="761" y="252"/>
                  <a:pt x="762" y="253"/>
                  <a:pt x="762" y="252"/>
                </a:cubicBezTo>
                <a:cubicBezTo>
                  <a:pt x="762" y="251"/>
                  <a:pt x="761" y="249"/>
                  <a:pt x="761" y="249"/>
                </a:cubicBezTo>
                <a:cubicBezTo>
                  <a:pt x="757" y="243"/>
                  <a:pt x="757" y="246"/>
                  <a:pt x="752" y="241"/>
                </a:cubicBezTo>
                <a:cubicBezTo>
                  <a:pt x="752" y="241"/>
                  <a:pt x="755" y="244"/>
                  <a:pt x="755" y="245"/>
                </a:cubicBezTo>
                <a:cubicBezTo>
                  <a:pt x="755" y="246"/>
                  <a:pt x="755" y="245"/>
                  <a:pt x="755" y="244"/>
                </a:cubicBezTo>
                <a:cubicBezTo>
                  <a:pt x="755" y="244"/>
                  <a:pt x="755" y="246"/>
                  <a:pt x="756" y="246"/>
                </a:cubicBezTo>
                <a:cubicBezTo>
                  <a:pt x="757" y="248"/>
                  <a:pt x="756" y="247"/>
                  <a:pt x="757" y="249"/>
                </a:cubicBezTo>
                <a:cubicBezTo>
                  <a:pt x="755" y="246"/>
                  <a:pt x="755" y="248"/>
                  <a:pt x="753" y="248"/>
                </a:cubicBezTo>
                <a:cubicBezTo>
                  <a:pt x="752" y="245"/>
                  <a:pt x="751" y="244"/>
                  <a:pt x="750" y="245"/>
                </a:cubicBezTo>
                <a:cubicBezTo>
                  <a:pt x="748" y="242"/>
                  <a:pt x="747" y="243"/>
                  <a:pt x="745" y="239"/>
                </a:cubicBezTo>
                <a:cubicBezTo>
                  <a:pt x="744" y="239"/>
                  <a:pt x="744" y="239"/>
                  <a:pt x="744" y="239"/>
                </a:cubicBezTo>
                <a:cubicBezTo>
                  <a:pt x="743" y="237"/>
                  <a:pt x="741" y="236"/>
                  <a:pt x="739" y="233"/>
                </a:cubicBezTo>
                <a:cubicBezTo>
                  <a:pt x="739" y="232"/>
                  <a:pt x="739" y="231"/>
                  <a:pt x="740" y="231"/>
                </a:cubicBezTo>
                <a:cubicBezTo>
                  <a:pt x="741" y="233"/>
                  <a:pt x="741" y="234"/>
                  <a:pt x="742" y="234"/>
                </a:cubicBezTo>
                <a:cubicBezTo>
                  <a:pt x="742" y="234"/>
                  <a:pt x="741" y="231"/>
                  <a:pt x="743" y="234"/>
                </a:cubicBezTo>
                <a:cubicBezTo>
                  <a:pt x="743" y="233"/>
                  <a:pt x="742" y="232"/>
                  <a:pt x="741" y="231"/>
                </a:cubicBezTo>
                <a:cubicBezTo>
                  <a:pt x="740" y="230"/>
                  <a:pt x="741" y="231"/>
                  <a:pt x="740" y="231"/>
                </a:cubicBezTo>
                <a:cubicBezTo>
                  <a:pt x="739" y="227"/>
                  <a:pt x="737" y="229"/>
                  <a:pt x="736" y="226"/>
                </a:cubicBezTo>
                <a:cubicBezTo>
                  <a:pt x="736" y="227"/>
                  <a:pt x="735" y="226"/>
                  <a:pt x="733" y="224"/>
                </a:cubicBezTo>
                <a:cubicBezTo>
                  <a:pt x="734" y="226"/>
                  <a:pt x="737" y="229"/>
                  <a:pt x="738" y="231"/>
                </a:cubicBezTo>
                <a:cubicBezTo>
                  <a:pt x="735" y="229"/>
                  <a:pt x="728" y="217"/>
                  <a:pt x="726" y="218"/>
                </a:cubicBezTo>
                <a:cubicBezTo>
                  <a:pt x="724" y="215"/>
                  <a:pt x="723" y="213"/>
                  <a:pt x="721" y="210"/>
                </a:cubicBezTo>
                <a:cubicBezTo>
                  <a:pt x="715" y="205"/>
                  <a:pt x="707" y="195"/>
                  <a:pt x="698" y="186"/>
                </a:cubicBezTo>
                <a:cubicBezTo>
                  <a:pt x="698" y="186"/>
                  <a:pt x="701" y="188"/>
                  <a:pt x="700" y="188"/>
                </a:cubicBezTo>
                <a:cubicBezTo>
                  <a:pt x="696" y="184"/>
                  <a:pt x="693" y="182"/>
                  <a:pt x="688" y="177"/>
                </a:cubicBezTo>
                <a:cubicBezTo>
                  <a:pt x="689" y="178"/>
                  <a:pt x="690" y="178"/>
                  <a:pt x="690" y="177"/>
                </a:cubicBezTo>
                <a:cubicBezTo>
                  <a:pt x="689" y="176"/>
                  <a:pt x="689" y="176"/>
                  <a:pt x="689" y="176"/>
                </a:cubicBezTo>
                <a:cubicBezTo>
                  <a:pt x="687" y="174"/>
                  <a:pt x="689" y="177"/>
                  <a:pt x="688" y="177"/>
                </a:cubicBezTo>
                <a:cubicBezTo>
                  <a:pt x="686" y="175"/>
                  <a:pt x="687" y="175"/>
                  <a:pt x="686" y="174"/>
                </a:cubicBezTo>
                <a:cubicBezTo>
                  <a:pt x="684" y="172"/>
                  <a:pt x="686" y="174"/>
                  <a:pt x="684" y="173"/>
                </a:cubicBezTo>
                <a:cubicBezTo>
                  <a:pt x="683" y="172"/>
                  <a:pt x="682" y="169"/>
                  <a:pt x="681" y="170"/>
                </a:cubicBezTo>
                <a:cubicBezTo>
                  <a:pt x="680" y="169"/>
                  <a:pt x="681" y="169"/>
                  <a:pt x="681" y="169"/>
                </a:cubicBezTo>
                <a:cubicBezTo>
                  <a:pt x="680" y="168"/>
                  <a:pt x="679" y="168"/>
                  <a:pt x="678" y="168"/>
                </a:cubicBezTo>
                <a:cubicBezTo>
                  <a:pt x="676" y="165"/>
                  <a:pt x="672" y="163"/>
                  <a:pt x="672" y="161"/>
                </a:cubicBezTo>
                <a:cubicBezTo>
                  <a:pt x="670" y="160"/>
                  <a:pt x="662" y="154"/>
                  <a:pt x="657" y="149"/>
                </a:cubicBezTo>
                <a:cubicBezTo>
                  <a:pt x="660" y="152"/>
                  <a:pt x="654" y="146"/>
                  <a:pt x="654" y="146"/>
                </a:cubicBezTo>
                <a:cubicBezTo>
                  <a:pt x="653" y="145"/>
                  <a:pt x="653" y="145"/>
                  <a:pt x="652" y="145"/>
                </a:cubicBezTo>
                <a:cubicBezTo>
                  <a:pt x="648" y="142"/>
                  <a:pt x="644" y="139"/>
                  <a:pt x="645" y="138"/>
                </a:cubicBezTo>
                <a:cubicBezTo>
                  <a:pt x="641" y="135"/>
                  <a:pt x="641" y="135"/>
                  <a:pt x="641" y="135"/>
                </a:cubicBezTo>
                <a:cubicBezTo>
                  <a:pt x="642" y="137"/>
                  <a:pt x="641" y="136"/>
                  <a:pt x="640" y="136"/>
                </a:cubicBezTo>
                <a:cubicBezTo>
                  <a:pt x="637" y="133"/>
                  <a:pt x="636" y="133"/>
                  <a:pt x="633" y="130"/>
                </a:cubicBezTo>
                <a:cubicBezTo>
                  <a:pt x="633" y="130"/>
                  <a:pt x="632" y="129"/>
                  <a:pt x="633" y="129"/>
                </a:cubicBezTo>
                <a:cubicBezTo>
                  <a:pt x="629" y="126"/>
                  <a:pt x="631" y="129"/>
                  <a:pt x="629" y="128"/>
                </a:cubicBezTo>
                <a:cubicBezTo>
                  <a:pt x="628" y="126"/>
                  <a:pt x="625" y="124"/>
                  <a:pt x="622" y="123"/>
                </a:cubicBezTo>
                <a:cubicBezTo>
                  <a:pt x="626" y="124"/>
                  <a:pt x="620" y="120"/>
                  <a:pt x="618" y="120"/>
                </a:cubicBezTo>
                <a:cubicBezTo>
                  <a:pt x="618" y="120"/>
                  <a:pt x="620" y="122"/>
                  <a:pt x="621" y="122"/>
                </a:cubicBezTo>
                <a:cubicBezTo>
                  <a:pt x="623" y="124"/>
                  <a:pt x="615" y="119"/>
                  <a:pt x="617" y="119"/>
                </a:cubicBezTo>
                <a:cubicBezTo>
                  <a:pt x="614" y="117"/>
                  <a:pt x="614" y="117"/>
                  <a:pt x="614" y="117"/>
                </a:cubicBezTo>
                <a:cubicBezTo>
                  <a:pt x="613" y="116"/>
                  <a:pt x="614" y="118"/>
                  <a:pt x="611" y="116"/>
                </a:cubicBezTo>
                <a:cubicBezTo>
                  <a:pt x="611" y="116"/>
                  <a:pt x="613" y="116"/>
                  <a:pt x="612" y="115"/>
                </a:cubicBezTo>
                <a:cubicBezTo>
                  <a:pt x="610" y="114"/>
                  <a:pt x="612" y="116"/>
                  <a:pt x="610" y="115"/>
                </a:cubicBezTo>
                <a:cubicBezTo>
                  <a:pt x="607" y="112"/>
                  <a:pt x="602" y="111"/>
                  <a:pt x="596" y="106"/>
                </a:cubicBezTo>
                <a:cubicBezTo>
                  <a:pt x="596" y="106"/>
                  <a:pt x="595" y="106"/>
                  <a:pt x="595" y="105"/>
                </a:cubicBezTo>
                <a:cubicBezTo>
                  <a:pt x="594" y="105"/>
                  <a:pt x="594" y="105"/>
                  <a:pt x="594" y="106"/>
                </a:cubicBezTo>
                <a:cubicBezTo>
                  <a:pt x="587" y="101"/>
                  <a:pt x="583" y="99"/>
                  <a:pt x="576" y="95"/>
                </a:cubicBezTo>
                <a:cubicBezTo>
                  <a:pt x="573" y="94"/>
                  <a:pt x="576" y="96"/>
                  <a:pt x="575" y="96"/>
                </a:cubicBezTo>
                <a:cubicBezTo>
                  <a:pt x="575" y="95"/>
                  <a:pt x="571" y="94"/>
                  <a:pt x="571" y="94"/>
                </a:cubicBezTo>
                <a:cubicBezTo>
                  <a:pt x="568" y="92"/>
                  <a:pt x="566" y="90"/>
                  <a:pt x="562" y="88"/>
                </a:cubicBezTo>
                <a:cubicBezTo>
                  <a:pt x="555" y="85"/>
                  <a:pt x="548" y="82"/>
                  <a:pt x="540" y="79"/>
                </a:cubicBezTo>
                <a:cubicBezTo>
                  <a:pt x="540" y="78"/>
                  <a:pt x="540" y="78"/>
                  <a:pt x="540" y="78"/>
                </a:cubicBezTo>
                <a:cubicBezTo>
                  <a:pt x="537" y="77"/>
                  <a:pt x="535" y="76"/>
                  <a:pt x="533" y="75"/>
                </a:cubicBezTo>
                <a:cubicBezTo>
                  <a:pt x="530" y="74"/>
                  <a:pt x="529" y="74"/>
                  <a:pt x="526" y="73"/>
                </a:cubicBezTo>
                <a:cubicBezTo>
                  <a:pt x="526" y="72"/>
                  <a:pt x="526" y="72"/>
                  <a:pt x="526" y="72"/>
                </a:cubicBezTo>
                <a:cubicBezTo>
                  <a:pt x="521" y="71"/>
                  <a:pt x="517" y="70"/>
                  <a:pt x="514" y="68"/>
                </a:cubicBezTo>
                <a:cubicBezTo>
                  <a:pt x="510" y="68"/>
                  <a:pt x="504" y="65"/>
                  <a:pt x="502" y="64"/>
                </a:cubicBezTo>
                <a:cubicBezTo>
                  <a:pt x="500" y="63"/>
                  <a:pt x="502" y="65"/>
                  <a:pt x="502" y="65"/>
                </a:cubicBezTo>
                <a:cubicBezTo>
                  <a:pt x="497" y="64"/>
                  <a:pt x="493" y="62"/>
                  <a:pt x="488" y="60"/>
                </a:cubicBezTo>
                <a:cubicBezTo>
                  <a:pt x="485" y="60"/>
                  <a:pt x="481" y="60"/>
                  <a:pt x="480" y="59"/>
                </a:cubicBezTo>
                <a:cubicBezTo>
                  <a:pt x="483" y="59"/>
                  <a:pt x="485" y="60"/>
                  <a:pt x="484" y="59"/>
                </a:cubicBezTo>
                <a:cubicBezTo>
                  <a:pt x="482" y="58"/>
                  <a:pt x="480" y="59"/>
                  <a:pt x="480" y="58"/>
                </a:cubicBezTo>
                <a:cubicBezTo>
                  <a:pt x="479" y="58"/>
                  <a:pt x="479" y="58"/>
                  <a:pt x="479" y="59"/>
                </a:cubicBezTo>
                <a:cubicBezTo>
                  <a:pt x="474" y="58"/>
                  <a:pt x="470" y="57"/>
                  <a:pt x="468" y="56"/>
                </a:cubicBezTo>
                <a:cubicBezTo>
                  <a:pt x="466" y="56"/>
                  <a:pt x="469" y="57"/>
                  <a:pt x="464" y="56"/>
                </a:cubicBezTo>
                <a:cubicBezTo>
                  <a:pt x="465" y="55"/>
                  <a:pt x="461" y="54"/>
                  <a:pt x="459" y="54"/>
                </a:cubicBezTo>
                <a:cubicBezTo>
                  <a:pt x="459" y="54"/>
                  <a:pt x="459" y="54"/>
                  <a:pt x="458" y="54"/>
                </a:cubicBezTo>
                <a:cubicBezTo>
                  <a:pt x="458" y="54"/>
                  <a:pt x="459" y="54"/>
                  <a:pt x="461" y="54"/>
                </a:cubicBezTo>
                <a:cubicBezTo>
                  <a:pt x="461" y="53"/>
                  <a:pt x="460" y="53"/>
                  <a:pt x="458" y="53"/>
                </a:cubicBezTo>
                <a:cubicBezTo>
                  <a:pt x="457" y="53"/>
                  <a:pt x="456" y="53"/>
                  <a:pt x="456" y="54"/>
                </a:cubicBezTo>
                <a:cubicBezTo>
                  <a:pt x="453" y="53"/>
                  <a:pt x="452" y="52"/>
                  <a:pt x="450" y="52"/>
                </a:cubicBezTo>
                <a:cubicBezTo>
                  <a:pt x="448" y="51"/>
                  <a:pt x="451" y="52"/>
                  <a:pt x="450" y="52"/>
                </a:cubicBezTo>
                <a:cubicBezTo>
                  <a:pt x="442" y="51"/>
                  <a:pt x="434" y="51"/>
                  <a:pt x="428" y="49"/>
                </a:cubicBezTo>
                <a:cubicBezTo>
                  <a:pt x="426" y="49"/>
                  <a:pt x="429" y="50"/>
                  <a:pt x="427" y="50"/>
                </a:cubicBezTo>
                <a:cubicBezTo>
                  <a:pt x="424" y="50"/>
                  <a:pt x="424" y="49"/>
                  <a:pt x="426" y="49"/>
                </a:cubicBezTo>
                <a:cubicBezTo>
                  <a:pt x="426" y="48"/>
                  <a:pt x="425" y="49"/>
                  <a:pt x="423" y="48"/>
                </a:cubicBezTo>
                <a:cubicBezTo>
                  <a:pt x="423" y="49"/>
                  <a:pt x="423" y="49"/>
                  <a:pt x="423" y="49"/>
                </a:cubicBezTo>
                <a:cubicBezTo>
                  <a:pt x="416" y="48"/>
                  <a:pt x="410" y="48"/>
                  <a:pt x="402" y="48"/>
                </a:cubicBezTo>
                <a:cubicBezTo>
                  <a:pt x="404" y="47"/>
                  <a:pt x="401" y="47"/>
                  <a:pt x="397" y="47"/>
                </a:cubicBezTo>
                <a:cubicBezTo>
                  <a:pt x="397" y="46"/>
                  <a:pt x="397" y="46"/>
                  <a:pt x="397" y="46"/>
                </a:cubicBezTo>
                <a:cubicBezTo>
                  <a:pt x="394" y="47"/>
                  <a:pt x="393" y="46"/>
                  <a:pt x="391" y="46"/>
                </a:cubicBezTo>
                <a:cubicBezTo>
                  <a:pt x="389" y="46"/>
                  <a:pt x="395" y="47"/>
                  <a:pt x="393" y="48"/>
                </a:cubicBezTo>
                <a:cubicBezTo>
                  <a:pt x="390" y="47"/>
                  <a:pt x="390" y="47"/>
                  <a:pt x="388" y="47"/>
                </a:cubicBezTo>
                <a:cubicBezTo>
                  <a:pt x="386" y="47"/>
                  <a:pt x="388" y="47"/>
                  <a:pt x="388" y="48"/>
                </a:cubicBezTo>
                <a:cubicBezTo>
                  <a:pt x="385" y="48"/>
                  <a:pt x="385" y="47"/>
                  <a:pt x="382" y="48"/>
                </a:cubicBezTo>
                <a:cubicBezTo>
                  <a:pt x="382" y="47"/>
                  <a:pt x="383" y="47"/>
                  <a:pt x="384" y="47"/>
                </a:cubicBezTo>
                <a:cubicBezTo>
                  <a:pt x="383" y="47"/>
                  <a:pt x="380" y="48"/>
                  <a:pt x="380" y="47"/>
                </a:cubicBezTo>
                <a:cubicBezTo>
                  <a:pt x="379" y="47"/>
                  <a:pt x="380" y="48"/>
                  <a:pt x="377" y="48"/>
                </a:cubicBezTo>
                <a:cubicBezTo>
                  <a:pt x="376" y="47"/>
                  <a:pt x="377" y="47"/>
                  <a:pt x="376" y="47"/>
                </a:cubicBezTo>
                <a:cubicBezTo>
                  <a:pt x="375" y="47"/>
                  <a:pt x="371" y="48"/>
                  <a:pt x="375" y="48"/>
                </a:cubicBezTo>
                <a:cubicBezTo>
                  <a:pt x="374" y="48"/>
                  <a:pt x="373" y="49"/>
                  <a:pt x="371" y="49"/>
                </a:cubicBezTo>
                <a:cubicBezTo>
                  <a:pt x="372" y="48"/>
                  <a:pt x="370" y="48"/>
                  <a:pt x="371" y="47"/>
                </a:cubicBezTo>
                <a:cubicBezTo>
                  <a:pt x="370" y="47"/>
                  <a:pt x="367" y="48"/>
                  <a:pt x="368" y="47"/>
                </a:cubicBezTo>
                <a:cubicBezTo>
                  <a:pt x="365" y="48"/>
                  <a:pt x="363" y="48"/>
                  <a:pt x="361" y="48"/>
                </a:cubicBezTo>
                <a:cubicBezTo>
                  <a:pt x="361" y="47"/>
                  <a:pt x="362" y="47"/>
                  <a:pt x="363" y="47"/>
                </a:cubicBezTo>
                <a:cubicBezTo>
                  <a:pt x="363" y="47"/>
                  <a:pt x="361" y="47"/>
                  <a:pt x="359" y="47"/>
                </a:cubicBezTo>
                <a:cubicBezTo>
                  <a:pt x="358" y="48"/>
                  <a:pt x="355" y="48"/>
                  <a:pt x="351" y="48"/>
                </a:cubicBezTo>
                <a:cubicBezTo>
                  <a:pt x="351" y="49"/>
                  <a:pt x="354" y="48"/>
                  <a:pt x="354" y="49"/>
                </a:cubicBezTo>
                <a:cubicBezTo>
                  <a:pt x="350" y="50"/>
                  <a:pt x="351" y="49"/>
                  <a:pt x="348" y="49"/>
                </a:cubicBezTo>
                <a:cubicBezTo>
                  <a:pt x="350" y="50"/>
                  <a:pt x="344" y="50"/>
                  <a:pt x="342" y="50"/>
                </a:cubicBezTo>
                <a:cubicBezTo>
                  <a:pt x="340" y="50"/>
                  <a:pt x="343" y="50"/>
                  <a:pt x="341" y="51"/>
                </a:cubicBezTo>
                <a:cubicBezTo>
                  <a:pt x="336" y="52"/>
                  <a:pt x="334" y="52"/>
                  <a:pt x="332" y="51"/>
                </a:cubicBezTo>
                <a:cubicBezTo>
                  <a:pt x="334" y="50"/>
                  <a:pt x="335" y="51"/>
                  <a:pt x="335" y="51"/>
                </a:cubicBezTo>
                <a:cubicBezTo>
                  <a:pt x="336" y="51"/>
                  <a:pt x="336" y="51"/>
                  <a:pt x="336" y="51"/>
                </a:cubicBezTo>
                <a:cubicBezTo>
                  <a:pt x="336" y="50"/>
                  <a:pt x="334" y="51"/>
                  <a:pt x="335" y="50"/>
                </a:cubicBezTo>
                <a:cubicBezTo>
                  <a:pt x="331" y="51"/>
                  <a:pt x="331" y="51"/>
                  <a:pt x="331" y="52"/>
                </a:cubicBezTo>
                <a:cubicBezTo>
                  <a:pt x="330" y="51"/>
                  <a:pt x="326" y="51"/>
                  <a:pt x="326" y="52"/>
                </a:cubicBezTo>
                <a:cubicBezTo>
                  <a:pt x="323" y="53"/>
                  <a:pt x="325" y="52"/>
                  <a:pt x="326" y="51"/>
                </a:cubicBezTo>
                <a:cubicBezTo>
                  <a:pt x="326" y="51"/>
                  <a:pt x="322" y="52"/>
                  <a:pt x="321" y="53"/>
                </a:cubicBezTo>
                <a:cubicBezTo>
                  <a:pt x="321" y="53"/>
                  <a:pt x="322" y="53"/>
                  <a:pt x="323" y="53"/>
                </a:cubicBezTo>
                <a:cubicBezTo>
                  <a:pt x="321" y="53"/>
                  <a:pt x="315" y="54"/>
                  <a:pt x="316" y="55"/>
                </a:cubicBezTo>
                <a:cubicBezTo>
                  <a:pt x="314" y="56"/>
                  <a:pt x="314" y="55"/>
                  <a:pt x="312" y="55"/>
                </a:cubicBezTo>
                <a:cubicBezTo>
                  <a:pt x="313" y="55"/>
                  <a:pt x="314" y="54"/>
                  <a:pt x="315" y="54"/>
                </a:cubicBezTo>
                <a:cubicBezTo>
                  <a:pt x="317" y="53"/>
                  <a:pt x="317" y="53"/>
                  <a:pt x="320" y="52"/>
                </a:cubicBezTo>
                <a:cubicBezTo>
                  <a:pt x="319" y="52"/>
                  <a:pt x="314" y="54"/>
                  <a:pt x="313" y="54"/>
                </a:cubicBezTo>
                <a:cubicBezTo>
                  <a:pt x="310" y="54"/>
                  <a:pt x="314" y="54"/>
                  <a:pt x="312" y="55"/>
                </a:cubicBezTo>
                <a:cubicBezTo>
                  <a:pt x="308" y="56"/>
                  <a:pt x="308" y="56"/>
                  <a:pt x="304" y="57"/>
                </a:cubicBezTo>
                <a:cubicBezTo>
                  <a:pt x="305" y="57"/>
                  <a:pt x="307" y="57"/>
                  <a:pt x="307" y="56"/>
                </a:cubicBezTo>
                <a:cubicBezTo>
                  <a:pt x="305" y="56"/>
                  <a:pt x="302" y="58"/>
                  <a:pt x="302" y="58"/>
                </a:cubicBezTo>
                <a:cubicBezTo>
                  <a:pt x="299" y="59"/>
                  <a:pt x="304" y="57"/>
                  <a:pt x="301" y="58"/>
                </a:cubicBezTo>
                <a:cubicBezTo>
                  <a:pt x="301" y="57"/>
                  <a:pt x="304" y="57"/>
                  <a:pt x="303" y="57"/>
                </a:cubicBezTo>
                <a:cubicBezTo>
                  <a:pt x="303" y="57"/>
                  <a:pt x="298" y="58"/>
                  <a:pt x="297" y="58"/>
                </a:cubicBezTo>
                <a:cubicBezTo>
                  <a:pt x="298" y="59"/>
                  <a:pt x="301" y="57"/>
                  <a:pt x="301" y="58"/>
                </a:cubicBezTo>
                <a:cubicBezTo>
                  <a:pt x="296" y="59"/>
                  <a:pt x="295" y="60"/>
                  <a:pt x="292" y="60"/>
                </a:cubicBezTo>
                <a:cubicBezTo>
                  <a:pt x="290" y="61"/>
                  <a:pt x="289" y="61"/>
                  <a:pt x="289" y="62"/>
                </a:cubicBezTo>
                <a:cubicBezTo>
                  <a:pt x="288" y="62"/>
                  <a:pt x="283" y="62"/>
                  <a:pt x="283" y="63"/>
                </a:cubicBezTo>
                <a:cubicBezTo>
                  <a:pt x="279" y="65"/>
                  <a:pt x="279" y="64"/>
                  <a:pt x="276" y="65"/>
                </a:cubicBezTo>
                <a:cubicBezTo>
                  <a:pt x="274" y="66"/>
                  <a:pt x="277" y="66"/>
                  <a:pt x="276" y="66"/>
                </a:cubicBezTo>
                <a:cubicBezTo>
                  <a:pt x="273" y="67"/>
                  <a:pt x="273" y="67"/>
                  <a:pt x="273" y="67"/>
                </a:cubicBezTo>
                <a:cubicBezTo>
                  <a:pt x="275" y="65"/>
                  <a:pt x="264" y="71"/>
                  <a:pt x="260" y="71"/>
                </a:cubicBezTo>
                <a:cubicBezTo>
                  <a:pt x="259" y="72"/>
                  <a:pt x="259" y="72"/>
                  <a:pt x="259" y="73"/>
                </a:cubicBezTo>
                <a:cubicBezTo>
                  <a:pt x="257" y="73"/>
                  <a:pt x="254" y="74"/>
                  <a:pt x="253" y="75"/>
                </a:cubicBezTo>
                <a:cubicBezTo>
                  <a:pt x="253" y="75"/>
                  <a:pt x="253" y="75"/>
                  <a:pt x="253" y="74"/>
                </a:cubicBezTo>
                <a:cubicBezTo>
                  <a:pt x="248" y="77"/>
                  <a:pt x="246" y="78"/>
                  <a:pt x="239" y="81"/>
                </a:cubicBezTo>
                <a:cubicBezTo>
                  <a:pt x="240" y="80"/>
                  <a:pt x="244" y="78"/>
                  <a:pt x="245" y="78"/>
                </a:cubicBezTo>
                <a:cubicBezTo>
                  <a:pt x="244" y="78"/>
                  <a:pt x="244" y="76"/>
                  <a:pt x="243" y="77"/>
                </a:cubicBezTo>
                <a:cubicBezTo>
                  <a:pt x="243" y="77"/>
                  <a:pt x="242" y="76"/>
                  <a:pt x="243" y="75"/>
                </a:cubicBezTo>
                <a:cubicBezTo>
                  <a:pt x="244" y="75"/>
                  <a:pt x="244" y="75"/>
                  <a:pt x="245" y="75"/>
                </a:cubicBezTo>
                <a:cubicBezTo>
                  <a:pt x="247" y="74"/>
                  <a:pt x="243" y="74"/>
                  <a:pt x="246" y="73"/>
                </a:cubicBezTo>
                <a:cubicBezTo>
                  <a:pt x="245" y="73"/>
                  <a:pt x="244" y="74"/>
                  <a:pt x="243" y="75"/>
                </a:cubicBezTo>
                <a:cubicBezTo>
                  <a:pt x="243" y="73"/>
                  <a:pt x="250" y="71"/>
                  <a:pt x="252" y="71"/>
                </a:cubicBezTo>
                <a:cubicBezTo>
                  <a:pt x="254" y="70"/>
                  <a:pt x="251" y="70"/>
                  <a:pt x="254" y="69"/>
                </a:cubicBezTo>
                <a:cubicBezTo>
                  <a:pt x="247" y="70"/>
                  <a:pt x="242" y="74"/>
                  <a:pt x="237" y="76"/>
                </a:cubicBezTo>
                <a:cubicBezTo>
                  <a:pt x="236" y="76"/>
                  <a:pt x="237" y="76"/>
                  <a:pt x="237" y="76"/>
                </a:cubicBezTo>
                <a:cubicBezTo>
                  <a:pt x="235" y="77"/>
                  <a:pt x="233" y="78"/>
                  <a:pt x="233" y="78"/>
                </a:cubicBezTo>
                <a:cubicBezTo>
                  <a:pt x="234" y="77"/>
                  <a:pt x="235" y="77"/>
                  <a:pt x="235" y="76"/>
                </a:cubicBezTo>
                <a:cubicBezTo>
                  <a:pt x="232" y="77"/>
                  <a:pt x="234" y="77"/>
                  <a:pt x="231" y="78"/>
                </a:cubicBezTo>
                <a:cubicBezTo>
                  <a:pt x="229" y="78"/>
                  <a:pt x="231" y="77"/>
                  <a:pt x="227" y="79"/>
                </a:cubicBezTo>
                <a:cubicBezTo>
                  <a:pt x="227" y="78"/>
                  <a:pt x="230" y="77"/>
                  <a:pt x="231" y="76"/>
                </a:cubicBezTo>
                <a:cubicBezTo>
                  <a:pt x="229" y="77"/>
                  <a:pt x="228" y="77"/>
                  <a:pt x="224" y="79"/>
                </a:cubicBezTo>
                <a:cubicBezTo>
                  <a:pt x="227" y="76"/>
                  <a:pt x="236" y="73"/>
                  <a:pt x="233" y="72"/>
                </a:cubicBezTo>
                <a:cubicBezTo>
                  <a:pt x="233" y="72"/>
                  <a:pt x="231" y="72"/>
                  <a:pt x="231" y="72"/>
                </a:cubicBezTo>
                <a:cubicBezTo>
                  <a:pt x="229" y="73"/>
                  <a:pt x="233" y="72"/>
                  <a:pt x="230" y="73"/>
                </a:cubicBezTo>
                <a:cubicBezTo>
                  <a:pt x="230" y="73"/>
                  <a:pt x="232" y="73"/>
                  <a:pt x="232" y="73"/>
                </a:cubicBezTo>
                <a:cubicBezTo>
                  <a:pt x="227" y="76"/>
                  <a:pt x="222" y="80"/>
                  <a:pt x="219" y="80"/>
                </a:cubicBezTo>
                <a:cubicBezTo>
                  <a:pt x="223" y="79"/>
                  <a:pt x="216" y="80"/>
                  <a:pt x="222" y="77"/>
                </a:cubicBezTo>
                <a:cubicBezTo>
                  <a:pt x="221" y="76"/>
                  <a:pt x="216" y="78"/>
                  <a:pt x="218" y="76"/>
                </a:cubicBezTo>
                <a:cubicBezTo>
                  <a:pt x="217" y="77"/>
                  <a:pt x="210" y="80"/>
                  <a:pt x="210" y="82"/>
                </a:cubicBezTo>
                <a:cubicBezTo>
                  <a:pt x="205" y="84"/>
                  <a:pt x="210" y="81"/>
                  <a:pt x="203" y="85"/>
                </a:cubicBezTo>
                <a:cubicBezTo>
                  <a:pt x="207" y="83"/>
                  <a:pt x="205" y="85"/>
                  <a:pt x="206" y="85"/>
                </a:cubicBezTo>
                <a:cubicBezTo>
                  <a:pt x="203" y="87"/>
                  <a:pt x="205" y="85"/>
                  <a:pt x="204" y="85"/>
                </a:cubicBezTo>
                <a:cubicBezTo>
                  <a:pt x="202" y="86"/>
                  <a:pt x="201" y="88"/>
                  <a:pt x="199" y="88"/>
                </a:cubicBezTo>
                <a:cubicBezTo>
                  <a:pt x="199" y="89"/>
                  <a:pt x="199" y="89"/>
                  <a:pt x="198" y="89"/>
                </a:cubicBezTo>
                <a:cubicBezTo>
                  <a:pt x="200" y="89"/>
                  <a:pt x="202" y="86"/>
                  <a:pt x="203" y="86"/>
                </a:cubicBezTo>
                <a:cubicBezTo>
                  <a:pt x="204" y="87"/>
                  <a:pt x="202" y="88"/>
                  <a:pt x="201" y="88"/>
                </a:cubicBezTo>
                <a:cubicBezTo>
                  <a:pt x="201" y="89"/>
                  <a:pt x="205" y="87"/>
                  <a:pt x="202" y="89"/>
                </a:cubicBezTo>
                <a:cubicBezTo>
                  <a:pt x="202" y="89"/>
                  <a:pt x="204" y="88"/>
                  <a:pt x="205" y="87"/>
                </a:cubicBezTo>
                <a:cubicBezTo>
                  <a:pt x="203" y="89"/>
                  <a:pt x="198" y="91"/>
                  <a:pt x="198" y="92"/>
                </a:cubicBezTo>
                <a:cubicBezTo>
                  <a:pt x="198" y="92"/>
                  <a:pt x="198" y="91"/>
                  <a:pt x="195" y="93"/>
                </a:cubicBezTo>
                <a:cubicBezTo>
                  <a:pt x="195" y="92"/>
                  <a:pt x="196" y="92"/>
                  <a:pt x="197" y="91"/>
                </a:cubicBezTo>
                <a:cubicBezTo>
                  <a:pt x="196" y="91"/>
                  <a:pt x="194" y="92"/>
                  <a:pt x="192" y="94"/>
                </a:cubicBezTo>
                <a:cubicBezTo>
                  <a:pt x="191" y="94"/>
                  <a:pt x="190" y="94"/>
                  <a:pt x="190" y="93"/>
                </a:cubicBezTo>
                <a:cubicBezTo>
                  <a:pt x="187" y="95"/>
                  <a:pt x="190" y="94"/>
                  <a:pt x="187" y="96"/>
                </a:cubicBezTo>
                <a:cubicBezTo>
                  <a:pt x="189" y="94"/>
                  <a:pt x="184" y="97"/>
                  <a:pt x="184" y="96"/>
                </a:cubicBezTo>
                <a:cubicBezTo>
                  <a:pt x="182" y="98"/>
                  <a:pt x="180" y="99"/>
                  <a:pt x="179" y="100"/>
                </a:cubicBezTo>
                <a:cubicBezTo>
                  <a:pt x="179" y="99"/>
                  <a:pt x="179" y="98"/>
                  <a:pt x="181" y="98"/>
                </a:cubicBezTo>
                <a:cubicBezTo>
                  <a:pt x="184" y="96"/>
                  <a:pt x="180" y="98"/>
                  <a:pt x="180" y="97"/>
                </a:cubicBezTo>
                <a:cubicBezTo>
                  <a:pt x="184" y="95"/>
                  <a:pt x="186" y="93"/>
                  <a:pt x="191" y="90"/>
                </a:cubicBezTo>
                <a:cubicBezTo>
                  <a:pt x="188" y="92"/>
                  <a:pt x="189" y="92"/>
                  <a:pt x="192" y="90"/>
                </a:cubicBezTo>
                <a:cubicBezTo>
                  <a:pt x="194" y="88"/>
                  <a:pt x="194" y="88"/>
                  <a:pt x="198" y="86"/>
                </a:cubicBezTo>
                <a:cubicBezTo>
                  <a:pt x="200" y="85"/>
                  <a:pt x="196" y="86"/>
                  <a:pt x="200" y="84"/>
                </a:cubicBezTo>
                <a:cubicBezTo>
                  <a:pt x="199" y="85"/>
                  <a:pt x="204" y="82"/>
                  <a:pt x="204" y="84"/>
                </a:cubicBezTo>
                <a:cubicBezTo>
                  <a:pt x="204" y="84"/>
                  <a:pt x="206" y="83"/>
                  <a:pt x="208" y="82"/>
                </a:cubicBezTo>
                <a:cubicBezTo>
                  <a:pt x="208" y="81"/>
                  <a:pt x="209" y="81"/>
                  <a:pt x="209" y="81"/>
                </a:cubicBezTo>
                <a:cubicBezTo>
                  <a:pt x="209" y="80"/>
                  <a:pt x="205" y="82"/>
                  <a:pt x="207" y="82"/>
                </a:cubicBezTo>
                <a:cubicBezTo>
                  <a:pt x="205" y="83"/>
                  <a:pt x="203" y="84"/>
                  <a:pt x="203" y="83"/>
                </a:cubicBezTo>
                <a:cubicBezTo>
                  <a:pt x="206" y="81"/>
                  <a:pt x="206" y="81"/>
                  <a:pt x="206" y="81"/>
                </a:cubicBezTo>
                <a:cubicBezTo>
                  <a:pt x="206" y="81"/>
                  <a:pt x="205" y="82"/>
                  <a:pt x="206" y="82"/>
                </a:cubicBezTo>
                <a:cubicBezTo>
                  <a:pt x="208" y="81"/>
                  <a:pt x="207" y="81"/>
                  <a:pt x="207" y="80"/>
                </a:cubicBezTo>
                <a:cubicBezTo>
                  <a:pt x="208" y="79"/>
                  <a:pt x="209" y="80"/>
                  <a:pt x="210" y="79"/>
                </a:cubicBezTo>
                <a:cubicBezTo>
                  <a:pt x="212" y="78"/>
                  <a:pt x="209" y="81"/>
                  <a:pt x="213" y="79"/>
                </a:cubicBezTo>
                <a:cubicBezTo>
                  <a:pt x="215" y="78"/>
                  <a:pt x="214" y="77"/>
                  <a:pt x="216" y="77"/>
                </a:cubicBezTo>
                <a:cubicBezTo>
                  <a:pt x="218" y="75"/>
                  <a:pt x="218" y="73"/>
                  <a:pt x="217" y="73"/>
                </a:cubicBezTo>
                <a:cubicBezTo>
                  <a:pt x="216" y="74"/>
                  <a:pt x="216" y="74"/>
                  <a:pt x="213" y="75"/>
                </a:cubicBezTo>
                <a:cubicBezTo>
                  <a:pt x="213" y="74"/>
                  <a:pt x="213" y="74"/>
                  <a:pt x="213" y="74"/>
                </a:cubicBezTo>
                <a:cubicBezTo>
                  <a:pt x="219" y="70"/>
                  <a:pt x="218" y="72"/>
                  <a:pt x="221" y="70"/>
                </a:cubicBezTo>
                <a:cubicBezTo>
                  <a:pt x="222" y="70"/>
                  <a:pt x="220" y="71"/>
                  <a:pt x="219" y="72"/>
                </a:cubicBezTo>
                <a:cubicBezTo>
                  <a:pt x="218" y="73"/>
                  <a:pt x="221" y="71"/>
                  <a:pt x="219" y="73"/>
                </a:cubicBezTo>
                <a:cubicBezTo>
                  <a:pt x="219" y="73"/>
                  <a:pt x="223" y="71"/>
                  <a:pt x="222" y="72"/>
                </a:cubicBezTo>
                <a:cubicBezTo>
                  <a:pt x="224" y="71"/>
                  <a:pt x="221" y="72"/>
                  <a:pt x="221" y="71"/>
                </a:cubicBezTo>
                <a:cubicBezTo>
                  <a:pt x="224" y="70"/>
                  <a:pt x="221" y="70"/>
                  <a:pt x="224" y="68"/>
                </a:cubicBezTo>
                <a:cubicBezTo>
                  <a:pt x="224" y="68"/>
                  <a:pt x="224" y="68"/>
                  <a:pt x="224" y="68"/>
                </a:cubicBezTo>
                <a:cubicBezTo>
                  <a:pt x="223" y="68"/>
                  <a:pt x="223" y="69"/>
                  <a:pt x="221" y="70"/>
                </a:cubicBezTo>
                <a:cubicBezTo>
                  <a:pt x="224" y="66"/>
                  <a:pt x="231" y="66"/>
                  <a:pt x="235" y="63"/>
                </a:cubicBezTo>
                <a:cubicBezTo>
                  <a:pt x="234" y="63"/>
                  <a:pt x="233" y="64"/>
                  <a:pt x="234" y="62"/>
                </a:cubicBezTo>
                <a:cubicBezTo>
                  <a:pt x="231" y="63"/>
                  <a:pt x="234" y="63"/>
                  <a:pt x="231" y="64"/>
                </a:cubicBezTo>
                <a:cubicBezTo>
                  <a:pt x="233" y="63"/>
                  <a:pt x="232" y="63"/>
                  <a:pt x="234" y="61"/>
                </a:cubicBezTo>
                <a:cubicBezTo>
                  <a:pt x="236" y="60"/>
                  <a:pt x="235" y="61"/>
                  <a:pt x="234" y="61"/>
                </a:cubicBezTo>
                <a:cubicBezTo>
                  <a:pt x="235" y="61"/>
                  <a:pt x="236" y="61"/>
                  <a:pt x="236" y="62"/>
                </a:cubicBezTo>
                <a:cubicBezTo>
                  <a:pt x="239" y="60"/>
                  <a:pt x="239" y="60"/>
                  <a:pt x="241" y="59"/>
                </a:cubicBezTo>
                <a:cubicBezTo>
                  <a:pt x="240" y="60"/>
                  <a:pt x="244" y="58"/>
                  <a:pt x="245" y="58"/>
                </a:cubicBezTo>
                <a:cubicBezTo>
                  <a:pt x="248" y="57"/>
                  <a:pt x="244" y="57"/>
                  <a:pt x="247" y="57"/>
                </a:cubicBezTo>
                <a:cubicBezTo>
                  <a:pt x="249" y="55"/>
                  <a:pt x="249" y="56"/>
                  <a:pt x="249" y="56"/>
                </a:cubicBezTo>
                <a:cubicBezTo>
                  <a:pt x="248" y="58"/>
                  <a:pt x="246" y="58"/>
                  <a:pt x="244" y="59"/>
                </a:cubicBezTo>
                <a:cubicBezTo>
                  <a:pt x="245" y="59"/>
                  <a:pt x="246" y="59"/>
                  <a:pt x="244" y="61"/>
                </a:cubicBezTo>
                <a:cubicBezTo>
                  <a:pt x="244" y="61"/>
                  <a:pt x="245" y="60"/>
                  <a:pt x="245" y="61"/>
                </a:cubicBezTo>
                <a:cubicBezTo>
                  <a:pt x="245" y="60"/>
                  <a:pt x="245" y="60"/>
                  <a:pt x="246" y="59"/>
                </a:cubicBezTo>
                <a:cubicBezTo>
                  <a:pt x="247" y="59"/>
                  <a:pt x="248" y="59"/>
                  <a:pt x="248" y="59"/>
                </a:cubicBezTo>
                <a:cubicBezTo>
                  <a:pt x="250" y="58"/>
                  <a:pt x="245" y="59"/>
                  <a:pt x="246" y="59"/>
                </a:cubicBezTo>
                <a:cubicBezTo>
                  <a:pt x="248" y="57"/>
                  <a:pt x="253" y="56"/>
                  <a:pt x="253" y="55"/>
                </a:cubicBezTo>
                <a:cubicBezTo>
                  <a:pt x="255" y="54"/>
                  <a:pt x="255" y="55"/>
                  <a:pt x="257" y="55"/>
                </a:cubicBezTo>
                <a:cubicBezTo>
                  <a:pt x="257" y="54"/>
                  <a:pt x="264" y="50"/>
                  <a:pt x="267" y="50"/>
                </a:cubicBezTo>
                <a:cubicBezTo>
                  <a:pt x="271" y="49"/>
                  <a:pt x="268" y="48"/>
                  <a:pt x="268" y="48"/>
                </a:cubicBezTo>
                <a:cubicBezTo>
                  <a:pt x="266" y="49"/>
                  <a:pt x="263" y="49"/>
                  <a:pt x="263" y="50"/>
                </a:cubicBezTo>
                <a:cubicBezTo>
                  <a:pt x="263" y="50"/>
                  <a:pt x="265" y="50"/>
                  <a:pt x="266" y="49"/>
                </a:cubicBezTo>
                <a:cubicBezTo>
                  <a:pt x="263" y="51"/>
                  <a:pt x="256" y="53"/>
                  <a:pt x="253" y="55"/>
                </a:cubicBezTo>
                <a:cubicBezTo>
                  <a:pt x="253" y="54"/>
                  <a:pt x="252" y="54"/>
                  <a:pt x="254" y="53"/>
                </a:cubicBezTo>
                <a:cubicBezTo>
                  <a:pt x="256" y="52"/>
                  <a:pt x="258" y="52"/>
                  <a:pt x="258" y="51"/>
                </a:cubicBezTo>
                <a:cubicBezTo>
                  <a:pt x="261" y="50"/>
                  <a:pt x="259" y="52"/>
                  <a:pt x="257" y="52"/>
                </a:cubicBezTo>
                <a:cubicBezTo>
                  <a:pt x="261" y="51"/>
                  <a:pt x="263" y="49"/>
                  <a:pt x="267" y="48"/>
                </a:cubicBezTo>
                <a:cubicBezTo>
                  <a:pt x="262" y="49"/>
                  <a:pt x="253" y="52"/>
                  <a:pt x="247" y="55"/>
                </a:cubicBezTo>
                <a:cubicBezTo>
                  <a:pt x="244" y="56"/>
                  <a:pt x="242" y="56"/>
                  <a:pt x="242" y="55"/>
                </a:cubicBezTo>
                <a:cubicBezTo>
                  <a:pt x="240" y="56"/>
                  <a:pt x="242" y="56"/>
                  <a:pt x="242" y="57"/>
                </a:cubicBezTo>
                <a:cubicBezTo>
                  <a:pt x="240" y="57"/>
                  <a:pt x="241" y="58"/>
                  <a:pt x="239" y="58"/>
                </a:cubicBezTo>
                <a:cubicBezTo>
                  <a:pt x="238" y="58"/>
                  <a:pt x="240" y="57"/>
                  <a:pt x="239" y="57"/>
                </a:cubicBezTo>
                <a:cubicBezTo>
                  <a:pt x="238" y="57"/>
                  <a:pt x="236" y="58"/>
                  <a:pt x="234" y="59"/>
                </a:cubicBezTo>
                <a:cubicBezTo>
                  <a:pt x="233" y="60"/>
                  <a:pt x="235" y="59"/>
                  <a:pt x="234" y="60"/>
                </a:cubicBezTo>
                <a:cubicBezTo>
                  <a:pt x="236" y="59"/>
                  <a:pt x="235" y="59"/>
                  <a:pt x="235" y="59"/>
                </a:cubicBezTo>
                <a:cubicBezTo>
                  <a:pt x="237" y="57"/>
                  <a:pt x="237" y="58"/>
                  <a:pt x="239" y="58"/>
                </a:cubicBezTo>
                <a:cubicBezTo>
                  <a:pt x="238" y="59"/>
                  <a:pt x="227" y="63"/>
                  <a:pt x="229" y="64"/>
                </a:cubicBezTo>
                <a:cubicBezTo>
                  <a:pt x="228" y="64"/>
                  <a:pt x="227" y="64"/>
                  <a:pt x="226" y="64"/>
                </a:cubicBezTo>
                <a:cubicBezTo>
                  <a:pt x="229" y="61"/>
                  <a:pt x="225" y="63"/>
                  <a:pt x="223" y="62"/>
                </a:cubicBezTo>
                <a:cubicBezTo>
                  <a:pt x="222" y="63"/>
                  <a:pt x="222" y="63"/>
                  <a:pt x="220" y="64"/>
                </a:cubicBezTo>
                <a:cubicBezTo>
                  <a:pt x="220" y="64"/>
                  <a:pt x="221" y="63"/>
                  <a:pt x="221" y="63"/>
                </a:cubicBezTo>
                <a:cubicBezTo>
                  <a:pt x="216" y="65"/>
                  <a:pt x="222" y="64"/>
                  <a:pt x="217" y="66"/>
                </a:cubicBezTo>
                <a:cubicBezTo>
                  <a:pt x="217" y="65"/>
                  <a:pt x="218" y="65"/>
                  <a:pt x="218" y="64"/>
                </a:cubicBezTo>
                <a:cubicBezTo>
                  <a:pt x="213" y="68"/>
                  <a:pt x="214" y="68"/>
                  <a:pt x="210" y="70"/>
                </a:cubicBezTo>
                <a:cubicBezTo>
                  <a:pt x="209" y="69"/>
                  <a:pt x="209" y="69"/>
                  <a:pt x="209" y="69"/>
                </a:cubicBezTo>
                <a:cubicBezTo>
                  <a:pt x="209" y="69"/>
                  <a:pt x="207" y="71"/>
                  <a:pt x="205" y="72"/>
                </a:cubicBezTo>
                <a:cubicBezTo>
                  <a:pt x="205" y="72"/>
                  <a:pt x="207" y="72"/>
                  <a:pt x="204" y="74"/>
                </a:cubicBezTo>
                <a:cubicBezTo>
                  <a:pt x="204" y="73"/>
                  <a:pt x="205" y="72"/>
                  <a:pt x="203" y="73"/>
                </a:cubicBezTo>
                <a:cubicBezTo>
                  <a:pt x="201" y="75"/>
                  <a:pt x="199" y="76"/>
                  <a:pt x="198" y="77"/>
                </a:cubicBezTo>
                <a:cubicBezTo>
                  <a:pt x="199" y="76"/>
                  <a:pt x="202" y="75"/>
                  <a:pt x="198" y="78"/>
                </a:cubicBezTo>
                <a:cubicBezTo>
                  <a:pt x="199" y="78"/>
                  <a:pt x="201" y="77"/>
                  <a:pt x="203" y="75"/>
                </a:cubicBezTo>
                <a:cubicBezTo>
                  <a:pt x="203" y="76"/>
                  <a:pt x="196" y="80"/>
                  <a:pt x="194" y="81"/>
                </a:cubicBezTo>
                <a:cubicBezTo>
                  <a:pt x="197" y="79"/>
                  <a:pt x="196" y="79"/>
                  <a:pt x="197" y="77"/>
                </a:cubicBezTo>
                <a:cubicBezTo>
                  <a:pt x="194" y="79"/>
                  <a:pt x="195" y="78"/>
                  <a:pt x="192" y="80"/>
                </a:cubicBezTo>
                <a:cubicBezTo>
                  <a:pt x="191" y="80"/>
                  <a:pt x="192" y="80"/>
                  <a:pt x="192" y="81"/>
                </a:cubicBezTo>
                <a:cubicBezTo>
                  <a:pt x="187" y="83"/>
                  <a:pt x="184" y="85"/>
                  <a:pt x="179" y="89"/>
                </a:cubicBezTo>
                <a:cubicBezTo>
                  <a:pt x="179" y="89"/>
                  <a:pt x="180" y="89"/>
                  <a:pt x="180" y="89"/>
                </a:cubicBezTo>
                <a:cubicBezTo>
                  <a:pt x="181" y="88"/>
                  <a:pt x="181" y="88"/>
                  <a:pt x="183" y="87"/>
                </a:cubicBezTo>
                <a:cubicBezTo>
                  <a:pt x="182" y="88"/>
                  <a:pt x="182" y="89"/>
                  <a:pt x="182" y="90"/>
                </a:cubicBezTo>
                <a:cubicBezTo>
                  <a:pt x="179" y="91"/>
                  <a:pt x="178" y="93"/>
                  <a:pt x="177" y="92"/>
                </a:cubicBezTo>
                <a:cubicBezTo>
                  <a:pt x="176" y="94"/>
                  <a:pt x="174" y="95"/>
                  <a:pt x="172" y="96"/>
                </a:cubicBezTo>
                <a:cubicBezTo>
                  <a:pt x="171" y="96"/>
                  <a:pt x="173" y="94"/>
                  <a:pt x="173" y="94"/>
                </a:cubicBezTo>
                <a:cubicBezTo>
                  <a:pt x="169" y="96"/>
                  <a:pt x="172" y="96"/>
                  <a:pt x="171" y="97"/>
                </a:cubicBezTo>
                <a:cubicBezTo>
                  <a:pt x="171" y="97"/>
                  <a:pt x="172" y="96"/>
                  <a:pt x="173" y="95"/>
                </a:cubicBezTo>
                <a:cubicBezTo>
                  <a:pt x="173" y="96"/>
                  <a:pt x="169" y="100"/>
                  <a:pt x="173" y="97"/>
                </a:cubicBezTo>
                <a:cubicBezTo>
                  <a:pt x="171" y="99"/>
                  <a:pt x="166" y="102"/>
                  <a:pt x="166" y="101"/>
                </a:cubicBezTo>
                <a:cubicBezTo>
                  <a:pt x="169" y="98"/>
                  <a:pt x="167" y="98"/>
                  <a:pt x="169" y="97"/>
                </a:cubicBezTo>
                <a:cubicBezTo>
                  <a:pt x="168" y="96"/>
                  <a:pt x="165" y="99"/>
                  <a:pt x="163" y="101"/>
                </a:cubicBezTo>
                <a:cubicBezTo>
                  <a:pt x="163" y="101"/>
                  <a:pt x="162" y="101"/>
                  <a:pt x="162" y="101"/>
                </a:cubicBezTo>
                <a:cubicBezTo>
                  <a:pt x="162" y="101"/>
                  <a:pt x="163" y="100"/>
                  <a:pt x="163" y="100"/>
                </a:cubicBezTo>
                <a:cubicBezTo>
                  <a:pt x="163" y="100"/>
                  <a:pt x="162" y="100"/>
                  <a:pt x="161" y="101"/>
                </a:cubicBezTo>
                <a:cubicBezTo>
                  <a:pt x="162" y="102"/>
                  <a:pt x="162" y="102"/>
                  <a:pt x="158" y="102"/>
                </a:cubicBezTo>
                <a:cubicBezTo>
                  <a:pt x="157" y="104"/>
                  <a:pt x="161" y="102"/>
                  <a:pt x="157" y="105"/>
                </a:cubicBezTo>
                <a:cubicBezTo>
                  <a:pt x="157" y="104"/>
                  <a:pt x="155" y="105"/>
                  <a:pt x="154" y="106"/>
                </a:cubicBezTo>
                <a:cubicBezTo>
                  <a:pt x="157" y="105"/>
                  <a:pt x="154" y="107"/>
                  <a:pt x="154" y="107"/>
                </a:cubicBezTo>
                <a:cubicBezTo>
                  <a:pt x="152" y="109"/>
                  <a:pt x="153" y="108"/>
                  <a:pt x="151" y="109"/>
                </a:cubicBezTo>
                <a:cubicBezTo>
                  <a:pt x="151" y="109"/>
                  <a:pt x="153" y="108"/>
                  <a:pt x="152" y="108"/>
                </a:cubicBezTo>
                <a:cubicBezTo>
                  <a:pt x="152" y="108"/>
                  <a:pt x="152" y="108"/>
                  <a:pt x="151" y="108"/>
                </a:cubicBezTo>
                <a:cubicBezTo>
                  <a:pt x="150" y="109"/>
                  <a:pt x="151" y="109"/>
                  <a:pt x="150" y="110"/>
                </a:cubicBezTo>
                <a:cubicBezTo>
                  <a:pt x="150" y="111"/>
                  <a:pt x="153" y="108"/>
                  <a:pt x="150" y="111"/>
                </a:cubicBezTo>
                <a:cubicBezTo>
                  <a:pt x="151" y="111"/>
                  <a:pt x="154" y="109"/>
                  <a:pt x="154" y="108"/>
                </a:cubicBezTo>
                <a:cubicBezTo>
                  <a:pt x="154" y="109"/>
                  <a:pt x="156" y="108"/>
                  <a:pt x="156" y="108"/>
                </a:cubicBezTo>
                <a:cubicBezTo>
                  <a:pt x="154" y="110"/>
                  <a:pt x="154" y="109"/>
                  <a:pt x="153" y="110"/>
                </a:cubicBezTo>
                <a:cubicBezTo>
                  <a:pt x="152" y="111"/>
                  <a:pt x="149" y="113"/>
                  <a:pt x="149" y="114"/>
                </a:cubicBezTo>
                <a:cubicBezTo>
                  <a:pt x="150" y="113"/>
                  <a:pt x="153" y="110"/>
                  <a:pt x="154" y="111"/>
                </a:cubicBezTo>
                <a:cubicBezTo>
                  <a:pt x="151" y="113"/>
                  <a:pt x="152" y="113"/>
                  <a:pt x="153" y="113"/>
                </a:cubicBezTo>
                <a:cubicBezTo>
                  <a:pt x="153" y="113"/>
                  <a:pt x="152" y="113"/>
                  <a:pt x="152" y="113"/>
                </a:cubicBezTo>
                <a:cubicBezTo>
                  <a:pt x="152" y="113"/>
                  <a:pt x="152" y="114"/>
                  <a:pt x="152" y="114"/>
                </a:cubicBezTo>
                <a:cubicBezTo>
                  <a:pt x="150" y="114"/>
                  <a:pt x="153" y="111"/>
                  <a:pt x="149" y="114"/>
                </a:cubicBezTo>
                <a:cubicBezTo>
                  <a:pt x="149" y="116"/>
                  <a:pt x="146" y="119"/>
                  <a:pt x="150" y="117"/>
                </a:cubicBezTo>
                <a:cubicBezTo>
                  <a:pt x="149" y="118"/>
                  <a:pt x="149" y="118"/>
                  <a:pt x="149" y="118"/>
                </a:cubicBezTo>
                <a:cubicBezTo>
                  <a:pt x="147" y="120"/>
                  <a:pt x="146" y="119"/>
                  <a:pt x="147" y="118"/>
                </a:cubicBezTo>
                <a:cubicBezTo>
                  <a:pt x="144" y="118"/>
                  <a:pt x="140" y="124"/>
                  <a:pt x="138" y="124"/>
                </a:cubicBezTo>
                <a:cubicBezTo>
                  <a:pt x="139" y="124"/>
                  <a:pt x="136" y="126"/>
                  <a:pt x="136" y="127"/>
                </a:cubicBezTo>
                <a:cubicBezTo>
                  <a:pt x="137" y="127"/>
                  <a:pt x="140" y="125"/>
                  <a:pt x="143" y="122"/>
                </a:cubicBezTo>
                <a:cubicBezTo>
                  <a:pt x="143" y="122"/>
                  <a:pt x="143" y="122"/>
                  <a:pt x="143" y="122"/>
                </a:cubicBezTo>
                <a:cubicBezTo>
                  <a:pt x="144" y="121"/>
                  <a:pt x="142" y="123"/>
                  <a:pt x="144" y="123"/>
                </a:cubicBezTo>
                <a:cubicBezTo>
                  <a:pt x="142" y="122"/>
                  <a:pt x="139" y="127"/>
                  <a:pt x="138" y="126"/>
                </a:cubicBezTo>
                <a:cubicBezTo>
                  <a:pt x="135" y="128"/>
                  <a:pt x="135" y="129"/>
                  <a:pt x="134" y="130"/>
                </a:cubicBezTo>
                <a:cubicBezTo>
                  <a:pt x="137" y="129"/>
                  <a:pt x="137" y="128"/>
                  <a:pt x="139" y="127"/>
                </a:cubicBezTo>
                <a:cubicBezTo>
                  <a:pt x="139" y="128"/>
                  <a:pt x="140" y="127"/>
                  <a:pt x="139" y="128"/>
                </a:cubicBezTo>
                <a:cubicBezTo>
                  <a:pt x="140" y="128"/>
                  <a:pt x="141" y="127"/>
                  <a:pt x="141" y="127"/>
                </a:cubicBezTo>
                <a:cubicBezTo>
                  <a:pt x="142" y="126"/>
                  <a:pt x="142" y="126"/>
                  <a:pt x="142" y="126"/>
                </a:cubicBezTo>
                <a:cubicBezTo>
                  <a:pt x="143" y="125"/>
                  <a:pt x="144" y="125"/>
                  <a:pt x="146" y="123"/>
                </a:cubicBezTo>
                <a:cubicBezTo>
                  <a:pt x="147" y="121"/>
                  <a:pt x="151" y="120"/>
                  <a:pt x="154" y="116"/>
                </a:cubicBezTo>
                <a:cubicBezTo>
                  <a:pt x="159" y="114"/>
                  <a:pt x="160" y="110"/>
                  <a:pt x="162" y="111"/>
                </a:cubicBezTo>
                <a:cubicBezTo>
                  <a:pt x="165" y="107"/>
                  <a:pt x="169" y="106"/>
                  <a:pt x="173" y="103"/>
                </a:cubicBezTo>
                <a:cubicBezTo>
                  <a:pt x="175" y="101"/>
                  <a:pt x="172" y="103"/>
                  <a:pt x="174" y="102"/>
                </a:cubicBezTo>
                <a:cubicBezTo>
                  <a:pt x="175" y="101"/>
                  <a:pt x="176" y="101"/>
                  <a:pt x="178" y="100"/>
                </a:cubicBezTo>
                <a:cubicBezTo>
                  <a:pt x="174" y="104"/>
                  <a:pt x="169" y="106"/>
                  <a:pt x="163" y="111"/>
                </a:cubicBezTo>
                <a:cubicBezTo>
                  <a:pt x="166" y="111"/>
                  <a:pt x="178" y="99"/>
                  <a:pt x="183" y="98"/>
                </a:cubicBezTo>
                <a:cubicBezTo>
                  <a:pt x="183" y="98"/>
                  <a:pt x="180" y="101"/>
                  <a:pt x="183" y="99"/>
                </a:cubicBezTo>
                <a:cubicBezTo>
                  <a:pt x="183" y="100"/>
                  <a:pt x="177" y="103"/>
                  <a:pt x="177" y="104"/>
                </a:cubicBezTo>
                <a:cubicBezTo>
                  <a:pt x="173" y="106"/>
                  <a:pt x="172" y="108"/>
                  <a:pt x="168" y="110"/>
                </a:cubicBezTo>
                <a:cubicBezTo>
                  <a:pt x="168" y="111"/>
                  <a:pt x="168" y="111"/>
                  <a:pt x="168" y="111"/>
                </a:cubicBezTo>
                <a:cubicBezTo>
                  <a:pt x="170" y="109"/>
                  <a:pt x="173" y="108"/>
                  <a:pt x="176" y="106"/>
                </a:cubicBezTo>
                <a:cubicBezTo>
                  <a:pt x="175" y="107"/>
                  <a:pt x="175" y="107"/>
                  <a:pt x="176" y="107"/>
                </a:cubicBezTo>
                <a:cubicBezTo>
                  <a:pt x="173" y="109"/>
                  <a:pt x="173" y="109"/>
                  <a:pt x="169" y="112"/>
                </a:cubicBezTo>
                <a:cubicBezTo>
                  <a:pt x="168" y="112"/>
                  <a:pt x="168" y="112"/>
                  <a:pt x="168" y="112"/>
                </a:cubicBezTo>
                <a:cubicBezTo>
                  <a:pt x="166" y="114"/>
                  <a:pt x="163" y="116"/>
                  <a:pt x="159" y="119"/>
                </a:cubicBezTo>
                <a:cubicBezTo>
                  <a:pt x="160" y="120"/>
                  <a:pt x="165" y="115"/>
                  <a:pt x="166" y="114"/>
                </a:cubicBezTo>
                <a:cubicBezTo>
                  <a:pt x="167" y="114"/>
                  <a:pt x="166" y="114"/>
                  <a:pt x="166" y="114"/>
                </a:cubicBezTo>
                <a:cubicBezTo>
                  <a:pt x="164" y="116"/>
                  <a:pt x="168" y="113"/>
                  <a:pt x="168" y="114"/>
                </a:cubicBezTo>
                <a:cubicBezTo>
                  <a:pt x="169" y="112"/>
                  <a:pt x="172" y="111"/>
                  <a:pt x="175" y="108"/>
                </a:cubicBezTo>
                <a:cubicBezTo>
                  <a:pt x="175" y="109"/>
                  <a:pt x="174" y="110"/>
                  <a:pt x="174" y="110"/>
                </a:cubicBezTo>
                <a:cubicBezTo>
                  <a:pt x="176" y="108"/>
                  <a:pt x="181" y="104"/>
                  <a:pt x="183" y="104"/>
                </a:cubicBezTo>
                <a:cubicBezTo>
                  <a:pt x="185" y="102"/>
                  <a:pt x="189" y="100"/>
                  <a:pt x="190" y="98"/>
                </a:cubicBezTo>
                <a:cubicBezTo>
                  <a:pt x="191" y="98"/>
                  <a:pt x="196" y="95"/>
                  <a:pt x="199" y="93"/>
                </a:cubicBezTo>
                <a:cubicBezTo>
                  <a:pt x="199" y="93"/>
                  <a:pt x="198" y="94"/>
                  <a:pt x="198" y="94"/>
                </a:cubicBezTo>
                <a:cubicBezTo>
                  <a:pt x="203" y="90"/>
                  <a:pt x="208" y="88"/>
                  <a:pt x="215" y="83"/>
                </a:cubicBezTo>
                <a:cubicBezTo>
                  <a:pt x="214" y="84"/>
                  <a:pt x="214" y="85"/>
                  <a:pt x="215" y="84"/>
                </a:cubicBezTo>
                <a:cubicBezTo>
                  <a:pt x="218" y="83"/>
                  <a:pt x="214" y="85"/>
                  <a:pt x="215" y="85"/>
                </a:cubicBezTo>
                <a:cubicBezTo>
                  <a:pt x="212" y="86"/>
                  <a:pt x="211" y="87"/>
                  <a:pt x="208" y="88"/>
                </a:cubicBezTo>
                <a:cubicBezTo>
                  <a:pt x="206" y="89"/>
                  <a:pt x="209" y="88"/>
                  <a:pt x="209" y="89"/>
                </a:cubicBezTo>
                <a:cubicBezTo>
                  <a:pt x="204" y="91"/>
                  <a:pt x="202" y="93"/>
                  <a:pt x="200" y="95"/>
                </a:cubicBezTo>
                <a:cubicBezTo>
                  <a:pt x="198" y="95"/>
                  <a:pt x="196" y="97"/>
                  <a:pt x="194" y="98"/>
                </a:cubicBezTo>
                <a:cubicBezTo>
                  <a:pt x="193" y="99"/>
                  <a:pt x="193" y="99"/>
                  <a:pt x="193" y="99"/>
                </a:cubicBezTo>
                <a:cubicBezTo>
                  <a:pt x="190" y="100"/>
                  <a:pt x="188" y="102"/>
                  <a:pt x="184" y="105"/>
                </a:cubicBezTo>
                <a:cubicBezTo>
                  <a:pt x="184" y="104"/>
                  <a:pt x="184" y="104"/>
                  <a:pt x="184" y="104"/>
                </a:cubicBezTo>
                <a:cubicBezTo>
                  <a:pt x="183" y="105"/>
                  <a:pt x="182" y="106"/>
                  <a:pt x="182" y="106"/>
                </a:cubicBezTo>
                <a:cubicBezTo>
                  <a:pt x="182" y="106"/>
                  <a:pt x="175" y="111"/>
                  <a:pt x="170" y="115"/>
                </a:cubicBezTo>
                <a:cubicBezTo>
                  <a:pt x="170" y="115"/>
                  <a:pt x="170" y="115"/>
                  <a:pt x="170" y="115"/>
                </a:cubicBezTo>
                <a:cubicBezTo>
                  <a:pt x="164" y="119"/>
                  <a:pt x="167" y="119"/>
                  <a:pt x="161" y="123"/>
                </a:cubicBezTo>
                <a:cubicBezTo>
                  <a:pt x="162" y="123"/>
                  <a:pt x="161" y="124"/>
                  <a:pt x="162" y="123"/>
                </a:cubicBezTo>
                <a:cubicBezTo>
                  <a:pt x="161" y="124"/>
                  <a:pt x="156" y="128"/>
                  <a:pt x="156" y="128"/>
                </a:cubicBezTo>
                <a:cubicBezTo>
                  <a:pt x="155" y="128"/>
                  <a:pt x="156" y="129"/>
                  <a:pt x="155" y="130"/>
                </a:cubicBezTo>
                <a:cubicBezTo>
                  <a:pt x="152" y="130"/>
                  <a:pt x="154" y="128"/>
                  <a:pt x="154" y="127"/>
                </a:cubicBezTo>
                <a:cubicBezTo>
                  <a:pt x="151" y="129"/>
                  <a:pt x="154" y="128"/>
                  <a:pt x="151" y="131"/>
                </a:cubicBezTo>
                <a:cubicBezTo>
                  <a:pt x="151" y="131"/>
                  <a:pt x="152" y="130"/>
                  <a:pt x="152" y="131"/>
                </a:cubicBezTo>
                <a:cubicBezTo>
                  <a:pt x="149" y="133"/>
                  <a:pt x="150" y="133"/>
                  <a:pt x="148" y="135"/>
                </a:cubicBezTo>
                <a:cubicBezTo>
                  <a:pt x="146" y="136"/>
                  <a:pt x="146" y="137"/>
                  <a:pt x="145" y="138"/>
                </a:cubicBezTo>
                <a:cubicBezTo>
                  <a:pt x="145" y="137"/>
                  <a:pt x="145" y="137"/>
                  <a:pt x="142" y="139"/>
                </a:cubicBezTo>
                <a:cubicBezTo>
                  <a:pt x="140" y="141"/>
                  <a:pt x="144" y="138"/>
                  <a:pt x="143" y="139"/>
                </a:cubicBezTo>
                <a:cubicBezTo>
                  <a:pt x="142" y="140"/>
                  <a:pt x="139" y="142"/>
                  <a:pt x="141" y="141"/>
                </a:cubicBezTo>
                <a:cubicBezTo>
                  <a:pt x="141" y="141"/>
                  <a:pt x="139" y="143"/>
                  <a:pt x="139" y="142"/>
                </a:cubicBezTo>
                <a:cubicBezTo>
                  <a:pt x="138" y="144"/>
                  <a:pt x="137" y="145"/>
                  <a:pt x="135" y="148"/>
                </a:cubicBezTo>
                <a:cubicBezTo>
                  <a:pt x="139" y="145"/>
                  <a:pt x="143" y="141"/>
                  <a:pt x="147" y="137"/>
                </a:cubicBezTo>
                <a:cubicBezTo>
                  <a:pt x="149" y="137"/>
                  <a:pt x="147" y="138"/>
                  <a:pt x="149" y="137"/>
                </a:cubicBezTo>
                <a:cubicBezTo>
                  <a:pt x="151" y="135"/>
                  <a:pt x="151" y="135"/>
                  <a:pt x="151" y="134"/>
                </a:cubicBezTo>
                <a:cubicBezTo>
                  <a:pt x="154" y="132"/>
                  <a:pt x="152" y="134"/>
                  <a:pt x="151" y="135"/>
                </a:cubicBezTo>
                <a:cubicBezTo>
                  <a:pt x="152" y="135"/>
                  <a:pt x="154" y="133"/>
                  <a:pt x="156" y="132"/>
                </a:cubicBezTo>
                <a:cubicBezTo>
                  <a:pt x="153" y="132"/>
                  <a:pt x="159" y="128"/>
                  <a:pt x="161" y="127"/>
                </a:cubicBezTo>
                <a:cubicBezTo>
                  <a:pt x="163" y="125"/>
                  <a:pt x="159" y="129"/>
                  <a:pt x="157" y="130"/>
                </a:cubicBezTo>
                <a:cubicBezTo>
                  <a:pt x="159" y="130"/>
                  <a:pt x="156" y="132"/>
                  <a:pt x="156" y="133"/>
                </a:cubicBezTo>
                <a:cubicBezTo>
                  <a:pt x="155" y="134"/>
                  <a:pt x="150" y="138"/>
                  <a:pt x="150" y="139"/>
                </a:cubicBezTo>
                <a:cubicBezTo>
                  <a:pt x="148" y="140"/>
                  <a:pt x="146" y="141"/>
                  <a:pt x="145" y="143"/>
                </a:cubicBezTo>
                <a:cubicBezTo>
                  <a:pt x="144" y="143"/>
                  <a:pt x="145" y="143"/>
                  <a:pt x="145" y="142"/>
                </a:cubicBezTo>
                <a:cubicBezTo>
                  <a:pt x="144" y="145"/>
                  <a:pt x="143" y="144"/>
                  <a:pt x="141" y="145"/>
                </a:cubicBezTo>
                <a:cubicBezTo>
                  <a:pt x="139" y="147"/>
                  <a:pt x="142" y="145"/>
                  <a:pt x="142" y="146"/>
                </a:cubicBezTo>
                <a:cubicBezTo>
                  <a:pt x="140" y="147"/>
                  <a:pt x="141" y="147"/>
                  <a:pt x="139" y="148"/>
                </a:cubicBezTo>
                <a:cubicBezTo>
                  <a:pt x="138" y="148"/>
                  <a:pt x="138" y="147"/>
                  <a:pt x="140" y="145"/>
                </a:cubicBezTo>
                <a:cubicBezTo>
                  <a:pt x="140" y="145"/>
                  <a:pt x="139" y="145"/>
                  <a:pt x="139" y="145"/>
                </a:cubicBezTo>
                <a:cubicBezTo>
                  <a:pt x="137" y="148"/>
                  <a:pt x="135" y="150"/>
                  <a:pt x="136" y="151"/>
                </a:cubicBezTo>
                <a:cubicBezTo>
                  <a:pt x="134" y="153"/>
                  <a:pt x="135" y="151"/>
                  <a:pt x="133" y="152"/>
                </a:cubicBezTo>
                <a:cubicBezTo>
                  <a:pt x="133" y="153"/>
                  <a:pt x="134" y="153"/>
                  <a:pt x="131" y="156"/>
                </a:cubicBezTo>
                <a:cubicBezTo>
                  <a:pt x="131" y="155"/>
                  <a:pt x="131" y="155"/>
                  <a:pt x="130" y="155"/>
                </a:cubicBezTo>
                <a:cubicBezTo>
                  <a:pt x="130" y="156"/>
                  <a:pt x="129" y="157"/>
                  <a:pt x="129" y="158"/>
                </a:cubicBezTo>
                <a:cubicBezTo>
                  <a:pt x="125" y="161"/>
                  <a:pt x="122" y="164"/>
                  <a:pt x="119" y="167"/>
                </a:cubicBezTo>
                <a:cubicBezTo>
                  <a:pt x="118" y="168"/>
                  <a:pt x="118" y="168"/>
                  <a:pt x="118" y="168"/>
                </a:cubicBezTo>
                <a:cubicBezTo>
                  <a:pt x="116" y="169"/>
                  <a:pt x="117" y="169"/>
                  <a:pt x="115" y="171"/>
                </a:cubicBezTo>
                <a:cubicBezTo>
                  <a:pt x="113" y="171"/>
                  <a:pt x="111" y="174"/>
                  <a:pt x="109" y="175"/>
                </a:cubicBezTo>
                <a:cubicBezTo>
                  <a:pt x="110" y="174"/>
                  <a:pt x="110" y="174"/>
                  <a:pt x="110" y="173"/>
                </a:cubicBezTo>
                <a:cubicBezTo>
                  <a:pt x="114" y="170"/>
                  <a:pt x="118" y="163"/>
                  <a:pt x="121" y="162"/>
                </a:cubicBezTo>
                <a:cubicBezTo>
                  <a:pt x="125" y="157"/>
                  <a:pt x="129" y="153"/>
                  <a:pt x="133" y="151"/>
                </a:cubicBezTo>
                <a:cubicBezTo>
                  <a:pt x="134" y="150"/>
                  <a:pt x="134" y="149"/>
                  <a:pt x="134" y="149"/>
                </a:cubicBezTo>
                <a:cubicBezTo>
                  <a:pt x="134" y="148"/>
                  <a:pt x="130" y="152"/>
                  <a:pt x="130" y="150"/>
                </a:cubicBezTo>
                <a:cubicBezTo>
                  <a:pt x="131" y="150"/>
                  <a:pt x="131" y="150"/>
                  <a:pt x="131" y="150"/>
                </a:cubicBezTo>
                <a:cubicBezTo>
                  <a:pt x="133" y="149"/>
                  <a:pt x="133" y="148"/>
                  <a:pt x="135" y="147"/>
                </a:cubicBezTo>
                <a:cubicBezTo>
                  <a:pt x="126" y="153"/>
                  <a:pt x="125" y="155"/>
                  <a:pt x="119" y="161"/>
                </a:cubicBezTo>
                <a:cubicBezTo>
                  <a:pt x="118" y="160"/>
                  <a:pt x="122" y="157"/>
                  <a:pt x="123" y="155"/>
                </a:cubicBezTo>
                <a:cubicBezTo>
                  <a:pt x="121" y="157"/>
                  <a:pt x="123" y="155"/>
                  <a:pt x="121" y="156"/>
                </a:cubicBezTo>
                <a:cubicBezTo>
                  <a:pt x="121" y="155"/>
                  <a:pt x="123" y="153"/>
                  <a:pt x="123" y="153"/>
                </a:cubicBezTo>
                <a:cubicBezTo>
                  <a:pt x="125" y="151"/>
                  <a:pt x="125" y="153"/>
                  <a:pt x="123" y="155"/>
                </a:cubicBezTo>
                <a:cubicBezTo>
                  <a:pt x="123" y="155"/>
                  <a:pt x="127" y="151"/>
                  <a:pt x="125" y="153"/>
                </a:cubicBezTo>
                <a:cubicBezTo>
                  <a:pt x="128" y="151"/>
                  <a:pt x="128" y="151"/>
                  <a:pt x="131" y="148"/>
                </a:cubicBezTo>
                <a:cubicBezTo>
                  <a:pt x="132" y="145"/>
                  <a:pt x="130" y="145"/>
                  <a:pt x="125" y="149"/>
                </a:cubicBezTo>
                <a:cubicBezTo>
                  <a:pt x="120" y="156"/>
                  <a:pt x="111" y="162"/>
                  <a:pt x="106" y="170"/>
                </a:cubicBezTo>
                <a:cubicBezTo>
                  <a:pt x="104" y="170"/>
                  <a:pt x="103" y="171"/>
                  <a:pt x="102" y="172"/>
                </a:cubicBezTo>
                <a:cubicBezTo>
                  <a:pt x="101" y="173"/>
                  <a:pt x="100" y="174"/>
                  <a:pt x="100" y="174"/>
                </a:cubicBezTo>
                <a:cubicBezTo>
                  <a:pt x="100" y="175"/>
                  <a:pt x="100" y="175"/>
                  <a:pt x="99" y="176"/>
                </a:cubicBezTo>
                <a:cubicBezTo>
                  <a:pt x="100" y="176"/>
                  <a:pt x="100" y="176"/>
                  <a:pt x="100" y="175"/>
                </a:cubicBezTo>
                <a:cubicBezTo>
                  <a:pt x="101" y="176"/>
                  <a:pt x="99" y="176"/>
                  <a:pt x="100" y="177"/>
                </a:cubicBezTo>
                <a:cubicBezTo>
                  <a:pt x="99" y="176"/>
                  <a:pt x="98" y="175"/>
                  <a:pt x="97" y="175"/>
                </a:cubicBezTo>
                <a:cubicBezTo>
                  <a:pt x="97" y="175"/>
                  <a:pt x="97" y="176"/>
                  <a:pt x="97" y="176"/>
                </a:cubicBezTo>
                <a:cubicBezTo>
                  <a:pt x="97" y="175"/>
                  <a:pt x="96" y="177"/>
                  <a:pt x="96" y="176"/>
                </a:cubicBezTo>
                <a:cubicBezTo>
                  <a:pt x="97" y="175"/>
                  <a:pt x="97" y="174"/>
                  <a:pt x="98" y="175"/>
                </a:cubicBezTo>
                <a:cubicBezTo>
                  <a:pt x="98" y="174"/>
                  <a:pt x="97" y="174"/>
                  <a:pt x="98" y="174"/>
                </a:cubicBezTo>
                <a:cubicBezTo>
                  <a:pt x="97" y="173"/>
                  <a:pt x="96" y="175"/>
                  <a:pt x="95" y="176"/>
                </a:cubicBezTo>
                <a:cubicBezTo>
                  <a:pt x="95" y="176"/>
                  <a:pt x="95" y="177"/>
                  <a:pt x="94" y="177"/>
                </a:cubicBezTo>
                <a:cubicBezTo>
                  <a:pt x="95" y="178"/>
                  <a:pt x="95" y="177"/>
                  <a:pt x="96" y="177"/>
                </a:cubicBezTo>
                <a:cubicBezTo>
                  <a:pt x="95" y="178"/>
                  <a:pt x="95" y="178"/>
                  <a:pt x="94" y="178"/>
                </a:cubicBezTo>
                <a:cubicBezTo>
                  <a:pt x="94" y="179"/>
                  <a:pt x="95" y="179"/>
                  <a:pt x="95" y="179"/>
                </a:cubicBezTo>
                <a:cubicBezTo>
                  <a:pt x="94" y="179"/>
                  <a:pt x="92" y="179"/>
                  <a:pt x="92" y="180"/>
                </a:cubicBezTo>
                <a:cubicBezTo>
                  <a:pt x="92" y="180"/>
                  <a:pt x="92" y="180"/>
                  <a:pt x="93" y="180"/>
                </a:cubicBezTo>
                <a:cubicBezTo>
                  <a:pt x="93" y="180"/>
                  <a:pt x="93" y="181"/>
                  <a:pt x="93" y="181"/>
                </a:cubicBezTo>
                <a:cubicBezTo>
                  <a:pt x="92" y="181"/>
                  <a:pt x="92" y="180"/>
                  <a:pt x="92" y="181"/>
                </a:cubicBezTo>
                <a:cubicBezTo>
                  <a:pt x="91" y="181"/>
                  <a:pt x="92" y="181"/>
                  <a:pt x="92" y="181"/>
                </a:cubicBezTo>
                <a:cubicBezTo>
                  <a:pt x="92" y="182"/>
                  <a:pt x="91" y="181"/>
                  <a:pt x="91" y="182"/>
                </a:cubicBezTo>
                <a:cubicBezTo>
                  <a:pt x="90" y="182"/>
                  <a:pt x="90" y="183"/>
                  <a:pt x="89" y="183"/>
                </a:cubicBezTo>
                <a:cubicBezTo>
                  <a:pt x="89" y="183"/>
                  <a:pt x="90" y="182"/>
                  <a:pt x="90" y="183"/>
                </a:cubicBezTo>
                <a:cubicBezTo>
                  <a:pt x="89" y="183"/>
                  <a:pt x="89" y="183"/>
                  <a:pt x="88" y="183"/>
                </a:cubicBezTo>
                <a:cubicBezTo>
                  <a:pt x="87" y="184"/>
                  <a:pt x="88" y="184"/>
                  <a:pt x="88" y="184"/>
                </a:cubicBezTo>
                <a:cubicBezTo>
                  <a:pt x="87" y="184"/>
                  <a:pt x="87" y="186"/>
                  <a:pt x="86" y="186"/>
                </a:cubicBezTo>
                <a:cubicBezTo>
                  <a:pt x="86" y="186"/>
                  <a:pt x="86" y="186"/>
                  <a:pt x="86" y="186"/>
                </a:cubicBezTo>
                <a:cubicBezTo>
                  <a:pt x="86" y="186"/>
                  <a:pt x="86" y="186"/>
                  <a:pt x="85" y="186"/>
                </a:cubicBezTo>
                <a:cubicBezTo>
                  <a:pt x="85" y="186"/>
                  <a:pt x="86" y="186"/>
                  <a:pt x="86" y="186"/>
                </a:cubicBezTo>
                <a:cubicBezTo>
                  <a:pt x="84" y="188"/>
                  <a:pt x="83" y="190"/>
                  <a:pt x="81" y="192"/>
                </a:cubicBezTo>
                <a:cubicBezTo>
                  <a:pt x="81" y="192"/>
                  <a:pt x="81" y="192"/>
                  <a:pt x="81" y="192"/>
                </a:cubicBezTo>
                <a:cubicBezTo>
                  <a:pt x="81" y="193"/>
                  <a:pt x="82" y="192"/>
                  <a:pt x="81" y="193"/>
                </a:cubicBezTo>
                <a:cubicBezTo>
                  <a:pt x="81" y="193"/>
                  <a:pt x="81" y="193"/>
                  <a:pt x="81" y="193"/>
                </a:cubicBezTo>
                <a:cubicBezTo>
                  <a:pt x="80" y="193"/>
                  <a:pt x="80" y="194"/>
                  <a:pt x="80" y="193"/>
                </a:cubicBezTo>
                <a:cubicBezTo>
                  <a:pt x="79" y="193"/>
                  <a:pt x="81" y="192"/>
                  <a:pt x="80" y="192"/>
                </a:cubicBezTo>
                <a:cubicBezTo>
                  <a:pt x="80" y="191"/>
                  <a:pt x="80" y="192"/>
                  <a:pt x="80" y="192"/>
                </a:cubicBezTo>
                <a:cubicBezTo>
                  <a:pt x="79" y="191"/>
                  <a:pt x="80" y="191"/>
                  <a:pt x="81" y="190"/>
                </a:cubicBezTo>
                <a:cubicBezTo>
                  <a:pt x="81" y="191"/>
                  <a:pt x="80" y="191"/>
                  <a:pt x="81" y="191"/>
                </a:cubicBezTo>
                <a:cubicBezTo>
                  <a:pt x="81" y="191"/>
                  <a:pt x="82" y="191"/>
                  <a:pt x="82" y="190"/>
                </a:cubicBezTo>
                <a:cubicBezTo>
                  <a:pt x="82" y="190"/>
                  <a:pt x="81" y="191"/>
                  <a:pt x="81" y="190"/>
                </a:cubicBezTo>
                <a:cubicBezTo>
                  <a:pt x="81" y="189"/>
                  <a:pt x="82" y="190"/>
                  <a:pt x="82" y="190"/>
                </a:cubicBezTo>
                <a:cubicBezTo>
                  <a:pt x="83" y="189"/>
                  <a:pt x="82" y="189"/>
                  <a:pt x="81" y="189"/>
                </a:cubicBezTo>
                <a:cubicBezTo>
                  <a:pt x="81" y="189"/>
                  <a:pt x="81" y="190"/>
                  <a:pt x="81" y="190"/>
                </a:cubicBezTo>
                <a:cubicBezTo>
                  <a:pt x="80" y="190"/>
                  <a:pt x="82" y="188"/>
                  <a:pt x="82" y="188"/>
                </a:cubicBezTo>
                <a:cubicBezTo>
                  <a:pt x="83" y="188"/>
                  <a:pt x="82" y="189"/>
                  <a:pt x="82" y="189"/>
                </a:cubicBezTo>
                <a:cubicBezTo>
                  <a:pt x="83" y="189"/>
                  <a:pt x="83" y="188"/>
                  <a:pt x="83" y="189"/>
                </a:cubicBezTo>
                <a:cubicBezTo>
                  <a:pt x="83" y="188"/>
                  <a:pt x="83" y="188"/>
                  <a:pt x="83" y="187"/>
                </a:cubicBezTo>
                <a:cubicBezTo>
                  <a:pt x="86" y="183"/>
                  <a:pt x="86" y="183"/>
                  <a:pt x="86" y="183"/>
                </a:cubicBezTo>
                <a:cubicBezTo>
                  <a:pt x="86" y="184"/>
                  <a:pt x="86" y="183"/>
                  <a:pt x="87" y="184"/>
                </a:cubicBezTo>
                <a:cubicBezTo>
                  <a:pt x="87" y="183"/>
                  <a:pt x="87" y="183"/>
                  <a:pt x="86" y="183"/>
                </a:cubicBezTo>
                <a:cubicBezTo>
                  <a:pt x="87" y="183"/>
                  <a:pt x="86" y="182"/>
                  <a:pt x="87" y="182"/>
                </a:cubicBezTo>
                <a:cubicBezTo>
                  <a:pt x="87" y="182"/>
                  <a:pt x="87" y="182"/>
                  <a:pt x="87" y="183"/>
                </a:cubicBezTo>
                <a:cubicBezTo>
                  <a:pt x="88" y="182"/>
                  <a:pt x="87" y="182"/>
                  <a:pt x="87" y="182"/>
                </a:cubicBezTo>
                <a:cubicBezTo>
                  <a:pt x="89" y="179"/>
                  <a:pt x="92" y="175"/>
                  <a:pt x="95" y="172"/>
                </a:cubicBezTo>
                <a:cubicBezTo>
                  <a:pt x="95" y="172"/>
                  <a:pt x="95" y="172"/>
                  <a:pt x="95" y="172"/>
                </a:cubicBezTo>
                <a:cubicBezTo>
                  <a:pt x="95" y="172"/>
                  <a:pt x="95" y="171"/>
                  <a:pt x="95" y="171"/>
                </a:cubicBezTo>
                <a:cubicBezTo>
                  <a:pt x="95" y="170"/>
                  <a:pt x="95" y="171"/>
                  <a:pt x="95" y="171"/>
                </a:cubicBezTo>
                <a:cubicBezTo>
                  <a:pt x="95" y="171"/>
                  <a:pt x="95" y="171"/>
                  <a:pt x="95" y="170"/>
                </a:cubicBezTo>
                <a:cubicBezTo>
                  <a:pt x="94" y="170"/>
                  <a:pt x="94" y="170"/>
                  <a:pt x="94" y="171"/>
                </a:cubicBezTo>
                <a:cubicBezTo>
                  <a:pt x="93" y="170"/>
                  <a:pt x="94" y="169"/>
                  <a:pt x="95" y="169"/>
                </a:cubicBezTo>
                <a:cubicBezTo>
                  <a:pt x="95" y="169"/>
                  <a:pt x="94" y="169"/>
                  <a:pt x="95" y="170"/>
                </a:cubicBezTo>
                <a:cubicBezTo>
                  <a:pt x="95" y="170"/>
                  <a:pt x="95" y="169"/>
                  <a:pt x="95" y="169"/>
                </a:cubicBezTo>
                <a:cubicBezTo>
                  <a:pt x="96" y="170"/>
                  <a:pt x="95" y="170"/>
                  <a:pt x="95" y="170"/>
                </a:cubicBezTo>
                <a:cubicBezTo>
                  <a:pt x="96" y="170"/>
                  <a:pt x="96" y="170"/>
                  <a:pt x="96" y="170"/>
                </a:cubicBezTo>
                <a:cubicBezTo>
                  <a:pt x="96" y="168"/>
                  <a:pt x="103" y="164"/>
                  <a:pt x="102" y="163"/>
                </a:cubicBezTo>
                <a:cubicBezTo>
                  <a:pt x="105" y="161"/>
                  <a:pt x="102" y="163"/>
                  <a:pt x="105" y="161"/>
                </a:cubicBezTo>
                <a:cubicBezTo>
                  <a:pt x="107" y="157"/>
                  <a:pt x="113" y="152"/>
                  <a:pt x="118" y="147"/>
                </a:cubicBezTo>
                <a:cubicBezTo>
                  <a:pt x="116" y="151"/>
                  <a:pt x="121" y="145"/>
                  <a:pt x="123" y="143"/>
                </a:cubicBezTo>
                <a:cubicBezTo>
                  <a:pt x="123" y="143"/>
                  <a:pt x="123" y="143"/>
                  <a:pt x="123" y="143"/>
                </a:cubicBezTo>
                <a:cubicBezTo>
                  <a:pt x="124" y="142"/>
                  <a:pt x="124" y="143"/>
                  <a:pt x="126" y="141"/>
                </a:cubicBezTo>
                <a:cubicBezTo>
                  <a:pt x="124" y="141"/>
                  <a:pt x="130" y="137"/>
                  <a:pt x="128" y="138"/>
                </a:cubicBezTo>
                <a:cubicBezTo>
                  <a:pt x="129" y="136"/>
                  <a:pt x="131" y="136"/>
                  <a:pt x="131" y="136"/>
                </a:cubicBezTo>
                <a:cubicBezTo>
                  <a:pt x="132" y="135"/>
                  <a:pt x="131" y="135"/>
                  <a:pt x="131" y="135"/>
                </a:cubicBezTo>
                <a:cubicBezTo>
                  <a:pt x="133" y="134"/>
                  <a:pt x="133" y="133"/>
                  <a:pt x="136" y="131"/>
                </a:cubicBezTo>
                <a:cubicBezTo>
                  <a:pt x="135" y="132"/>
                  <a:pt x="136" y="132"/>
                  <a:pt x="137" y="131"/>
                </a:cubicBezTo>
                <a:cubicBezTo>
                  <a:pt x="141" y="128"/>
                  <a:pt x="136" y="130"/>
                  <a:pt x="139" y="128"/>
                </a:cubicBezTo>
                <a:cubicBezTo>
                  <a:pt x="138" y="128"/>
                  <a:pt x="136" y="130"/>
                  <a:pt x="135" y="130"/>
                </a:cubicBezTo>
                <a:cubicBezTo>
                  <a:pt x="134" y="131"/>
                  <a:pt x="134" y="132"/>
                  <a:pt x="134" y="132"/>
                </a:cubicBezTo>
                <a:cubicBezTo>
                  <a:pt x="130" y="134"/>
                  <a:pt x="128" y="137"/>
                  <a:pt x="123" y="141"/>
                </a:cubicBezTo>
                <a:cubicBezTo>
                  <a:pt x="122" y="141"/>
                  <a:pt x="121" y="143"/>
                  <a:pt x="122" y="141"/>
                </a:cubicBezTo>
                <a:cubicBezTo>
                  <a:pt x="121" y="142"/>
                  <a:pt x="120" y="143"/>
                  <a:pt x="117" y="145"/>
                </a:cubicBezTo>
                <a:cubicBezTo>
                  <a:pt x="121" y="141"/>
                  <a:pt x="127" y="135"/>
                  <a:pt x="130" y="134"/>
                </a:cubicBezTo>
                <a:cubicBezTo>
                  <a:pt x="131" y="133"/>
                  <a:pt x="130" y="132"/>
                  <a:pt x="131" y="132"/>
                </a:cubicBezTo>
                <a:cubicBezTo>
                  <a:pt x="129" y="133"/>
                  <a:pt x="130" y="133"/>
                  <a:pt x="128" y="135"/>
                </a:cubicBezTo>
                <a:cubicBezTo>
                  <a:pt x="131" y="131"/>
                  <a:pt x="126" y="134"/>
                  <a:pt x="127" y="132"/>
                </a:cubicBezTo>
                <a:cubicBezTo>
                  <a:pt x="125" y="133"/>
                  <a:pt x="125" y="133"/>
                  <a:pt x="125" y="133"/>
                </a:cubicBezTo>
                <a:cubicBezTo>
                  <a:pt x="124" y="134"/>
                  <a:pt x="127" y="133"/>
                  <a:pt x="125" y="135"/>
                </a:cubicBezTo>
                <a:cubicBezTo>
                  <a:pt x="126" y="134"/>
                  <a:pt x="126" y="134"/>
                  <a:pt x="126" y="134"/>
                </a:cubicBezTo>
                <a:cubicBezTo>
                  <a:pt x="113" y="146"/>
                  <a:pt x="113" y="146"/>
                  <a:pt x="113" y="146"/>
                </a:cubicBezTo>
                <a:cubicBezTo>
                  <a:pt x="112" y="146"/>
                  <a:pt x="112" y="146"/>
                  <a:pt x="113" y="145"/>
                </a:cubicBezTo>
                <a:cubicBezTo>
                  <a:pt x="111" y="147"/>
                  <a:pt x="111" y="147"/>
                  <a:pt x="111" y="147"/>
                </a:cubicBezTo>
                <a:cubicBezTo>
                  <a:pt x="111" y="148"/>
                  <a:pt x="112" y="146"/>
                  <a:pt x="113" y="146"/>
                </a:cubicBezTo>
                <a:cubicBezTo>
                  <a:pt x="113" y="147"/>
                  <a:pt x="111" y="147"/>
                  <a:pt x="110" y="148"/>
                </a:cubicBezTo>
                <a:cubicBezTo>
                  <a:pt x="106" y="153"/>
                  <a:pt x="106" y="153"/>
                  <a:pt x="106" y="153"/>
                </a:cubicBezTo>
                <a:cubicBezTo>
                  <a:pt x="106" y="150"/>
                  <a:pt x="103" y="155"/>
                  <a:pt x="100" y="157"/>
                </a:cubicBezTo>
                <a:cubicBezTo>
                  <a:pt x="101" y="156"/>
                  <a:pt x="104" y="154"/>
                  <a:pt x="104" y="152"/>
                </a:cubicBezTo>
                <a:cubicBezTo>
                  <a:pt x="108" y="149"/>
                  <a:pt x="109" y="148"/>
                  <a:pt x="111" y="145"/>
                </a:cubicBezTo>
                <a:cubicBezTo>
                  <a:pt x="110" y="145"/>
                  <a:pt x="109" y="147"/>
                  <a:pt x="108" y="148"/>
                </a:cubicBezTo>
                <a:cubicBezTo>
                  <a:pt x="108" y="145"/>
                  <a:pt x="106" y="148"/>
                  <a:pt x="103" y="152"/>
                </a:cubicBezTo>
                <a:cubicBezTo>
                  <a:pt x="105" y="150"/>
                  <a:pt x="103" y="150"/>
                  <a:pt x="101" y="151"/>
                </a:cubicBezTo>
                <a:cubicBezTo>
                  <a:pt x="103" y="149"/>
                  <a:pt x="103" y="149"/>
                  <a:pt x="104" y="149"/>
                </a:cubicBezTo>
                <a:cubicBezTo>
                  <a:pt x="105" y="148"/>
                  <a:pt x="105" y="147"/>
                  <a:pt x="107" y="145"/>
                </a:cubicBezTo>
                <a:cubicBezTo>
                  <a:pt x="108" y="144"/>
                  <a:pt x="108" y="146"/>
                  <a:pt x="109" y="144"/>
                </a:cubicBezTo>
                <a:cubicBezTo>
                  <a:pt x="111" y="142"/>
                  <a:pt x="109" y="141"/>
                  <a:pt x="113" y="139"/>
                </a:cubicBezTo>
                <a:cubicBezTo>
                  <a:pt x="113" y="139"/>
                  <a:pt x="111" y="141"/>
                  <a:pt x="111" y="141"/>
                </a:cubicBezTo>
                <a:cubicBezTo>
                  <a:pt x="114" y="139"/>
                  <a:pt x="114" y="138"/>
                  <a:pt x="113" y="138"/>
                </a:cubicBezTo>
                <a:cubicBezTo>
                  <a:pt x="115" y="136"/>
                  <a:pt x="115" y="137"/>
                  <a:pt x="115" y="137"/>
                </a:cubicBezTo>
                <a:cubicBezTo>
                  <a:pt x="115" y="136"/>
                  <a:pt x="118" y="134"/>
                  <a:pt x="118" y="133"/>
                </a:cubicBezTo>
                <a:cubicBezTo>
                  <a:pt x="118" y="133"/>
                  <a:pt x="116" y="134"/>
                  <a:pt x="115" y="135"/>
                </a:cubicBezTo>
                <a:cubicBezTo>
                  <a:pt x="116" y="134"/>
                  <a:pt x="116" y="134"/>
                  <a:pt x="117" y="132"/>
                </a:cubicBezTo>
                <a:cubicBezTo>
                  <a:pt x="115" y="134"/>
                  <a:pt x="115" y="134"/>
                  <a:pt x="116" y="132"/>
                </a:cubicBezTo>
                <a:cubicBezTo>
                  <a:pt x="115" y="132"/>
                  <a:pt x="115" y="132"/>
                  <a:pt x="115" y="132"/>
                </a:cubicBezTo>
                <a:cubicBezTo>
                  <a:pt x="114" y="133"/>
                  <a:pt x="113" y="134"/>
                  <a:pt x="112" y="135"/>
                </a:cubicBezTo>
                <a:cubicBezTo>
                  <a:pt x="111" y="136"/>
                  <a:pt x="112" y="134"/>
                  <a:pt x="109" y="137"/>
                </a:cubicBezTo>
                <a:cubicBezTo>
                  <a:pt x="111" y="135"/>
                  <a:pt x="109" y="136"/>
                  <a:pt x="110" y="134"/>
                </a:cubicBezTo>
                <a:cubicBezTo>
                  <a:pt x="112" y="133"/>
                  <a:pt x="110" y="133"/>
                  <a:pt x="111" y="133"/>
                </a:cubicBezTo>
                <a:cubicBezTo>
                  <a:pt x="112" y="131"/>
                  <a:pt x="115" y="128"/>
                  <a:pt x="116" y="127"/>
                </a:cubicBezTo>
                <a:cubicBezTo>
                  <a:pt x="118" y="126"/>
                  <a:pt x="119" y="125"/>
                  <a:pt x="120" y="126"/>
                </a:cubicBezTo>
                <a:cubicBezTo>
                  <a:pt x="121" y="125"/>
                  <a:pt x="121" y="124"/>
                  <a:pt x="121" y="124"/>
                </a:cubicBezTo>
                <a:cubicBezTo>
                  <a:pt x="121" y="124"/>
                  <a:pt x="119" y="125"/>
                  <a:pt x="119" y="124"/>
                </a:cubicBezTo>
                <a:cubicBezTo>
                  <a:pt x="122" y="121"/>
                  <a:pt x="125" y="119"/>
                  <a:pt x="126" y="117"/>
                </a:cubicBezTo>
                <a:cubicBezTo>
                  <a:pt x="127" y="116"/>
                  <a:pt x="127" y="116"/>
                  <a:pt x="128" y="116"/>
                </a:cubicBezTo>
                <a:cubicBezTo>
                  <a:pt x="142" y="104"/>
                  <a:pt x="148" y="99"/>
                  <a:pt x="162" y="88"/>
                </a:cubicBezTo>
                <a:cubicBezTo>
                  <a:pt x="163" y="89"/>
                  <a:pt x="163" y="89"/>
                  <a:pt x="164" y="88"/>
                </a:cubicBezTo>
                <a:cubicBezTo>
                  <a:pt x="166" y="86"/>
                  <a:pt x="163" y="88"/>
                  <a:pt x="163" y="88"/>
                </a:cubicBezTo>
                <a:cubicBezTo>
                  <a:pt x="175" y="79"/>
                  <a:pt x="184" y="73"/>
                  <a:pt x="197" y="65"/>
                </a:cubicBezTo>
                <a:cubicBezTo>
                  <a:pt x="197" y="65"/>
                  <a:pt x="196" y="65"/>
                  <a:pt x="195" y="66"/>
                </a:cubicBezTo>
                <a:cubicBezTo>
                  <a:pt x="196" y="65"/>
                  <a:pt x="197" y="65"/>
                  <a:pt x="199" y="63"/>
                </a:cubicBezTo>
                <a:cubicBezTo>
                  <a:pt x="199" y="64"/>
                  <a:pt x="199" y="64"/>
                  <a:pt x="201" y="63"/>
                </a:cubicBezTo>
                <a:cubicBezTo>
                  <a:pt x="202" y="63"/>
                  <a:pt x="201" y="62"/>
                  <a:pt x="201" y="62"/>
                </a:cubicBezTo>
                <a:cubicBezTo>
                  <a:pt x="203" y="61"/>
                  <a:pt x="203" y="61"/>
                  <a:pt x="203" y="62"/>
                </a:cubicBezTo>
                <a:cubicBezTo>
                  <a:pt x="207" y="60"/>
                  <a:pt x="211" y="58"/>
                  <a:pt x="214" y="56"/>
                </a:cubicBezTo>
                <a:cubicBezTo>
                  <a:pt x="213" y="56"/>
                  <a:pt x="212" y="57"/>
                  <a:pt x="210" y="57"/>
                </a:cubicBezTo>
                <a:cubicBezTo>
                  <a:pt x="214" y="54"/>
                  <a:pt x="214" y="57"/>
                  <a:pt x="222" y="53"/>
                </a:cubicBezTo>
                <a:cubicBezTo>
                  <a:pt x="222" y="52"/>
                  <a:pt x="218" y="54"/>
                  <a:pt x="217" y="54"/>
                </a:cubicBezTo>
                <a:cubicBezTo>
                  <a:pt x="219" y="52"/>
                  <a:pt x="216" y="54"/>
                  <a:pt x="216" y="53"/>
                </a:cubicBezTo>
                <a:cubicBezTo>
                  <a:pt x="215" y="53"/>
                  <a:pt x="214" y="54"/>
                  <a:pt x="214" y="54"/>
                </a:cubicBezTo>
                <a:cubicBezTo>
                  <a:pt x="212" y="54"/>
                  <a:pt x="215" y="53"/>
                  <a:pt x="210" y="56"/>
                </a:cubicBezTo>
                <a:cubicBezTo>
                  <a:pt x="211" y="54"/>
                  <a:pt x="217" y="52"/>
                  <a:pt x="219" y="50"/>
                </a:cubicBezTo>
                <a:cubicBezTo>
                  <a:pt x="220" y="50"/>
                  <a:pt x="219" y="51"/>
                  <a:pt x="221" y="50"/>
                </a:cubicBezTo>
                <a:cubicBezTo>
                  <a:pt x="227" y="46"/>
                  <a:pt x="237" y="41"/>
                  <a:pt x="245" y="39"/>
                </a:cubicBezTo>
                <a:cubicBezTo>
                  <a:pt x="246" y="40"/>
                  <a:pt x="242" y="40"/>
                  <a:pt x="241" y="41"/>
                </a:cubicBezTo>
                <a:cubicBezTo>
                  <a:pt x="242" y="41"/>
                  <a:pt x="244" y="40"/>
                  <a:pt x="245" y="40"/>
                </a:cubicBezTo>
                <a:cubicBezTo>
                  <a:pt x="247" y="39"/>
                  <a:pt x="249" y="39"/>
                  <a:pt x="254" y="37"/>
                </a:cubicBezTo>
                <a:cubicBezTo>
                  <a:pt x="252" y="37"/>
                  <a:pt x="247" y="38"/>
                  <a:pt x="253" y="36"/>
                </a:cubicBezTo>
                <a:cubicBezTo>
                  <a:pt x="252" y="36"/>
                  <a:pt x="250" y="37"/>
                  <a:pt x="251" y="36"/>
                </a:cubicBezTo>
                <a:cubicBezTo>
                  <a:pt x="252" y="36"/>
                  <a:pt x="254" y="35"/>
                  <a:pt x="255" y="35"/>
                </a:cubicBezTo>
                <a:cubicBezTo>
                  <a:pt x="257" y="35"/>
                  <a:pt x="255" y="34"/>
                  <a:pt x="258" y="33"/>
                </a:cubicBezTo>
                <a:cubicBezTo>
                  <a:pt x="259" y="34"/>
                  <a:pt x="259" y="34"/>
                  <a:pt x="259" y="34"/>
                </a:cubicBezTo>
                <a:cubicBezTo>
                  <a:pt x="263" y="32"/>
                  <a:pt x="265" y="32"/>
                  <a:pt x="267" y="31"/>
                </a:cubicBezTo>
                <a:cubicBezTo>
                  <a:pt x="273" y="28"/>
                  <a:pt x="273" y="30"/>
                  <a:pt x="279" y="27"/>
                </a:cubicBezTo>
                <a:cubicBezTo>
                  <a:pt x="280" y="27"/>
                  <a:pt x="279" y="27"/>
                  <a:pt x="279" y="28"/>
                </a:cubicBezTo>
                <a:cubicBezTo>
                  <a:pt x="282" y="27"/>
                  <a:pt x="285" y="26"/>
                  <a:pt x="285" y="25"/>
                </a:cubicBezTo>
                <a:cubicBezTo>
                  <a:pt x="288" y="26"/>
                  <a:pt x="294" y="23"/>
                  <a:pt x="301" y="22"/>
                </a:cubicBezTo>
                <a:cubicBezTo>
                  <a:pt x="301" y="21"/>
                  <a:pt x="301" y="21"/>
                  <a:pt x="301" y="21"/>
                </a:cubicBezTo>
                <a:cubicBezTo>
                  <a:pt x="301" y="21"/>
                  <a:pt x="297" y="22"/>
                  <a:pt x="296" y="22"/>
                </a:cubicBezTo>
                <a:cubicBezTo>
                  <a:pt x="298" y="21"/>
                  <a:pt x="297" y="22"/>
                  <a:pt x="298" y="21"/>
                </a:cubicBezTo>
                <a:cubicBezTo>
                  <a:pt x="301" y="20"/>
                  <a:pt x="301" y="20"/>
                  <a:pt x="301" y="20"/>
                </a:cubicBezTo>
                <a:cubicBezTo>
                  <a:pt x="301" y="20"/>
                  <a:pt x="297" y="21"/>
                  <a:pt x="297" y="21"/>
                </a:cubicBezTo>
                <a:cubicBezTo>
                  <a:pt x="300" y="19"/>
                  <a:pt x="301" y="19"/>
                  <a:pt x="305" y="18"/>
                </a:cubicBezTo>
                <a:cubicBezTo>
                  <a:pt x="305" y="19"/>
                  <a:pt x="307" y="18"/>
                  <a:pt x="306" y="19"/>
                </a:cubicBezTo>
                <a:cubicBezTo>
                  <a:pt x="308" y="18"/>
                  <a:pt x="309" y="17"/>
                  <a:pt x="309" y="18"/>
                </a:cubicBezTo>
                <a:cubicBezTo>
                  <a:pt x="316" y="16"/>
                  <a:pt x="316" y="16"/>
                  <a:pt x="322" y="15"/>
                </a:cubicBezTo>
                <a:cubicBezTo>
                  <a:pt x="325" y="15"/>
                  <a:pt x="325" y="14"/>
                  <a:pt x="327" y="13"/>
                </a:cubicBezTo>
                <a:cubicBezTo>
                  <a:pt x="329" y="12"/>
                  <a:pt x="329" y="13"/>
                  <a:pt x="330" y="13"/>
                </a:cubicBezTo>
                <a:cubicBezTo>
                  <a:pt x="332" y="13"/>
                  <a:pt x="332" y="12"/>
                  <a:pt x="334" y="12"/>
                </a:cubicBezTo>
                <a:cubicBezTo>
                  <a:pt x="336" y="12"/>
                  <a:pt x="338" y="11"/>
                  <a:pt x="338" y="12"/>
                </a:cubicBezTo>
                <a:cubicBezTo>
                  <a:pt x="337" y="12"/>
                  <a:pt x="338" y="12"/>
                  <a:pt x="337" y="12"/>
                </a:cubicBezTo>
                <a:cubicBezTo>
                  <a:pt x="337" y="12"/>
                  <a:pt x="336" y="12"/>
                  <a:pt x="336" y="12"/>
                </a:cubicBezTo>
                <a:cubicBezTo>
                  <a:pt x="336" y="13"/>
                  <a:pt x="340" y="11"/>
                  <a:pt x="341" y="12"/>
                </a:cubicBezTo>
                <a:cubicBezTo>
                  <a:pt x="343" y="12"/>
                  <a:pt x="337" y="12"/>
                  <a:pt x="340" y="11"/>
                </a:cubicBezTo>
                <a:cubicBezTo>
                  <a:pt x="342" y="11"/>
                  <a:pt x="342" y="11"/>
                  <a:pt x="342" y="11"/>
                </a:cubicBezTo>
                <a:cubicBezTo>
                  <a:pt x="344" y="11"/>
                  <a:pt x="344" y="11"/>
                  <a:pt x="345" y="11"/>
                </a:cubicBezTo>
                <a:cubicBezTo>
                  <a:pt x="346" y="10"/>
                  <a:pt x="340" y="11"/>
                  <a:pt x="342" y="10"/>
                </a:cubicBezTo>
                <a:cubicBezTo>
                  <a:pt x="347" y="10"/>
                  <a:pt x="347" y="10"/>
                  <a:pt x="347" y="10"/>
                </a:cubicBezTo>
                <a:cubicBezTo>
                  <a:pt x="347" y="9"/>
                  <a:pt x="347" y="9"/>
                  <a:pt x="345" y="9"/>
                </a:cubicBezTo>
                <a:cubicBezTo>
                  <a:pt x="349" y="8"/>
                  <a:pt x="350" y="10"/>
                  <a:pt x="354" y="10"/>
                </a:cubicBezTo>
                <a:cubicBezTo>
                  <a:pt x="356" y="10"/>
                  <a:pt x="358" y="9"/>
                  <a:pt x="360" y="9"/>
                </a:cubicBezTo>
                <a:cubicBezTo>
                  <a:pt x="361" y="9"/>
                  <a:pt x="359" y="9"/>
                  <a:pt x="361" y="9"/>
                </a:cubicBezTo>
                <a:cubicBezTo>
                  <a:pt x="360" y="9"/>
                  <a:pt x="359" y="9"/>
                  <a:pt x="358" y="9"/>
                </a:cubicBezTo>
                <a:cubicBezTo>
                  <a:pt x="355" y="8"/>
                  <a:pt x="363" y="8"/>
                  <a:pt x="360" y="8"/>
                </a:cubicBezTo>
                <a:cubicBezTo>
                  <a:pt x="361" y="7"/>
                  <a:pt x="362" y="9"/>
                  <a:pt x="364" y="8"/>
                </a:cubicBezTo>
                <a:cubicBezTo>
                  <a:pt x="367" y="8"/>
                  <a:pt x="362" y="8"/>
                  <a:pt x="363" y="7"/>
                </a:cubicBezTo>
                <a:cubicBezTo>
                  <a:pt x="364" y="7"/>
                  <a:pt x="365" y="7"/>
                  <a:pt x="365" y="7"/>
                </a:cubicBezTo>
                <a:cubicBezTo>
                  <a:pt x="366" y="7"/>
                  <a:pt x="367" y="8"/>
                  <a:pt x="367" y="8"/>
                </a:cubicBezTo>
                <a:cubicBezTo>
                  <a:pt x="367" y="9"/>
                  <a:pt x="370" y="8"/>
                  <a:pt x="371" y="9"/>
                </a:cubicBezTo>
                <a:cubicBezTo>
                  <a:pt x="374" y="8"/>
                  <a:pt x="371" y="8"/>
                  <a:pt x="372" y="8"/>
                </a:cubicBezTo>
                <a:cubicBezTo>
                  <a:pt x="372" y="7"/>
                  <a:pt x="371" y="8"/>
                  <a:pt x="371" y="8"/>
                </a:cubicBezTo>
                <a:cubicBezTo>
                  <a:pt x="371" y="7"/>
                  <a:pt x="379" y="9"/>
                  <a:pt x="381" y="7"/>
                </a:cubicBezTo>
                <a:cubicBezTo>
                  <a:pt x="384" y="7"/>
                  <a:pt x="386" y="8"/>
                  <a:pt x="390" y="7"/>
                </a:cubicBezTo>
                <a:cubicBezTo>
                  <a:pt x="390" y="7"/>
                  <a:pt x="389" y="7"/>
                  <a:pt x="390" y="7"/>
                </a:cubicBezTo>
                <a:cubicBezTo>
                  <a:pt x="387" y="6"/>
                  <a:pt x="389" y="6"/>
                  <a:pt x="386" y="5"/>
                </a:cubicBezTo>
                <a:cubicBezTo>
                  <a:pt x="388" y="6"/>
                  <a:pt x="389" y="7"/>
                  <a:pt x="391" y="6"/>
                </a:cubicBezTo>
                <a:cubicBezTo>
                  <a:pt x="392" y="6"/>
                  <a:pt x="392" y="7"/>
                  <a:pt x="394" y="7"/>
                </a:cubicBezTo>
                <a:cubicBezTo>
                  <a:pt x="395" y="7"/>
                  <a:pt x="395" y="6"/>
                  <a:pt x="395" y="6"/>
                </a:cubicBezTo>
                <a:cubicBezTo>
                  <a:pt x="396" y="6"/>
                  <a:pt x="399" y="6"/>
                  <a:pt x="397" y="6"/>
                </a:cubicBezTo>
                <a:cubicBezTo>
                  <a:pt x="401" y="5"/>
                  <a:pt x="402" y="7"/>
                  <a:pt x="401" y="7"/>
                </a:cubicBezTo>
                <a:cubicBezTo>
                  <a:pt x="408" y="7"/>
                  <a:pt x="400" y="5"/>
                  <a:pt x="400" y="4"/>
                </a:cubicBezTo>
                <a:cubicBezTo>
                  <a:pt x="402" y="5"/>
                  <a:pt x="404" y="4"/>
                  <a:pt x="401" y="4"/>
                </a:cubicBezTo>
                <a:cubicBezTo>
                  <a:pt x="406" y="3"/>
                  <a:pt x="402" y="5"/>
                  <a:pt x="407" y="5"/>
                </a:cubicBezTo>
                <a:cubicBezTo>
                  <a:pt x="411" y="4"/>
                  <a:pt x="406" y="3"/>
                  <a:pt x="410" y="3"/>
                </a:cubicBezTo>
                <a:cubicBezTo>
                  <a:pt x="408" y="2"/>
                  <a:pt x="400" y="3"/>
                  <a:pt x="399" y="2"/>
                </a:cubicBezTo>
                <a:cubicBezTo>
                  <a:pt x="400" y="1"/>
                  <a:pt x="404" y="2"/>
                  <a:pt x="404" y="2"/>
                </a:cubicBezTo>
                <a:cubicBezTo>
                  <a:pt x="407" y="2"/>
                  <a:pt x="407" y="1"/>
                  <a:pt x="412" y="2"/>
                </a:cubicBezTo>
                <a:cubicBezTo>
                  <a:pt x="411" y="2"/>
                  <a:pt x="413" y="2"/>
                  <a:pt x="412" y="3"/>
                </a:cubicBezTo>
                <a:cubicBezTo>
                  <a:pt x="415" y="3"/>
                  <a:pt x="415" y="1"/>
                  <a:pt x="419" y="1"/>
                </a:cubicBezTo>
                <a:cubicBezTo>
                  <a:pt x="417" y="2"/>
                  <a:pt x="416" y="2"/>
                  <a:pt x="421" y="2"/>
                </a:cubicBezTo>
                <a:cubicBezTo>
                  <a:pt x="420" y="3"/>
                  <a:pt x="417" y="3"/>
                  <a:pt x="417" y="2"/>
                </a:cubicBezTo>
                <a:cubicBezTo>
                  <a:pt x="416" y="2"/>
                  <a:pt x="416" y="3"/>
                  <a:pt x="415" y="3"/>
                </a:cubicBezTo>
                <a:cubicBezTo>
                  <a:pt x="414" y="3"/>
                  <a:pt x="417" y="3"/>
                  <a:pt x="417" y="4"/>
                </a:cubicBezTo>
                <a:cubicBezTo>
                  <a:pt x="419" y="4"/>
                  <a:pt x="418" y="3"/>
                  <a:pt x="416" y="3"/>
                </a:cubicBezTo>
                <a:cubicBezTo>
                  <a:pt x="417" y="3"/>
                  <a:pt x="421" y="3"/>
                  <a:pt x="421" y="4"/>
                </a:cubicBezTo>
                <a:cubicBezTo>
                  <a:pt x="418" y="4"/>
                  <a:pt x="427" y="5"/>
                  <a:pt x="424" y="5"/>
                </a:cubicBezTo>
                <a:cubicBezTo>
                  <a:pt x="427" y="5"/>
                  <a:pt x="427" y="6"/>
                  <a:pt x="430" y="6"/>
                </a:cubicBezTo>
                <a:cubicBezTo>
                  <a:pt x="426" y="5"/>
                  <a:pt x="427" y="5"/>
                  <a:pt x="425" y="4"/>
                </a:cubicBezTo>
                <a:cubicBezTo>
                  <a:pt x="426" y="4"/>
                  <a:pt x="428" y="4"/>
                  <a:pt x="430" y="4"/>
                </a:cubicBezTo>
                <a:cubicBezTo>
                  <a:pt x="427" y="4"/>
                  <a:pt x="430" y="4"/>
                  <a:pt x="428" y="4"/>
                </a:cubicBezTo>
                <a:cubicBezTo>
                  <a:pt x="429" y="5"/>
                  <a:pt x="432" y="5"/>
                  <a:pt x="433" y="5"/>
                </a:cubicBezTo>
                <a:cubicBezTo>
                  <a:pt x="434" y="5"/>
                  <a:pt x="431" y="5"/>
                  <a:pt x="431" y="4"/>
                </a:cubicBezTo>
                <a:cubicBezTo>
                  <a:pt x="432" y="4"/>
                  <a:pt x="438" y="5"/>
                  <a:pt x="438" y="5"/>
                </a:cubicBezTo>
                <a:cubicBezTo>
                  <a:pt x="442" y="6"/>
                  <a:pt x="445" y="6"/>
                  <a:pt x="453" y="7"/>
                </a:cubicBezTo>
                <a:cubicBezTo>
                  <a:pt x="453" y="7"/>
                  <a:pt x="452" y="7"/>
                  <a:pt x="451" y="7"/>
                </a:cubicBezTo>
                <a:cubicBezTo>
                  <a:pt x="451" y="7"/>
                  <a:pt x="453" y="7"/>
                  <a:pt x="453" y="7"/>
                </a:cubicBezTo>
                <a:cubicBezTo>
                  <a:pt x="452" y="8"/>
                  <a:pt x="450" y="7"/>
                  <a:pt x="447" y="6"/>
                </a:cubicBezTo>
                <a:cubicBezTo>
                  <a:pt x="447" y="7"/>
                  <a:pt x="447" y="7"/>
                  <a:pt x="447" y="7"/>
                </a:cubicBezTo>
                <a:cubicBezTo>
                  <a:pt x="448" y="7"/>
                  <a:pt x="453" y="8"/>
                  <a:pt x="453" y="9"/>
                </a:cubicBezTo>
                <a:cubicBezTo>
                  <a:pt x="454" y="8"/>
                  <a:pt x="456" y="7"/>
                  <a:pt x="453" y="6"/>
                </a:cubicBezTo>
                <a:cubicBezTo>
                  <a:pt x="454" y="6"/>
                  <a:pt x="457" y="7"/>
                  <a:pt x="455" y="6"/>
                </a:cubicBezTo>
                <a:cubicBezTo>
                  <a:pt x="456" y="6"/>
                  <a:pt x="458" y="7"/>
                  <a:pt x="460" y="7"/>
                </a:cubicBezTo>
                <a:cubicBezTo>
                  <a:pt x="460" y="7"/>
                  <a:pt x="459" y="7"/>
                  <a:pt x="458" y="6"/>
                </a:cubicBezTo>
                <a:cubicBezTo>
                  <a:pt x="460" y="6"/>
                  <a:pt x="465" y="7"/>
                  <a:pt x="465" y="6"/>
                </a:cubicBezTo>
                <a:cubicBezTo>
                  <a:pt x="466" y="7"/>
                  <a:pt x="466" y="7"/>
                  <a:pt x="465" y="7"/>
                </a:cubicBezTo>
                <a:cubicBezTo>
                  <a:pt x="466" y="7"/>
                  <a:pt x="469" y="8"/>
                  <a:pt x="468" y="8"/>
                </a:cubicBezTo>
                <a:cubicBezTo>
                  <a:pt x="466" y="8"/>
                  <a:pt x="466" y="8"/>
                  <a:pt x="463" y="7"/>
                </a:cubicBezTo>
                <a:cubicBezTo>
                  <a:pt x="463" y="8"/>
                  <a:pt x="464" y="8"/>
                  <a:pt x="464" y="8"/>
                </a:cubicBezTo>
                <a:cubicBezTo>
                  <a:pt x="468" y="9"/>
                  <a:pt x="467" y="8"/>
                  <a:pt x="470" y="9"/>
                </a:cubicBezTo>
                <a:cubicBezTo>
                  <a:pt x="470" y="8"/>
                  <a:pt x="473" y="8"/>
                  <a:pt x="477" y="9"/>
                </a:cubicBezTo>
                <a:cubicBezTo>
                  <a:pt x="476" y="10"/>
                  <a:pt x="474" y="9"/>
                  <a:pt x="471" y="9"/>
                </a:cubicBezTo>
                <a:cubicBezTo>
                  <a:pt x="472" y="9"/>
                  <a:pt x="472" y="10"/>
                  <a:pt x="472" y="10"/>
                </a:cubicBezTo>
                <a:cubicBezTo>
                  <a:pt x="473" y="10"/>
                  <a:pt x="475" y="10"/>
                  <a:pt x="476" y="10"/>
                </a:cubicBezTo>
                <a:cubicBezTo>
                  <a:pt x="478" y="10"/>
                  <a:pt x="478" y="11"/>
                  <a:pt x="478" y="11"/>
                </a:cubicBezTo>
                <a:cubicBezTo>
                  <a:pt x="479" y="11"/>
                  <a:pt x="481" y="11"/>
                  <a:pt x="483" y="12"/>
                </a:cubicBezTo>
                <a:cubicBezTo>
                  <a:pt x="483" y="11"/>
                  <a:pt x="484" y="11"/>
                  <a:pt x="482" y="11"/>
                </a:cubicBezTo>
                <a:cubicBezTo>
                  <a:pt x="483" y="10"/>
                  <a:pt x="485" y="11"/>
                  <a:pt x="484" y="12"/>
                </a:cubicBezTo>
                <a:cubicBezTo>
                  <a:pt x="485" y="12"/>
                  <a:pt x="486" y="11"/>
                  <a:pt x="487" y="12"/>
                </a:cubicBezTo>
                <a:cubicBezTo>
                  <a:pt x="487" y="12"/>
                  <a:pt x="485" y="10"/>
                  <a:pt x="490" y="11"/>
                </a:cubicBezTo>
                <a:cubicBezTo>
                  <a:pt x="490" y="10"/>
                  <a:pt x="485" y="10"/>
                  <a:pt x="484" y="9"/>
                </a:cubicBezTo>
                <a:cubicBezTo>
                  <a:pt x="482" y="9"/>
                  <a:pt x="481" y="9"/>
                  <a:pt x="482" y="9"/>
                </a:cubicBezTo>
                <a:cubicBezTo>
                  <a:pt x="480" y="9"/>
                  <a:pt x="481" y="9"/>
                  <a:pt x="478" y="8"/>
                </a:cubicBezTo>
                <a:cubicBezTo>
                  <a:pt x="478" y="8"/>
                  <a:pt x="482" y="9"/>
                  <a:pt x="481" y="7"/>
                </a:cubicBezTo>
                <a:cubicBezTo>
                  <a:pt x="484" y="8"/>
                  <a:pt x="482" y="8"/>
                  <a:pt x="482" y="8"/>
                </a:cubicBezTo>
                <a:cubicBezTo>
                  <a:pt x="486" y="9"/>
                  <a:pt x="486" y="9"/>
                  <a:pt x="489" y="9"/>
                </a:cubicBezTo>
                <a:cubicBezTo>
                  <a:pt x="489" y="9"/>
                  <a:pt x="487" y="9"/>
                  <a:pt x="487" y="8"/>
                </a:cubicBezTo>
                <a:cubicBezTo>
                  <a:pt x="491" y="9"/>
                  <a:pt x="493" y="10"/>
                  <a:pt x="496" y="11"/>
                </a:cubicBezTo>
                <a:cubicBezTo>
                  <a:pt x="495" y="11"/>
                  <a:pt x="495" y="10"/>
                  <a:pt x="495" y="11"/>
                </a:cubicBezTo>
                <a:cubicBezTo>
                  <a:pt x="496" y="11"/>
                  <a:pt x="499" y="12"/>
                  <a:pt x="499" y="11"/>
                </a:cubicBezTo>
                <a:cubicBezTo>
                  <a:pt x="500" y="12"/>
                  <a:pt x="500" y="12"/>
                  <a:pt x="501" y="13"/>
                </a:cubicBezTo>
                <a:cubicBezTo>
                  <a:pt x="505" y="13"/>
                  <a:pt x="510" y="15"/>
                  <a:pt x="512" y="16"/>
                </a:cubicBezTo>
                <a:cubicBezTo>
                  <a:pt x="514" y="17"/>
                  <a:pt x="512" y="15"/>
                  <a:pt x="510" y="14"/>
                </a:cubicBezTo>
                <a:cubicBezTo>
                  <a:pt x="510" y="14"/>
                  <a:pt x="516" y="16"/>
                  <a:pt x="514" y="16"/>
                </a:cubicBezTo>
                <a:cubicBezTo>
                  <a:pt x="516" y="17"/>
                  <a:pt x="519" y="18"/>
                  <a:pt x="520" y="18"/>
                </a:cubicBezTo>
                <a:cubicBezTo>
                  <a:pt x="519" y="17"/>
                  <a:pt x="518" y="17"/>
                  <a:pt x="517" y="17"/>
                </a:cubicBezTo>
                <a:cubicBezTo>
                  <a:pt x="520" y="17"/>
                  <a:pt x="527" y="19"/>
                  <a:pt x="532" y="21"/>
                </a:cubicBezTo>
                <a:cubicBezTo>
                  <a:pt x="529" y="19"/>
                  <a:pt x="537" y="22"/>
                  <a:pt x="537" y="22"/>
                </a:cubicBezTo>
                <a:cubicBezTo>
                  <a:pt x="539" y="22"/>
                  <a:pt x="538" y="23"/>
                  <a:pt x="540" y="23"/>
                </a:cubicBezTo>
                <a:cubicBezTo>
                  <a:pt x="539" y="23"/>
                  <a:pt x="538" y="23"/>
                  <a:pt x="536" y="22"/>
                </a:cubicBezTo>
                <a:cubicBezTo>
                  <a:pt x="536" y="23"/>
                  <a:pt x="543" y="25"/>
                  <a:pt x="545" y="25"/>
                </a:cubicBezTo>
                <a:cubicBezTo>
                  <a:pt x="545" y="25"/>
                  <a:pt x="542" y="25"/>
                  <a:pt x="540" y="24"/>
                </a:cubicBezTo>
                <a:cubicBezTo>
                  <a:pt x="543" y="24"/>
                  <a:pt x="547" y="25"/>
                  <a:pt x="551" y="27"/>
                </a:cubicBezTo>
                <a:cubicBezTo>
                  <a:pt x="551" y="27"/>
                  <a:pt x="550" y="27"/>
                  <a:pt x="552" y="28"/>
                </a:cubicBezTo>
                <a:cubicBezTo>
                  <a:pt x="551" y="28"/>
                  <a:pt x="549" y="26"/>
                  <a:pt x="549" y="27"/>
                </a:cubicBezTo>
                <a:cubicBezTo>
                  <a:pt x="550" y="28"/>
                  <a:pt x="552" y="28"/>
                  <a:pt x="552" y="29"/>
                </a:cubicBezTo>
                <a:cubicBezTo>
                  <a:pt x="554" y="30"/>
                  <a:pt x="550" y="28"/>
                  <a:pt x="551" y="29"/>
                </a:cubicBezTo>
                <a:cubicBezTo>
                  <a:pt x="555" y="29"/>
                  <a:pt x="555" y="30"/>
                  <a:pt x="558" y="30"/>
                </a:cubicBezTo>
                <a:cubicBezTo>
                  <a:pt x="562" y="32"/>
                  <a:pt x="569" y="34"/>
                  <a:pt x="569" y="35"/>
                </a:cubicBezTo>
                <a:cubicBezTo>
                  <a:pt x="571" y="36"/>
                  <a:pt x="570" y="35"/>
                  <a:pt x="571" y="35"/>
                </a:cubicBezTo>
                <a:cubicBezTo>
                  <a:pt x="572" y="36"/>
                  <a:pt x="575" y="37"/>
                  <a:pt x="573" y="37"/>
                </a:cubicBezTo>
                <a:cubicBezTo>
                  <a:pt x="575" y="38"/>
                  <a:pt x="575" y="38"/>
                  <a:pt x="577" y="39"/>
                </a:cubicBezTo>
                <a:cubicBezTo>
                  <a:pt x="577" y="39"/>
                  <a:pt x="575" y="39"/>
                  <a:pt x="576" y="39"/>
                </a:cubicBezTo>
                <a:cubicBezTo>
                  <a:pt x="578" y="40"/>
                  <a:pt x="578" y="39"/>
                  <a:pt x="579" y="39"/>
                </a:cubicBezTo>
                <a:cubicBezTo>
                  <a:pt x="579" y="38"/>
                  <a:pt x="576" y="38"/>
                  <a:pt x="576" y="38"/>
                </a:cubicBezTo>
                <a:cubicBezTo>
                  <a:pt x="576" y="37"/>
                  <a:pt x="580" y="39"/>
                  <a:pt x="579" y="39"/>
                </a:cubicBezTo>
                <a:cubicBezTo>
                  <a:pt x="581" y="40"/>
                  <a:pt x="581" y="40"/>
                  <a:pt x="583" y="40"/>
                </a:cubicBezTo>
                <a:cubicBezTo>
                  <a:pt x="586" y="42"/>
                  <a:pt x="586" y="42"/>
                  <a:pt x="589" y="44"/>
                </a:cubicBezTo>
                <a:cubicBezTo>
                  <a:pt x="587" y="43"/>
                  <a:pt x="587" y="42"/>
                  <a:pt x="586" y="42"/>
                </a:cubicBezTo>
                <a:cubicBezTo>
                  <a:pt x="585" y="40"/>
                  <a:pt x="593" y="44"/>
                  <a:pt x="594" y="45"/>
                </a:cubicBezTo>
                <a:cubicBezTo>
                  <a:pt x="594" y="45"/>
                  <a:pt x="591" y="43"/>
                  <a:pt x="590" y="43"/>
                </a:cubicBezTo>
                <a:cubicBezTo>
                  <a:pt x="592" y="45"/>
                  <a:pt x="596" y="46"/>
                  <a:pt x="598" y="48"/>
                </a:cubicBezTo>
                <a:cubicBezTo>
                  <a:pt x="600" y="49"/>
                  <a:pt x="597" y="46"/>
                  <a:pt x="599" y="47"/>
                </a:cubicBezTo>
                <a:cubicBezTo>
                  <a:pt x="600" y="48"/>
                  <a:pt x="601" y="49"/>
                  <a:pt x="603" y="50"/>
                </a:cubicBezTo>
                <a:cubicBezTo>
                  <a:pt x="603" y="50"/>
                  <a:pt x="606" y="52"/>
                  <a:pt x="606" y="51"/>
                </a:cubicBezTo>
                <a:cubicBezTo>
                  <a:pt x="612" y="54"/>
                  <a:pt x="615" y="56"/>
                  <a:pt x="620" y="59"/>
                </a:cubicBezTo>
                <a:cubicBezTo>
                  <a:pt x="619" y="58"/>
                  <a:pt x="619" y="59"/>
                  <a:pt x="619" y="59"/>
                </a:cubicBezTo>
                <a:cubicBezTo>
                  <a:pt x="624" y="60"/>
                  <a:pt x="634" y="67"/>
                  <a:pt x="640" y="71"/>
                </a:cubicBezTo>
                <a:cubicBezTo>
                  <a:pt x="642" y="72"/>
                  <a:pt x="641" y="71"/>
                  <a:pt x="643" y="73"/>
                </a:cubicBezTo>
                <a:cubicBezTo>
                  <a:pt x="643" y="73"/>
                  <a:pt x="643" y="73"/>
                  <a:pt x="644" y="73"/>
                </a:cubicBezTo>
                <a:cubicBezTo>
                  <a:pt x="644" y="73"/>
                  <a:pt x="643" y="72"/>
                  <a:pt x="642" y="72"/>
                </a:cubicBezTo>
                <a:cubicBezTo>
                  <a:pt x="645" y="73"/>
                  <a:pt x="651" y="78"/>
                  <a:pt x="653" y="78"/>
                </a:cubicBezTo>
                <a:cubicBezTo>
                  <a:pt x="655" y="80"/>
                  <a:pt x="658" y="83"/>
                  <a:pt x="661" y="84"/>
                </a:cubicBezTo>
                <a:cubicBezTo>
                  <a:pt x="665" y="87"/>
                  <a:pt x="675" y="94"/>
                  <a:pt x="680" y="98"/>
                </a:cubicBezTo>
                <a:cubicBezTo>
                  <a:pt x="680" y="98"/>
                  <a:pt x="679" y="97"/>
                  <a:pt x="679" y="98"/>
                </a:cubicBezTo>
                <a:cubicBezTo>
                  <a:pt x="681" y="99"/>
                  <a:pt x="682" y="100"/>
                  <a:pt x="684" y="102"/>
                </a:cubicBezTo>
                <a:cubicBezTo>
                  <a:pt x="685" y="102"/>
                  <a:pt x="683" y="101"/>
                  <a:pt x="684" y="101"/>
                </a:cubicBezTo>
                <a:cubicBezTo>
                  <a:pt x="688" y="104"/>
                  <a:pt x="693" y="109"/>
                  <a:pt x="699" y="114"/>
                </a:cubicBezTo>
                <a:cubicBezTo>
                  <a:pt x="698" y="114"/>
                  <a:pt x="698" y="114"/>
                  <a:pt x="699" y="115"/>
                </a:cubicBezTo>
                <a:cubicBezTo>
                  <a:pt x="701" y="117"/>
                  <a:pt x="702" y="118"/>
                  <a:pt x="703" y="118"/>
                </a:cubicBezTo>
                <a:cubicBezTo>
                  <a:pt x="705" y="120"/>
                  <a:pt x="704" y="119"/>
                  <a:pt x="705" y="120"/>
                </a:cubicBezTo>
                <a:cubicBezTo>
                  <a:pt x="707" y="122"/>
                  <a:pt x="704" y="119"/>
                  <a:pt x="705" y="119"/>
                </a:cubicBezTo>
                <a:cubicBezTo>
                  <a:pt x="707" y="121"/>
                  <a:pt x="707" y="121"/>
                  <a:pt x="709" y="123"/>
                </a:cubicBezTo>
                <a:cubicBezTo>
                  <a:pt x="705" y="121"/>
                  <a:pt x="715" y="129"/>
                  <a:pt x="718" y="132"/>
                </a:cubicBezTo>
                <a:cubicBezTo>
                  <a:pt x="716" y="131"/>
                  <a:pt x="717" y="131"/>
                  <a:pt x="716" y="129"/>
                </a:cubicBezTo>
                <a:cubicBezTo>
                  <a:pt x="716" y="129"/>
                  <a:pt x="717" y="130"/>
                  <a:pt x="717" y="130"/>
                </a:cubicBezTo>
                <a:cubicBezTo>
                  <a:pt x="722" y="135"/>
                  <a:pt x="722" y="134"/>
                  <a:pt x="723" y="137"/>
                </a:cubicBezTo>
                <a:cubicBezTo>
                  <a:pt x="724" y="138"/>
                  <a:pt x="723" y="136"/>
                  <a:pt x="724" y="136"/>
                </a:cubicBezTo>
                <a:cubicBezTo>
                  <a:pt x="727" y="139"/>
                  <a:pt x="727" y="140"/>
                  <a:pt x="728" y="141"/>
                </a:cubicBezTo>
                <a:cubicBezTo>
                  <a:pt x="729" y="142"/>
                  <a:pt x="732" y="144"/>
                  <a:pt x="732" y="145"/>
                </a:cubicBezTo>
                <a:cubicBezTo>
                  <a:pt x="732" y="146"/>
                  <a:pt x="735" y="148"/>
                  <a:pt x="734" y="148"/>
                </a:cubicBezTo>
                <a:cubicBezTo>
                  <a:pt x="736" y="149"/>
                  <a:pt x="736" y="149"/>
                  <a:pt x="737" y="150"/>
                </a:cubicBezTo>
                <a:cubicBezTo>
                  <a:pt x="738" y="150"/>
                  <a:pt x="735" y="148"/>
                  <a:pt x="734" y="147"/>
                </a:cubicBezTo>
                <a:cubicBezTo>
                  <a:pt x="736" y="147"/>
                  <a:pt x="734" y="144"/>
                  <a:pt x="736" y="144"/>
                </a:cubicBezTo>
                <a:cubicBezTo>
                  <a:pt x="739" y="150"/>
                  <a:pt x="741" y="155"/>
                  <a:pt x="745" y="161"/>
                </a:cubicBezTo>
                <a:cubicBezTo>
                  <a:pt x="747" y="163"/>
                  <a:pt x="742" y="157"/>
                  <a:pt x="747" y="162"/>
                </a:cubicBezTo>
                <a:cubicBezTo>
                  <a:pt x="747" y="161"/>
                  <a:pt x="745" y="159"/>
                  <a:pt x="746" y="160"/>
                </a:cubicBezTo>
                <a:cubicBezTo>
                  <a:pt x="744" y="157"/>
                  <a:pt x="744" y="158"/>
                  <a:pt x="743" y="156"/>
                </a:cubicBezTo>
                <a:cubicBezTo>
                  <a:pt x="743" y="156"/>
                  <a:pt x="745" y="158"/>
                  <a:pt x="746" y="159"/>
                </a:cubicBezTo>
                <a:cubicBezTo>
                  <a:pt x="746" y="159"/>
                  <a:pt x="745" y="156"/>
                  <a:pt x="747" y="158"/>
                </a:cubicBezTo>
                <a:cubicBezTo>
                  <a:pt x="746" y="156"/>
                  <a:pt x="744" y="153"/>
                  <a:pt x="745" y="154"/>
                </a:cubicBezTo>
                <a:cubicBezTo>
                  <a:pt x="747" y="156"/>
                  <a:pt x="748" y="158"/>
                  <a:pt x="749" y="159"/>
                </a:cubicBezTo>
                <a:cubicBezTo>
                  <a:pt x="749" y="160"/>
                  <a:pt x="752" y="165"/>
                  <a:pt x="750" y="164"/>
                </a:cubicBezTo>
                <a:cubicBezTo>
                  <a:pt x="752" y="166"/>
                  <a:pt x="751" y="167"/>
                  <a:pt x="751" y="167"/>
                </a:cubicBezTo>
                <a:cubicBezTo>
                  <a:pt x="753" y="170"/>
                  <a:pt x="756" y="173"/>
                  <a:pt x="757" y="174"/>
                </a:cubicBezTo>
                <a:cubicBezTo>
                  <a:pt x="757" y="173"/>
                  <a:pt x="755" y="172"/>
                  <a:pt x="754" y="170"/>
                </a:cubicBezTo>
                <a:cubicBezTo>
                  <a:pt x="754" y="168"/>
                  <a:pt x="759" y="172"/>
                  <a:pt x="756" y="168"/>
                </a:cubicBezTo>
                <a:cubicBezTo>
                  <a:pt x="757" y="169"/>
                  <a:pt x="757" y="170"/>
                  <a:pt x="759" y="173"/>
                </a:cubicBezTo>
                <a:cubicBezTo>
                  <a:pt x="759" y="174"/>
                  <a:pt x="757" y="173"/>
                  <a:pt x="760" y="177"/>
                </a:cubicBezTo>
                <a:cubicBezTo>
                  <a:pt x="759" y="176"/>
                  <a:pt x="759" y="175"/>
                  <a:pt x="758" y="175"/>
                </a:cubicBezTo>
                <a:cubicBezTo>
                  <a:pt x="760" y="177"/>
                  <a:pt x="760" y="179"/>
                  <a:pt x="762" y="181"/>
                </a:cubicBezTo>
                <a:cubicBezTo>
                  <a:pt x="762" y="182"/>
                  <a:pt x="762" y="181"/>
                  <a:pt x="764" y="182"/>
                </a:cubicBezTo>
                <a:cubicBezTo>
                  <a:pt x="765" y="184"/>
                  <a:pt x="766" y="187"/>
                  <a:pt x="767" y="186"/>
                </a:cubicBezTo>
                <a:cubicBezTo>
                  <a:pt x="768" y="186"/>
                  <a:pt x="765" y="183"/>
                  <a:pt x="764" y="182"/>
                </a:cubicBezTo>
                <a:cubicBezTo>
                  <a:pt x="762" y="178"/>
                  <a:pt x="767" y="183"/>
                  <a:pt x="764" y="178"/>
                </a:cubicBezTo>
                <a:cubicBezTo>
                  <a:pt x="766" y="180"/>
                  <a:pt x="766" y="181"/>
                  <a:pt x="766" y="179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70" y="185"/>
                  <a:pt x="768" y="190"/>
                  <a:pt x="774" y="194"/>
                </a:cubicBezTo>
                <a:cubicBezTo>
                  <a:pt x="773" y="192"/>
                  <a:pt x="774" y="192"/>
                  <a:pt x="776" y="194"/>
                </a:cubicBezTo>
                <a:cubicBezTo>
                  <a:pt x="775" y="192"/>
                  <a:pt x="774" y="188"/>
                  <a:pt x="776" y="190"/>
                </a:cubicBezTo>
                <a:cubicBezTo>
                  <a:pt x="782" y="200"/>
                  <a:pt x="774" y="198"/>
                  <a:pt x="781" y="209"/>
                </a:cubicBezTo>
                <a:cubicBezTo>
                  <a:pt x="782" y="211"/>
                  <a:pt x="782" y="210"/>
                  <a:pt x="784" y="211"/>
                </a:cubicBezTo>
                <a:cubicBezTo>
                  <a:pt x="782" y="207"/>
                  <a:pt x="785" y="207"/>
                  <a:pt x="785" y="203"/>
                </a:cubicBezTo>
                <a:cubicBezTo>
                  <a:pt x="789" y="210"/>
                  <a:pt x="784" y="206"/>
                  <a:pt x="788" y="212"/>
                </a:cubicBezTo>
                <a:cubicBezTo>
                  <a:pt x="786" y="212"/>
                  <a:pt x="788" y="216"/>
                  <a:pt x="786" y="217"/>
                </a:cubicBezTo>
                <a:cubicBezTo>
                  <a:pt x="787" y="218"/>
                  <a:pt x="788" y="218"/>
                  <a:pt x="789" y="220"/>
                </a:cubicBezTo>
                <a:cubicBezTo>
                  <a:pt x="788" y="220"/>
                  <a:pt x="787" y="218"/>
                  <a:pt x="787" y="219"/>
                </a:cubicBezTo>
                <a:cubicBezTo>
                  <a:pt x="788" y="221"/>
                  <a:pt x="789" y="223"/>
                  <a:pt x="791" y="226"/>
                </a:cubicBezTo>
                <a:cubicBezTo>
                  <a:pt x="793" y="227"/>
                  <a:pt x="790" y="222"/>
                  <a:pt x="793" y="224"/>
                </a:cubicBezTo>
                <a:cubicBezTo>
                  <a:pt x="792" y="220"/>
                  <a:pt x="793" y="220"/>
                  <a:pt x="795" y="221"/>
                </a:cubicBezTo>
                <a:cubicBezTo>
                  <a:pt x="798" y="227"/>
                  <a:pt x="796" y="231"/>
                  <a:pt x="795" y="230"/>
                </a:cubicBezTo>
                <a:cubicBezTo>
                  <a:pt x="795" y="231"/>
                  <a:pt x="796" y="233"/>
                  <a:pt x="796" y="234"/>
                </a:cubicBezTo>
                <a:cubicBezTo>
                  <a:pt x="793" y="231"/>
                  <a:pt x="796" y="239"/>
                  <a:pt x="792" y="235"/>
                </a:cubicBezTo>
                <a:cubicBezTo>
                  <a:pt x="794" y="238"/>
                  <a:pt x="793" y="237"/>
                  <a:pt x="792" y="236"/>
                </a:cubicBezTo>
                <a:cubicBezTo>
                  <a:pt x="794" y="240"/>
                  <a:pt x="794" y="243"/>
                  <a:pt x="797" y="248"/>
                </a:cubicBezTo>
                <a:cubicBezTo>
                  <a:pt x="797" y="246"/>
                  <a:pt x="797" y="245"/>
                  <a:pt x="799" y="248"/>
                </a:cubicBezTo>
                <a:cubicBezTo>
                  <a:pt x="799" y="247"/>
                  <a:pt x="798" y="246"/>
                  <a:pt x="798" y="245"/>
                </a:cubicBezTo>
                <a:cubicBezTo>
                  <a:pt x="798" y="244"/>
                  <a:pt x="799" y="247"/>
                  <a:pt x="800" y="247"/>
                </a:cubicBezTo>
                <a:cubicBezTo>
                  <a:pt x="800" y="246"/>
                  <a:pt x="799" y="246"/>
                  <a:pt x="798" y="244"/>
                </a:cubicBezTo>
                <a:cubicBezTo>
                  <a:pt x="799" y="244"/>
                  <a:pt x="800" y="246"/>
                  <a:pt x="800" y="246"/>
                </a:cubicBezTo>
                <a:cubicBezTo>
                  <a:pt x="802" y="250"/>
                  <a:pt x="800" y="249"/>
                  <a:pt x="801" y="252"/>
                </a:cubicBezTo>
                <a:cubicBezTo>
                  <a:pt x="799" y="250"/>
                  <a:pt x="800" y="252"/>
                  <a:pt x="799" y="251"/>
                </a:cubicBezTo>
                <a:cubicBezTo>
                  <a:pt x="800" y="252"/>
                  <a:pt x="801" y="254"/>
                  <a:pt x="802" y="256"/>
                </a:cubicBezTo>
                <a:cubicBezTo>
                  <a:pt x="800" y="254"/>
                  <a:pt x="800" y="256"/>
                  <a:pt x="799" y="255"/>
                </a:cubicBezTo>
                <a:cubicBezTo>
                  <a:pt x="799" y="256"/>
                  <a:pt x="800" y="257"/>
                  <a:pt x="800" y="258"/>
                </a:cubicBezTo>
                <a:cubicBezTo>
                  <a:pt x="798" y="257"/>
                  <a:pt x="797" y="261"/>
                  <a:pt x="794" y="257"/>
                </a:cubicBezTo>
                <a:cubicBezTo>
                  <a:pt x="794" y="258"/>
                  <a:pt x="795" y="260"/>
                  <a:pt x="794" y="260"/>
                </a:cubicBezTo>
                <a:cubicBezTo>
                  <a:pt x="792" y="255"/>
                  <a:pt x="791" y="256"/>
                  <a:pt x="790" y="256"/>
                </a:cubicBezTo>
                <a:cubicBezTo>
                  <a:pt x="792" y="259"/>
                  <a:pt x="794" y="261"/>
                  <a:pt x="795" y="265"/>
                </a:cubicBezTo>
                <a:cubicBezTo>
                  <a:pt x="793" y="262"/>
                  <a:pt x="795" y="266"/>
                  <a:pt x="793" y="262"/>
                </a:cubicBezTo>
                <a:cubicBezTo>
                  <a:pt x="792" y="267"/>
                  <a:pt x="790" y="268"/>
                  <a:pt x="787" y="266"/>
                </a:cubicBezTo>
                <a:cubicBezTo>
                  <a:pt x="786" y="263"/>
                  <a:pt x="784" y="260"/>
                  <a:pt x="784" y="259"/>
                </a:cubicBezTo>
                <a:cubicBezTo>
                  <a:pt x="784" y="258"/>
                  <a:pt x="783" y="258"/>
                  <a:pt x="783" y="257"/>
                </a:cubicBezTo>
                <a:cubicBezTo>
                  <a:pt x="783" y="257"/>
                  <a:pt x="783" y="258"/>
                  <a:pt x="784" y="259"/>
                </a:cubicBezTo>
                <a:cubicBezTo>
                  <a:pt x="783" y="258"/>
                  <a:pt x="782" y="256"/>
                  <a:pt x="782" y="255"/>
                </a:cubicBezTo>
                <a:close/>
                <a:moveTo>
                  <a:pt x="340" y="50"/>
                </a:moveTo>
                <a:cubicBezTo>
                  <a:pt x="338" y="51"/>
                  <a:pt x="336" y="51"/>
                  <a:pt x="336" y="51"/>
                </a:cubicBezTo>
                <a:cubicBezTo>
                  <a:pt x="338" y="51"/>
                  <a:pt x="340" y="51"/>
                  <a:pt x="340" y="50"/>
                </a:cubicBezTo>
                <a:close/>
                <a:moveTo>
                  <a:pt x="236" y="74"/>
                </a:moveTo>
                <a:cubicBezTo>
                  <a:pt x="236" y="74"/>
                  <a:pt x="235" y="75"/>
                  <a:pt x="235" y="74"/>
                </a:cubicBezTo>
                <a:cubicBezTo>
                  <a:pt x="234" y="75"/>
                  <a:pt x="233" y="75"/>
                  <a:pt x="233" y="76"/>
                </a:cubicBezTo>
                <a:cubicBezTo>
                  <a:pt x="236" y="75"/>
                  <a:pt x="230" y="77"/>
                  <a:pt x="232" y="77"/>
                </a:cubicBezTo>
                <a:cubicBezTo>
                  <a:pt x="234" y="76"/>
                  <a:pt x="235" y="75"/>
                  <a:pt x="236" y="74"/>
                </a:cubicBezTo>
                <a:close/>
                <a:moveTo>
                  <a:pt x="231" y="76"/>
                </a:moveTo>
                <a:cubicBezTo>
                  <a:pt x="232" y="75"/>
                  <a:pt x="233" y="76"/>
                  <a:pt x="234" y="74"/>
                </a:cubicBezTo>
                <a:cubicBezTo>
                  <a:pt x="234" y="75"/>
                  <a:pt x="236" y="72"/>
                  <a:pt x="237" y="71"/>
                </a:cubicBezTo>
                <a:cubicBezTo>
                  <a:pt x="233" y="73"/>
                  <a:pt x="233" y="74"/>
                  <a:pt x="231" y="76"/>
                </a:cubicBezTo>
                <a:close/>
                <a:moveTo>
                  <a:pt x="162" y="116"/>
                </a:moveTo>
                <a:cubicBezTo>
                  <a:pt x="164" y="115"/>
                  <a:pt x="164" y="115"/>
                  <a:pt x="164" y="115"/>
                </a:cubicBezTo>
                <a:cubicBezTo>
                  <a:pt x="162" y="115"/>
                  <a:pt x="165" y="114"/>
                  <a:pt x="167" y="112"/>
                </a:cubicBezTo>
                <a:cubicBezTo>
                  <a:pt x="165" y="113"/>
                  <a:pt x="164" y="114"/>
                  <a:pt x="164" y="114"/>
                </a:cubicBezTo>
                <a:cubicBezTo>
                  <a:pt x="167" y="111"/>
                  <a:pt x="164" y="113"/>
                  <a:pt x="165" y="111"/>
                </a:cubicBezTo>
                <a:cubicBezTo>
                  <a:pt x="164" y="112"/>
                  <a:pt x="162" y="113"/>
                  <a:pt x="162" y="114"/>
                </a:cubicBezTo>
                <a:cubicBezTo>
                  <a:pt x="168" y="110"/>
                  <a:pt x="160" y="115"/>
                  <a:pt x="162" y="114"/>
                </a:cubicBezTo>
                <a:cubicBezTo>
                  <a:pt x="166" y="112"/>
                  <a:pt x="161" y="116"/>
                  <a:pt x="162" y="116"/>
                </a:cubicBezTo>
                <a:close/>
                <a:moveTo>
                  <a:pt x="132" y="113"/>
                </a:moveTo>
                <a:cubicBezTo>
                  <a:pt x="134" y="112"/>
                  <a:pt x="135" y="111"/>
                  <a:pt x="134" y="111"/>
                </a:cubicBezTo>
                <a:cubicBezTo>
                  <a:pt x="132" y="113"/>
                  <a:pt x="132" y="113"/>
                  <a:pt x="132" y="113"/>
                </a:cubicBezTo>
                <a:close/>
                <a:moveTo>
                  <a:pt x="788" y="254"/>
                </a:moveTo>
                <a:cubicBezTo>
                  <a:pt x="788" y="256"/>
                  <a:pt x="790" y="259"/>
                  <a:pt x="791" y="260"/>
                </a:cubicBezTo>
                <a:cubicBezTo>
                  <a:pt x="790" y="258"/>
                  <a:pt x="789" y="255"/>
                  <a:pt x="788" y="254"/>
                </a:cubicBezTo>
                <a:close/>
                <a:moveTo>
                  <a:pt x="792" y="242"/>
                </a:moveTo>
                <a:cubicBezTo>
                  <a:pt x="793" y="245"/>
                  <a:pt x="794" y="247"/>
                  <a:pt x="796" y="250"/>
                </a:cubicBezTo>
                <a:cubicBezTo>
                  <a:pt x="797" y="249"/>
                  <a:pt x="792" y="240"/>
                  <a:pt x="790" y="237"/>
                </a:cubicBezTo>
                <a:cubicBezTo>
                  <a:pt x="790" y="239"/>
                  <a:pt x="794" y="244"/>
                  <a:pt x="795" y="246"/>
                </a:cubicBezTo>
                <a:cubicBezTo>
                  <a:pt x="794" y="246"/>
                  <a:pt x="793" y="243"/>
                  <a:pt x="792" y="242"/>
                </a:cubicBezTo>
                <a:close/>
                <a:moveTo>
                  <a:pt x="787" y="245"/>
                </a:moveTo>
                <a:cubicBezTo>
                  <a:pt x="787" y="245"/>
                  <a:pt x="787" y="247"/>
                  <a:pt x="786" y="246"/>
                </a:cubicBezTo>
                <a:cubicBezTo>
                  <a:pt x="788" y="248"/>
                  <a:pt x="789" y="252"/>
                  <a:pt x="790" y="253"/>
                </a:cubicBezTo>
                <a:cubicBezTo>
                  <a:pt x="789" y="250"/>
                  <a:pt x="788" y="247"/>
                  <a:pt x="787" y="245"/>
                </a:cubicBezTo>
                <a:close/>
                <a:moveTo>
                  <a:pt x="779" y="256"/>
                </a:moveTo>
                <a:cubicBezTo>
                  <a:pt x="779" y="256"/>
                  <a:pt x="776" y="252"/>
                  <a:pt x="777" y="255"/>
                </a:cubicBezTo>
                <a:cubicBezTo>
                  <a:pt x="778" y="255"/>
                  <a:pt x="778" y="255"/>
                  <a:pt x="779" y="257"/>
                </a:cubicBezTo>
                <a:cubicBezTo>
                  <a:pt x="779" y="258"/>
                  <a:pt x="779" y="258"/>
                  <a:pt x="779" y="258"/>
                </a:cubicBezTo>
                <a:cubicBezTo>
                  <a:pt x="780" y="258"/>
                  <a:pt x="780" y="258"/>
                  <a:pt x="779" y="256"/>
                </a:cubicBezTo>
                <a:close/>
                <a:moveTo>
                  <a:pt x="785" y="244"/>
                </a:moveTo>
                <a:cubicBezTo>
                  <a:pt x="787" y="249"/>
                  <a:pt x="783" y="241"/>
                  <a:pt x="784" y="244"/>
                </a:cubicBezTo>
                <a:cubicBezTo>
                  <a:pt x="786" y="246"/>
                  <a:pt x="784" y="246"/>
                  <a:pt x="785" y="247"/>
                </a:cubicBezTo>
                <a:cubicBezTo>
                  <a:pt x="785" y="246"/>
                  <a:pt x="787" y="249"/>
                  <a:pt x="787" y="249"/>
                </a:cubicBezTo>
                <a:cubicBezTo>
                  <a:pt x="786" y="247"/>
                  <a:pt x="786" y="245"/>
                  <a:pt x="785" y="244"/>
                </a:cubicBezTo>
                <a:close/>
                <a:moveTo>
                  <a:pt x="789" y="230"/>
                </a:moveTo>
                <a:cubicBezTo>
                  <a:pt x="790" y="231"/>
                  <a:pt x="791" y="232"/>
                  <a:pt x="792" y="233"/>
                </a:cubicBezTo>
                <a:cubicBezTo>
                  <a:pt x="790" y="230"/>
                  <a:pt x="789" y="228"/>
                  <a:pt x="790" y="229"/>
                </a:cubicBezTo>
                <a:cubicBezTo>
                  <a:pt x="788" y="225"/>
                  <a:pt x="789" y="224"/>
                  <a:pt x="787" y="222"/>
                </a:cubicBezTo>
                <a:cubicBezTo>
                  <a:pt x="787" y="222"/>
                  <a:pt x="787" y="224"/>
                  <a:pt x="786" y="224"/>
                </a:cubicBezTo>
                <a:cubicBezTo>
                  <a:pt x="788" y="225"/>
                  <a:pt x="788" y="226"/>
                  <a:pt x="789" y="227"/>
                </a:cubicBezTo>
                <a:cubicBezTo>
                  <a:pt x="789" y="228"/>
                  <a:pt x="789" y="229"/>
                  <a:pt x="789" y="229"/>
                </a:cubicBezTo>
                <a:cubicBezTo>
                  <a:pt x="788" y="226"/>
                  <a:pt x="787" y="226"/>
                  <a:pt x="785" y="224"/>
                </a:cubicBezTo>
                <a:cubicBezTo>
                  <a:pt x="787" y="227"/>
                  <a:pt x="786" y="227"/>
                  <a:pt x="785" y="226"/>
                </a:cubicBezTo>
                <a:cubicBezTo>
                  <a:pt x="787" y="230"/>
                  <a:pt x="786" y="228"/>
                  <a:pt x="787" y="231"/>
                </a:cubicBezTo>
                <a:cubicBezTo>
                  <a:pt x="788" y="231"/>
                  <a:pt x="789" y="234"/>
                  <a:pt x="790" y="235"/>
                </a:cubicBezTo>
                <a:cubicBezTo>
                  <a:pt x="790" y="235"/>
                  <a:pt x="792" y="237"/>
                  <a:pt x="791" y="235"/>
                </a:cubicBezTo>
                <a:cubicBezTo>
                  <a:pt x="790" y="235"/>
                  <a:pt x="790" y="233"/>
                  <a:pt x="789" y="232"/>
                </a:cubicBezTo>
                <a:cubicBezTo>
                  <a:pt x="789" y="232"/>
                  <a:pt x="790" y="235"/>
                  <a:pt x="789" y="233"/>
                </a:cubicBezTo>
                <a:cubicBezTo>
                  <a:pt x="789" y="233"/>
                  <a:pt x="787" y="230"/>
                  <a:pt x="788" y="230"/>
                </a:cubicBezTo>
                <a:cubicBezTo>
                  <a:pt x="789" y="232"/>
                  <a:pt x="790" y="234"/>
                  <a:pt x="792" y="235"/>
                </a:cubicBezTo>
                <a:cubicBezTo>
                  <a:pt x="791" y="234"/>
                  <a:pt x="789" y="231"/>
                  <a:pt x="789" y="230"/>
                </a:cubicBezTo>
                <a:close/>
                <a:moveTo>
                  <a:pt x="788" y="235"/>
                </a:moveTo>
                <a:cubicBezTo>
                  <a:pt x="788" y="233"/>
                  <a:pt x="786" y="229"/>
                  <a:pt x="785" y="229"/>
                </a:cubicBezTo>
                <a:cubicBezTo>
                  <a:pt x="787" y="231"/>
                  <a:pt x="787" y="234"/>
                  <a:pt x="788" y="235"/>
                </a:cubicBezTo>
                <a:close/>
                <a:moveTo>
                  <a:pt x="756" y="236"/>
                </a:moveTo>
                <a:cubicBezTo>
                  <a:pt x="755" y="236"/>
                  <a:pt x="757" y="239"/>
                  <a:pt x="758" y="240"/>
                </a:cubicBezTo>
                <a:cubicBezTo>
                  <a:pt x="760" y="241"/>
                  <a:pt x="759" y="242"/>
                  <a:pt x="760" y="244"/>
                </a:cubicBezTo>
                <a:cubicBezTo>
                  <a:pt x="760" y="243"/>
                  <a:pt x="762" y="245"/>
                  <a:pt x="761" y="242"/>
                </a:cubicBezTo>
                <a:cubicBezTo>
                  <a:pt x="759" y="241"/>
                  <a:pt x="759" y="241"/>
                  <a:pt x="756" y="236"/>
                </a:cubicBezTo>
                <a:close/>
                <a:moveTo>
                  <a:pt x="780" y="220"/>
                </a:moveTo>
                <a:cubicBezTo>
                  <a:pt x="781" y="222"/>
                  <a:pt x="781" y="223"/>
                  <a:pt x="782" y="225"/>
                </a:cubicBezTo>
                <a:cubicBezTo>
                  <a:pt x="783" y="226"/>
                  <a:pt x="784" y="227"/>
                  <a:pt x="785" y="228"/>
                </a:cubicBezTo>
                <a:cubicBezTo>
                  <a:pt x="783" y="225"/>
                  <a:pt x="782" y="222"/>
                  <a:pt x="780" y="220"/>
                </a:cubicBezTo>
                <a:close/>
                <a:moveTo>
                  <a:pt x="787" y="219"/>
                </a:moveTo>
                <a:cubicBezTo>
                  <a:pt x="786" y="219"/>
                  <a:pt x="786" y="220"/>
                  <a:pt x="787" y="221"/>
                </a:cubicBezTo>
                <a:cubicBezTo>
                  <a:pt x="787" y="221"/>
                  <a:pt x="789" y="225"/>
                  <a:pt x="789" y="223"/>
                </a:cubicBezTo>
                <a:cubicBezTo>
                  <a:pt x="787" y="221"/>
                  <a:pt x="787" y="220"/>
                  <a:pt x="787" y="219"/>
                </a:cubicBezTo>
                <a:close/>
                <a:moveTo>
                  <a:pt x="781" y="226"/>
                </a:moveTo>
                <a:cubicBezTo>
                  <a:pt x="781" y="227"/>
                  <a:pt x="780" y="223"/>
                  <a:pt x="779" y="224"/>
                </a:cubicBezTo>
                <a:cubicBezTo>
                  <a:pt x="780" y="224"/>
                  <a:pt x="780" y="225"/>
                  <a:pt x="779" y="225"/>
                </a:cubicBezTo>
                <a:cubicBezTo>
                  <a:pt x="781" y="228"/>
                  <a:pt x="783" y="228"/>
                  <a:pt x="781" y="226"/>
                </a:cubicBezTo>
                <a:close/>
                <a:moveTo>
                  <a:pt x="760" y="233"/>
                </a:moveTo>
                <a:cubicBezTo>
                  <a:pt x="761" y="237"/>
                  <a:pt x="756" y="230"/>
                  <a:pt x="756" y="233"/>
                </a:cubicBezTo>
                <a:cubicBezTo>
                  <a:pt x="758" y="234"/>
                  <a:pt x="760" y="235"/>
                  <a:pt x="762" y="237"/>
                </a:cubicBezTo>
                <a:cubicBezTo>
                  <a:pt x="761" y="235"/>
                  <a:pt x="761" y="233"/>
                  <a:pt x="760" y="233"/>
                </a:cubicBezTo>
                <a:close/>
                <a:moveTo>
                  <a:pt x="754" y="232"/>
                </a:moveTo>
                <a:cubicBezTo>
                  <a:pt x="755" y="231"/>
                  <a:pt x="756" y="235"/>
                  <a:pt x="757" y="236"/>
                </a:cubicBezTo>
                <a:cubicBezTo>
                  <a:pt x="757" y="234"/>
                  <a:pt x="753" y="229"/>
                  <a:pt x="754" y="232"/>
                </a:cubicBezTo>
                <a:close/>
                <a:moveTo>
                  <a:pt x="747" y="236"/>
                </a:moveTo>
                <a:cubicBezTo>
                  <a:pt x="746" y="236"/>
                  <a:pt x="748" y="238"/>
                  <a:pt x="748" y="239"/>
                </a:cubicBezTo>
                <a:cubicBezTo>
                  <a:pt x="749" y="239"/>
                  <a:pt x="749" y="240"/>
                  <a:pt x="749" y="239"/>
                </a:cubicBezTo>
                <a:cubicBezTo>
                  <a:pt x="748" y="239"/>
                  <a:pt x="748" y="237"/>
                  <a:pt x="747" y="236"/>
                </a:cubicBezTo>
                <a:close/>
                <a:moveTo>
                  <a:pt x="753" y="170"/>
                </a:moveTo>
                <a:cubicBezTo>
                  <a:pt x="752" y="170"/>
                  <a:pt x="752" y="170"/>
                  <a:pt x="753" y="172"/>
                </a:cubicBezTo>
                <a:cubicBezTo>
                  <a:pt x="754" y="172"/>
                  <a:pt x="755" y="172"/>
                  <a:pt x="756" y="173"/>
                </a:cubicBezTo>
                <a:cubicBezTo>
                  <a:pt x="754" y="172"/>
                  <a:pt x="753" y="171"/>
                  <a:pt x="753" y="170"/>
                </a:cubicBezTo>
                <a:close/>
                <a:moveTo>
                  <a:pt x="747" y="163"/>
                </a:moveTo>
                <a:cubicBezTo>
                  <a:pt x="746" y="162"/>
                  <a:pt x="745" y="163"/>
                  <a:pt x="746" y="165"/>
                </a:cubicBezTo>
                <a:cubicBezTo>
                  <a:pt x="746" y="164"/>
                  <a:pt x="749" y="168"/>
                  <a:pt x="749" y="167"/>
                </a:cubicBezTo>
                <a:cubicBezTo>
                  <a:pt x="746" y="163"/>
                  <a:pt x="748" y="165"/>
                  <a:pt x="747" y="163"/>
                </a:cubicBezTo>
                <a:close/>
                <a:moveTo>
                  <a:pt x="726" y="156"/>
                </a:moveTo>
                <a:cubicBezTo>
                  <a:pt x="725" y="156"/>
                  <a:pt x="728" y="159"/>
                  <a:pt x="729" y="160"/>
                </a:cubicBezTo>
                <a:cubicBezTo>
                  <a:pt x="730" y="160"/>
                  <a:pt x="728" y="158"/>
                  <a:pt x="726" y="156"/>
                </a:cubicBezTo>
                <a:close/>
                <a:moveTo>
                  <a:pt x="723" y="152"/>
                </a:moveTo>
                <a:cubicBezTo>
                  <a:pt x="722" y="152"/>
                  <a:pt x="721" y="151"/>
                  <a:pt x="721" y="150"/>
                </a:cubicBezTo>
                <a:cubicBezTo>
                  <a:pt x="720" y="150"/>
                  <a:pt x="720" y="151"/>
                  <a:pt x="721" y="152"/>
                </a:cubicBezTo>
                <a:cubicBezTo>
                  <a:pt x="722" y="151"/>
                  <a:pt x="725" y="155"/>
                  <a:pt x="724" y="153"/>
                </a:cubicBezTo>
                <a:cubicBezTo>
                  <a:pt x="723" y="153"/>
                  <a:pt x="723" y="153"/>
                  <a:pt x="723" y="152"/>
                </a:cubicBezTo>
                <a:close/>
                <a:moveTo>
                  <a:pt x="726" y="146"/>
                </a:moveTo>
                <a:cubicBezTo>
                  <a:pt x="727" y="147"/>
                  <a:pt x="726" y="147"/>
                  <a:pt x="728" y="149"/>
                </a:cubicBezTo>
                <a:cubicBezTo>
                  <a:pt x="729" y="150"/>
                  <a:pt x="727" y="147"/>
                  <a:pt x="726" y="146"/>
                </a:cubicBezTo>
                <a:close/>
                <a:moveTo>
                  <a:pt x="717" y="154"/>
                </a:moveTo>
                <a:cubicBezTo>
                  <a:pt x="718" y="156"/>
                  <a:pt x="715" y="152"/>
                  <a:pt x="714" y="152"/>
                </a:cubicBezTo>
                <a:cubicBezTo>
                  <a:pt x="714" y="153"/>
                  <a:pt x="716" y="154"/>
                  <a:pt x="717" y="156"/>
                </a:cubicBezTo>
                <a:cubicBezTo>
                  <a:pt x="718" y="156"/>
                  <a:pt x="718" y="155"/>
                  <a:pt x="717" y="154"/>
                </a:cubicBezTo>
                <a:close/>
                <a:moveTo>
                  <a:pt x="723" y="138"/>
                </a:moveTo>
                <a:cubicBezTo>
                  <a:pt x="726" y="140"/>
                  <a:pt x="727" y="142"/>
                  <a:pt x="728" y="143"/>
                </a:cubicBezTo>
                <a:cubicBezTo>
                  <a:pt x="727" y="141"/>
                  <a:pt x="725" y="139"/>
                  <a:pt x="723" y="138"/>
                </a:cubicBezTo>
                <a:close/>
                <a:moveTo>
                  <a:pt x="723" y="139"/>
                </a:moveTo>
                <a:cubicBezTo>
                  <a:pt x="723" y="138"/>
                  <a:pt x="722" y="137"/>
                  <a:pt x="721" y="137"/>
                </a:cubicBezTo>
                <a:cubicBezTo>
                  <a:pt x="720" y="136"/>
                  <a:pt x="720" y="136"/>
                  <a:pt x="720" y="137"/>
                </a:cubicBezTo>
                <a:cubicBezTo>
                  <a:pt x="721" y="139"/>
                  <a:pt x="722" y="140"/>
                  <a:pt x="723" y="141"/>
                </a:cubicBezTo>
                <a:cubicBezTo>
                  <a:pt x="722" y="139"/>
                  <a:pt x="720" y="138"/>
                  <a:pt x="721" y="137"/>
                </a:cubicBezTo>
                <a:cubicBezTo>
                  <a:pt x="723" y="139"/>
                  <a:pt x="724" y="140"/>
                  <a:pt x="725" y="140"/>
                </a:cubicBezTo>
                <a:cubicBezTo>
                  <a:pt x="724" y="139"/>
                  <a:pt x="724" y="139"/>
                  <a:pt x="723" y="139"/>
                </a:cubicBezTo>
                <a:close/>
                <a:moveTo>
                  <a:pt x="722" y="140"/>
                </a:moveTo>
                <a:cubicBezTo>
                  <a:pt x="719" y="137"/>
                  <a:pt x="719" y="137"/>
                  <a:pt x="719" y="137"/>
                </a:cubicBezTo>
                <a:cubicBezTo>
                  <a:pt x="718" y="137"/>
                  <a:pt x="720" y="140"/>
                  <a:pt x="721" y="141"/>
                </a:cubicBezTo>
                <a:cubicBezTo>
                  <a:pt x="722" y="141"/>
                  <a:pt x="722" y="141"/>
                  <a:pt x="722" y="140"/>
                </a:cubicBezTo>
                <a:close/>
                <a:moveTo>
                  <a:pt x="721" y="134"/>
                </a:moveTo>
                <a:cubicBezTo>
                  <a:pt x="720" y="134"/>
                  <a:pt x="719" y="134"/>
                  <a:pt x="719" y="134"/>
                </a:cubicBezTo>
                <a:cubicBezTo>
                  <a:pt x="723" y="138"/>
                  <a:pt x="724" y="137"/>
                  <a:pt x="721" y="134"/>
                </a:cubicBezTo>
                <a:close/>
                <a:moveTo>
                  <a:pt x="714" y="136"/>
                </a:moveTo>
                <a:cubicBezTo>
                  <a:pt x="715" y="135"/>
                  <a:pt x="715" y="135"/>
                  <a:pt x="714" y="134"/>
                </a:cubicBezTo>
                <a:cubicBezTo>
                  <a:pt x="713" y="133"/>
                  <a:pt x="712" y="134"/>
                  <a:pt x="714" y="136"/>
                </a:cubicBezTo>
                <a:close/>
                <a:moveTo>
                  <a:pt x="697" y="113"/>
                </a:moveTo>
                <a:cubicBezTo>
                  <a:pt x="698" y="114"/>
                  <a:pt x="698" y="113"/>
                  <a:pt x="697" y="113"/>
                </a:cubicBezTo>
                <a:cubicBezTo>
                  <a:pt x="696" y="113"/>
                  <a:pt x="694" y="110"/>
                  <a:pt x="693" y="110"/>
                </a:cubicBezTo>
                <a:cubicBezTo>
                  <a:pt x="695" y="112"/>
                  <a:pt x="698" y="116"/>
                  <a:pt x="700" y="117"/>
                </a:cubicBezTo>
                <a:cubicBezTo>
                  <a:pt x="699" y="116"/>
                  <a:pt x="696" y="113"/>
                  <a:pt x="697" y="113"/>
                </a:cubicBezTo>
                <a:close/>
                <a:moveTo>
                  <a:pt x="662" y="153"/>
                </a:moveTo>
                <a:cubicBezTo>
                  <a:pt x="663" y="154"/>
                  <a:pt x="665" y="156"/>
                  <a:pt x="666" y="156"/>
                </a:cubicBezTo>
                <a:cubicBezTo>
                  <a:pt x="665" y="155"/>
                  <a:pt x="663" y="152"/>
                  <a:pt x="662" y="153"/>
                </a:cubicBezTo>
                <a:close/>
                <a:moveTo>
                  <a:pt x="685" y="103"/>
                </a:moveTo>
                <a:cubicBezTo>
                  <a:pt x="687" y="104"/>
                  <a:pt x="686" y="104"/>
                  <a:pt x="687" y="105"/>
                </a:cubicBezTo>
                <a:cubicBezTo>
                  <a:pt x="688" y="106"/>
                  <a:pt x="689" y="106"/>
                  <a:pt x="689" y="106"/>
                </a:cubicBezTo>
                <a:cubicBezTo>
                  <a:pt x="688" y="105"/>
                  <a:pt x="687" y="103"/>
                  <a:pt x="685" y="103"/>
                </a:cubicBezTo>
                <a:close/>
                <a:moveTo>
                  <a:pt x="599" y="49"/>
                </a:moveTo>
                <a:cubicBezTo>
                  <a:pt x="600" y="50"/>
                  <a:pt x="603" y="51"/>
                  <a:pt x="603" y="50"/>
                </a:cubicBezTo>
                <a:cubicBezTo>
                  <a:pt x="600" y="49"/>
                  <a:pt x="601" y="50"/>
                  <a:pt x="599" y="49"/>
                </a:cubicBezTo>
                <a:close/>
                <a:moveTo>
                  <a:pt x="579" y="43"/>
                </a:moveTo>
                <a:cubicBezTo>
                  <a:pt x="579" y="42"/>
                  <a:pt x="584" y="44"/>
                  <a:pt x="581" y="43"/>
                </a:cubicBezTo>
                <a:cubicBezTo>
                  <a:pt x="581" y="43"/>
                  <a:pt x="576" y="41"/>
                  <a:pt x="579" y="43"/>
                </a:cubicBezTo>
                <a:close/>
                <a:moveTo>
                  <a:pt x="568" y="37"/>
                </a:moveTo>
                <a:cubicBezTo>
                  <a:pt x="568" y="36"/>
                  <a:pt x="570" y="37"/>
                  <a:pt x="571" y="38"/>
                </a:cubicBezTo>
                <a:cubicBezTo>
                  <a:pt x="573" y="38"/>
                  <a:pt x="568" y="36"/>
                  <a:pt x="567" y="36"/>
                </a:cubicBezTo>
                <a:cubicBezTo>
                  <a:pt x="570" y="37"/>
                  <a:pt x="565" y="36"/>
                  <a:pt x="568" y="37"/>
                </a:cubicBezTo>
                <a:close/>
                <a:moveTo>
                  <a:pt x="562" y="33"/>
                </a:moveTo>
                <a:cubicBezTo>
                  <a:pt x="563" y="34"/>
                  <a:pt x="563" y="33"/>
                  <a:pt x="565" y="33"/>
                </a:cubicBezTo>
                <a:cubicBezTo>
                  <a:pt x="567" y="35"/>
                  <a:pt x="567" y="35"/>
                  <a:pt x="567" y="35"/>
                </a:cubicBezTo>
                <a:cubicBezTo>
                  <a:pt x="570" y="35"/>
                  <a:pt x="558" y="30"/>
                  <a:pt x="562" y="33"/>
                </a:cubicBezTo>
                <a:close/>
                <a:moveTo>
                  <a:pt x="533" y="22"/>
                </a:moveTo>
                <a:cubicBezTo>
                  <a:pt x="531" y="22"/>
                  <a:pt x="527" y="19"/>
                  <a:pt x="523" y="19"/>
                </a:cubicBezTo>
                <a:cubicBezTo>
                  <a:pt x="524" y="20"/>
                  <a:pt x="519" y="18"/>
                  <a:pt x="519" y="19"/>
                </a:cubicBezTo>
                <a:cubicBezTo>
                  <a:pt x="522" y="20"/>
                  <a:pt x="520" y="20"/>
                  <a:pt x="524" y="21"/>
                </a:cubicBezTo>
                <a:cubicBezTo>
                  <a:pt x="522" y="19"/>
                  <a:pt x="526" y="20"/>
                  <a:pt x="528" y="20"/>
                </a:cubicBezTo>
                <a:cubicBezTo>
                  <a:pt x="529" y="21"/>
                  <a:pt x="532" y="22"/>
                  <a:pt x="535" y="23"/>
                </a:cubicBezTo>
                <a:cubicBezTo>
                  <a:pt x="534" y="23"/>
                  <a:pt x="535" y="22"/>
                  <a:pt x="533" y="22"/>
                </a:cubicBezTo>
                <a:close/>
                <a:moveTo>
                  <a:pt x="513" y="21"/>
                </a:moveTo>
                <a:cubicBezTo>
                  <a:pt x="515" y="21"/>
                  <a:pt x="520" y="24"/>
                  <a:pt x="520" y="23"/>
                </a:cubicBezTo>
                <a:cubicBezTo>
                  <a:pt x="516" y="22"/>
                  <a:pt x="514" y="21"/>
                  <a:pt x="513" y="21"/>
                </a:cubicBezTo>
                <a:close/>
                <a:moveTo>
                  <a:pt x="499" y="13"/>
                </a:moveTo>
                <a:cubicBezTo>
                  <a:pt x="501" y="14"/>
                  <a:pt x="499" y="14"/>
                  <a:pt x="502" y="15"/>
                </a:cubicBezTo>
                <a:cubicBezTo>
                  <a:pt x="501" y="14"/>
                  <a:pt x="504" y="14"/>
                  <a:pt x="502" y="14"/>
                </a:cubicBezTo>
                <a:cubicBezTo>
                  <a:pt x="502" y="14"/>
                  <a:pt x="499" y="13"/>
                  <a:pt x="499" y="13"/>
                </a:cubicBezTo>
                <a:close/>
                <a:moveTo>
                  <a:pt x="497" y="13"/>
                </a:moveTo>
                <a:cubicBezTo>
                  <a:pt x="502" y="15"/>
                  <a:pt x="497" y="14"/>
                  <a:pt x="497" y="15"/>
                </a:cubicBezTo>
                <a:cubicBezTo>
                  <a:pt x="499" y="15"/>
                  <a:pt x="500" y="16"/>
                  <a:pt x="501" y="16"/>
                </a:cubicBezTo>
                <a:cubicBezTo>
                  <a:pt x="500" y="15"/>
                  <a:pt x="499" y="13"/>
                  <a:pt x="497" y="13"/>
                </a:cubicBezTo>
                <a:close/>
                <a:moveTo>
                  <a:pt x="494" y="15"/>
                </a:moveTo>
                <a:cubicBezTo>
                  <a:pt x="494" y="14"/>
                  <a:pt x="496" y="15"/>
                  <a:pt x="496" y="14"/>
                </a:cubicBezTo>
                <a:cubicBezTo>
                  <a:pt x="492" y="13"/>
                  <a:pt x="493" y="14"/>
                  <a:pt x="494" y="15"/>
                </a:cubicBezTo>
                <a:close/>
                <a:moveTo>
                  <a:pt x="441" y="7"/>
                </a:moveTo>
                <a:cubicBezTo>
                  <a:pt x="441" y="7"/>
                  <a:pt x="443" y="7"/>
                  <a:pt x="445" y="7"/>
                </a:cubicBezTo>
                <a:cubicBezTo>
                  <a:pt x="444" y="7"/>
                  <a:pt x="445" y="7"/>
                  <a:pt x="444" y="7"/>
                </a:cubicBezTo>
                <a:cubicBezTo>
                  <a:pt x="444" y="7"/>
                  <a:pt x="439" y="7"/>
                  <a:pt x="441" y="7"/>
                </a:cubicBezTo>
                <a:close/>
                <a:moveTo>
                  <a:pt x="436" y="6"/>
                </a:moveTo>
                <a:cubicBezTo>
                  <a:pt x="433" y="6"/>
                  <a:pt x="434" y="5"/>
                  <a:pt x="431" y="6"/>
                </a:cubicBezTo>
                <a:cubicBezTo>
                  <a:pt x="431" y="6"/>
                  <a:pt x="433" y="6"/>
                  <a:pt x="432" y="7"/>
                </a:cubicBezTo>
                <a:cubicBezTo>
                  <a:pt x="434" y="7"/>
                  <a:pt x="436" y="8"/>
                  <a:pt x="437" y="7"/>
                </a:cubicBezTo>
                <a:cubicBezTo>
                  <a:pt x="432" y="7"/>
                  <a:pt x="433" y="6"/>
                  <a:pt x="436" y="6"/>
                </a:cubicBezTo>
                <a:close/>
                <a:moveTo>
                  <a:pt x="424" y="8"/>
                </a:moveTo>
                <a:cubicBezTo>
                  <a:pt x="420" y="7"/>
                  <a:pt x="426" y="6"/>
                  <a:pt x="421" y="7"/>
                </a:cubicBezTo>
                <a:cubicBezTo>
                  <a:pt x="423" y="7"/>
                  <a:pt x="420" y="8"/>
                  <a:pt x="424" y="8"/>
                </a:cubicBezTo>
                <a:close/>
                <a:moveTo>
                  <a:pt x="415" y="4"/>
                </a:moveTo>
                <a:cubicBezTo>
                  <a:pt x="415" y="4"/>
                  <a:pt x="414" y="4"/>
                  <a:pt x="413" y="4"/>
                </a:cubicBezTo>
                <a:cubicBezTo>
                  <a:pt x="415" y="4"/>
                  <a:pt x="417" y="5"/>
                  <a:pt x="420" y="5"/>
                </a:cubicBezTo>
                <a:cubicBezTo>
                  <a:pt x="420" y="4"/>
                  <a:pt x="417" y="4"/>
                  <a:pt x="415" y="4"/>
                </a:cubicBezTo>
                <a:close/>
                <a:moveTo>
                  <a:pt x="417" y="5"/>
                </a:moveTo>
                <a:cubicBezTo>
                  <a:pt x="417" y="6"/>
                  <a:pt x="414" y="6"/>
                  <a:pt x="412" y="5"/>
                </a:cubicBezTo>
                <a:cubicBezTo>
                  <a:pt x="412" y="6"/>
                  <a:pt x="415" y="6"/>
                  <a:pt x="416" y="7"/>
                </a:cubicBezTo>
                <a:cubicBezTo>
                  <a:pt x="416" y="7"/>
                  <a:pt x="417" y="7"/>
                  <a:pt x="418" y="7"/>
                </a:cubicBezTo>
                <a:cubicBezTo>
                  <a:pt x="413" y="6"/>
                  <a:pt x="418" y="6"/>
                  <a:pt x="419" y="6"/>
                </a:cubicBezTo>
                <a:cubicBezTo>
                  <a:pt x="419" y="6"/>
                  <a:pt x="419" y="5"/>
                  <a:pt x="417" y="5"/>
                </a:cubicBezTo>
                <a:close/>
                <a:moveTo>
                  <a:pt x="412" y="4"/>
                </a:moveTo>
                <a:cubicBezTo>
                  <a:pt x="409" y="4"/>
                  <a:pt x="409" y="5"/>
                  <a:pt x="410" y="5"/>
                </a:cubicBezTo>
                <a:cubicBezTo>
                  <a:pt x="409" y="4"/>
                  <a:pt x="414" y="5"/>
                  <a:pt x="413" y="5"/>
                </a:cubicBezTo>
                <a:cubicBezTo>
                  <a:pt x="410" y="4"/>
                  <a:pt x="413" y="4"/>
                  <a:pt x="412" y="4"/>
                </a:cubicBezTo>
                <a:close/>
                <a:moveTo>
                  <a:pt x="409" y="5"/>
                </a:moveTo>
                <a:cubicBezTo>
                  <a:pt x="405" y="5"/>
                  <a:pt x="405" y="5"/>
                  <a:pt x="405" y="5"/>
                </a:cubicBezTo>
                <a:cubicBezTo>
                  <a:pt x="404" y="6"/>
                  <a:pt x="408" y="6"/>
                  <a:pt x="407" y="7"/>
                </a:cubicBezTo>
                <a:cubicBezTo>
                  <a:pt x="409" y="7"/>
                  <a:pt x="409" y="7"/>
                  <a:pt x="412" y="8"/>
                </a:cubicBezTo>
                <a:cubicBezTo>
                  <a:pt x="411" y="7"/>
                  <a:pt x="404" y="6"/>
                  <a:pt x="409" y="5"/>
                </a:cubicBezTo>
                <a:close/>
                <a:moveTo>
                  <a:pt x="391" y="7"/>
                </a:moveTo>
                <a:cubicBezTo>
                  <a:pt x="393" y="7"/>
                  <a:pt x="395" y="7"/>
                  <a:pt x="397" y="7"/>
                </a:cubicBezTo>
                <a:cubicBezTo>
                  <a:pt x="397" y="7"/>
                  <a:pt x="397" y="7"/>
                  <a:pt x="397" y="7"/>
                </a:cubicBezTo>
                <a:cubicBezTo>
                  <a:pt x="395" y="7"/>
                  <a:pt x="393" y="7"/>
                  <a:pt x="391" y="7"/>
                </a:cubicBezTo>
                <a:close/>
                <a:moveTo>
                  <a:pt x="376" y="46"/>
                </a:moveTo>
                <a:cubicBezTo>
                  <a:pt x="376" y="47"/>
                  <a:pt x="379" y="47"/>
                  <a:pt x="380" y="47"/>
                </a:cubicBezTo>
                <a:cubicBezTo>
                  <a:pt x="378" y="47"/>
                  <a:pt x="378" y="46"/>
                  <a:pt x="376" y="46"/>
                </a:cubicBezTo>
                <a:close/>
                <a:moveTo>
                  <a:pt x="354" y="47"/>
                </a:moveTo>
                <a:cubicBezTo>
                  <a:pt x="353" y="48"/>
                  <a:pt x="359" y="47"/>
                  <a:pt x="359" y="47"/>
                </a:cubicBezTo>
                <a:cubicBezTo>
                  <a:pt x="357" y="47"/>
                  <a:pt x="357" y="46"/>
                  <a:pt x="354" y="47"/>
                </a:cubicBezTo>
                <a:close/>
                <a:moveTo>
                  <a:pt x="323" y="15"/>
                </a:moveTo>
                <a:cubicBezTo>
                  <a:pt x="323" y="16"/>
                  <a:pt x="322" y="16"/>
                  <a:pt x="324" y="16"/>
                </a:cubicBezTo>
                <a:cubicBezTo>
                  <a:pt x="326" y="16"/>
                  <a:pt x="326" y="15"/>
                  <a:pt x="323" y="15"/>
                </a:cubicBezTo>
                <a:close/>
                <a:moveTo>
                  <a:pt x="325" y="47"/>
                </a:moveTo>
                <a:cubicBezTo>
                  <a:pt x="324" y="48"/>
                  <a:pt x="328" y="47"/>
                  <a:pt x="329" y="46"/>
                </a:cubicBezTo>
                <a:cubicBezTo>
                  <a:pt x="327" y="47"/>
                  <a:pt x="327" y="46"/>
                  <a:pt x="325" y="47"/>
                </a:cubicBezTo>
                <a:close/>
                <a:moveTo>
                  <a:pt x="321" y="51"/>
                </a:moveTo>
                <a:cubicBezTo>
                  <a:pt x="324" y="50"/>
                  <a:pt x="323" y="50"/>
                  <a:pt x="321" y="51"/>
                </a:cubicBezTo>
                <a:cubicBezTo>
                  <a:pt x="323" y="51"/>
                  <a:pt x="325" y="50"/>
                  <a:pt x="327" y="50"/>
                </a:cubicBezTo>
                <a:cubicBezTo>
                  <a:pt x="328" y="50"/>
                  <a:pt x="328" y="49"/>
                  <a:pt x="328" y="49"/>
                </a:cubicBezTo>
                <a:cubicBezTo>
                  <a:pt x="325" y="50"/>
                  <a:pt x="321" y="49"/>
                  <a:pt x="321" y="51"/>
                </a:cubicBezTo>
                <a:close/>
                <a:moveTo>
                  <a:pt x="316" y="18"/>
                </a:moveTo>
                <a:cubicBezTo>
                  <a:pt x="319" y="17"/>
                  <a:pt x="317" y="18"/>
                  <a:pt x="320" y="18"/>
                </a:cubicBezTo>
                <a:cubicBezTo>
                  <a:pt x="319" y="17"/>
                  <a:pt x="321" y="17"/>
                  <a:pt x="321" y="16"/>
                </a:cubicBezTo>
                <a:cubicBezTo>
                  <a:pt x="318" y="17"/>
                  <a:pt x="319" y="17"/>
                  <a:pt x="317" y="17"/>
                </a:cubicBezTo>
                <a:cubicBezTo>
                  <a:pt x="317" y="17"/>
                  <a:pt x="317" y="17"/>
                  <a:pt x="316" y="18"/>
                </a:cubicBezTo>
                <a:close/>
                <a:moveTo>
                  <a:pt x="311" y="35"/>
                </a:moveTo>
                <a:cubicBezTo>
                  <a:pt x="312" y="34"/>
                  <a:pt x="316" y="34"/>
                  <a:pt x="315" y="34"/>
                </a:cubicBezTo>
                <a:cubicBezTo>
                  <a:pt x="314" y="34"/>
                  <a:pt x="308" y="35"/>
                  <a:pt x="311" y="35"/>
                </a:cubicBezTo>
                <a:close/>
                <a:moveTo>
                  <a:pt x="314" y="49"/>
                </a:moveTo>
                <a:cubicBezTo>
                  <a:pt x="314" y="50"/>
                  <a:pt x="318" y="49"/>
                  <a:pt x="318" y="49"/>
                </a:cubicBezTo>
                <a:lnTo>
                  <a:pt x="314" y="49"/>
                </a:lnTo>
                <a:close/>
                <a:moveTo>
                  <a:pt x="308" y="47"/>
                </a:moveTo>
                <a:cubicBezTo>
                  <a:pt x="308" y="48"/>
                  <a:pt x="314" y="46"/>
                  <a:pt x="315" y="46"/>
                </a:cubicBezTo>
                <a:cubicBezTo>
                  <a:pt x="315" y="46"/>
                  <a:pt x="315" y="45"/>
                  <a:pt x="316" y="45"/>
                </a:cubicBezTo>
                <a:cubicBezTo>
                  <a:pt x="313" y="46"/>
                  <a:pt x="309" y="47"/>
                  <a:pt x="308" y="47"/>
                </a:cubicBezTo>
                <a:close/>
                <a:moveTo>
                  <a:pt x="302" y="21"/>
                </a:moveTo>
                <a:cubicBezTo>
                  <a:pt x="305" y="21"/>
                  <a:pt x="305" y="20"/>
                  <a:pt x="306" y="20"/>
                </a:cubicBezTo>
                <a:cubicBezTo>
                  <a:pt x="306" y="19"/>
                  <a:pt x="307" y="19"/>
                  <a:pt x="307" y="19"/>
                </a:cubicBezTo>
                <a:cubicBezTo>
                  <a:pt x="304" y="20"/>
                  <a:pt x="303" y="20"/>
                  <a:pt x="302" y="21"/>
                </a:cubicBezTo>
                <a:close/>
                <a:moveTo>
                  <a:pt x="314" y="52"/>
                </a:moveTo>
                <a:cubicBezTo>
                  <a:pt x="313" y="52"/>
                  <a:pt x="311" y="53"/>
                  <a:pt x="311" y="53"/>
                </a:cubicBezTo>
                <a:cubicBezTo>
                  <a:pt x="314" y="52"/>
                  <a:pt x="313" y="53"/>
                  <a:pt x="315" y="52"/>
                </a:cubicBezTo>
                <a:cubicBezTo>
                  <a:pt x="315" y="52"/>
                  <a:pt x="315" y="52"/>
                  <a:pt x="314" y="52"/>
                </a:cubicBezTo>
                <a:close/>
                <a:moveTo>
                  <a:pt x="309" y="42"/>
                </a:moveTo>
                <a:cubicBezTo>
                  <a:pt x="307" y="43"/>
                  <a:pt x="305" y="43"/>
                  <a:pt x="304" y="44"/>
                </a:cubicBezTo>
                <a:cubicBezTo>
                  <a:pt x="306" y="44"/>
                  <a:pt x="309" y="43"/>
                  <a:pt x="310" y="42"/>
                </a:cubicBezTo>
                <a:cubicBezTo>
                  <a:pt x="310" y="42"/>
                  <a:pt x="310" y="41"/>
                  <a:pt x="309" y="41"/>
                </a:cubicBezTo>
                <a:lnTo>
                  <a:pt x="309" y="42"/>
                </a:lnTo>
                <a:close/>
                <a:moveTo>
                  <a:pt x="306" y="49"/>
                </a:moveTo>
                <a:cubicBezTo>
                  <a:pt x="308" y="49"/>
                  <a:pt x="309" y="49"/>
                  <a:pt x="310" y="49"/>
                </a:cubicBezTo>
                <a:cubicBezTo>
                  <a:pt x="310" y="48"/>
                  <a:pt x="310" y="48"/>
                  <a:pt x="311" y="48"/>
                </a:cubicBezTo>
                <a:cubicBezTo>
                  <a:pt x="311" y="48"/>
                  <a:pt x="311" y="48"/>
                  <a:pt x="311" y="48"/>
                </a:cubicBezTo>
                <a:cubicBezTo>
                  <a:pt x="308" y="49"/>
                  <a:pt x="307" y="48"/>
                  <a:pt x="306" y="49"/>
                </a:cubicBezTo>
                <a:close/>
                <a:moveTo>
                  <a:pt x="306" y="51"/>
                </a:moveTo>
                <a:cubicBezTo>
                  <a:pt x="307" y="51"/>
                  <a:pt x="308" y="50"/>
                  <a:pt x="309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07" y="50"/>
                  <a:pt x="304" y="51"/>
                  <a:pt x="306" y="51"/>
                </a:cubicBezTo>
                <a:close/>
                <a:moveTo>
                  <a:pt x="307" y="53"/>
                </a:moveTo>
                <a:cubicBezTo>
                  <a:pt x="309" y="53"/>
                  <a:pt x="306" y="54"/>
                  <a:pt x="306" y="54"/>
                </a:cubicBezTo>
                <a:cubicBezTo>
                  <a:pt x="309" y="54"/>
                  <a:pt x="310" y="53"/>
                  <a:pt x="311" y="52"/>
                </a:cubicBezTo>
                <a:cubicBezTo>
                  <a:pt x="310" y="52"/>
                  <a:pt x="308" y="53"/>
                  <a:pt x="307" y="53"/>
                </a:cubicBezTo>
                <a:close/>
                <a:moveTo>
                  <a:pt x="308" y="54"/>
                </a:moveTo>
                <a:cubicBezTo>
                  <a:pt x="305" y="55"/>
                  <a:pt x="306" y="55"/>
                  <a:pt x="305" y="56"/>
                </a:cubicBezTo>
                <a:cubicBezTo>
                  <a:pt x="308" y="55"/>
                  <a:pt x="309" y="56"/>
                  <a:pt x="310" y="55"/>
                </a:cubicBezTo>
                <a:cubicBezTo>
                  <a:pt x="308" y="55"/>
                  <a:pt x="308" y="55"/>
                  <a:pt x="308" y="54"/>
                </a:cubicBezTo>
                <a:close/>
                <a:moveTo>
                  <a:pt x="302" y="38"/>
                </a:moveTo>
                <a:cubicBezTo>
                  <a:pt x="300" y="39"/>
                  <a:pt x="300" y="39"/>
                  <a:pt x="300" y="40"/>
                </a:cubicBezTo>
                <a:cubicBezTo>
                  <a:pt x="303" y="39"/>
                  <a:pt x="303" y="39"/>
                  <a:pt x="302" y="38"/>
                </a:cubicBezTo>
                <a:close/>
                <a:moveTo>
                  <a:pt x="301" y="46"/>
                </a:moveTo>
                <a:cubicBezTo>
                  <a:pt x="300" y="47"/>
                  <a:pt x="300" y="47"/>
                  <a:pt x="299" y="47"/>
                </a:cubicBezTo>
                <a:cubicBezTo>
                  <a:pt x="299" y="47"/>
                  <a:pt x="297" y="48"/>
                  <a:pt x="299" y="48"/>
                </a:cubicBezTo>
                <a:cubicBezTo>
                  <a:pt x="300" y="47"/>
                  <a:pt x="305" y="45"/>
                  <a:pt x="302" y="46"/>
                </a:cubicBezTo>
                <a:cubicBezTo>
                  <a:pt x="302" y="46"/>
                  <a:pt x="301" y="46"/>
                  <a:pt x="301" y="46"/>
                </a:cubicBezTo>
                <a:close/>
                <a:moveTo>
                  <a:pt x="300" y="51"/>
                </a:moveTo>
                <a:cubicBezTo>
                  <a:pt x="300" y="51"/>
                  <a:pt x="303" y="50"/>
                  <a:pt x="303" y="50"/>
                </a:cubicBezTo>
                <a:cubicBezTo>
                  <a:pt x="301" y="50"/>
                  <a:pt x="297" y="52"/>
                  <a:pt x="300" y="51"/>
                </a:cubicBezTo>
                <a:close/>
                <a:moveTo>
                  <a:pt x="296" y="41"/>
                </a:moveTo>
                <a:cubicBezTo>
                  <a:pt x="296" y="40"/>
                  <a:pt x="297" y="40"/>
                  <a:pt x="297" y="40"/>
                </a:cubicBezTo>
                <a:cubicBezTo>
                  <a:pt x="294" y="40"/>
                  <a:pt x="293" y="42"/>
                  <a:pt x="296" y="41"/>
                </a:cubicBezTo>
                <a:close/>
                <a:moveTo>
                  <a:pt x="295" y="49"/>
                </a:moveTo>
                <a:cubicBezTo>
                  <a:pt x="293" y="50"/>
                  <a:pt x="294" y="51"/>
                  <a:pt x="297" y="51"/>
                </a:cubicBezTo>
                <a:cubicBezTo>
                  <a:pt x="298" y="50"/>
                  <a:pt x="294" y="50"/>
                  <a:pt x="297" y="49"/>
                </a:cubicBezTo>
                <a:cubicBezTo>
                  <a:pt x="296" y="49"/>
                  <a:pt x="296" y="49"/>
                  <a:pt x="295" y="49"/>
                </a:cubicBezTo>
                <a:close/>
                <a:moveTo>
                  <a:pt x="296" y="54"/>
                </a:moveTo>
                <a:cubicBezTo>
                  <a:pt x="296" y="55"/>
                  <a:pt x="294" y="55"/>
                  <a:pt x="294" y="55"/>
                </a:cubicBezTo>
                <a:cubicBezTo>
                  <a:pt x="294" y="56"/>
                  <a:pt x="294" y="56"/>
                  <a:pt x="295" y="57"/>
                </a:cubicBezTo>
                <a:cubicBezTo>
                  <a:pt x="293" y="57"/>
                  <a:pt x="293" y="57"/>
                  <a:pt x="293" y="57"/>
                </a:cubicBezTo>
                <a:cubicBezTo>
                  <a:pt x="293" y="58"/>
                  <a:pt x="293" y="58"/>
                  <a:pt x="292" y="58"/>
                </a:cubicBezTo>
                <a:cubicBezTo>
                  <a:pt x="294" y="58"/>
                  <a:pt x="294" y="58"/>
                  <a:pt x="295" y="58"/>
                </a:cubicBezTo>
                <a:cubicBezTo>
                  <a:pt x="293" y="58"/>
                  <a:pt x="293" y="57"/>
                  <a:pt x="297" y="57"/>
                </a:cubicBezTo>
                <a:cubicBezTo>
                  <a:pt x="297" y="56"/>
                  <a:pt x="295" y="56"/>
                  <a:pt x="295" y="56"/>
                </a:cubicBezTo>
                <a:cubicBezTo>
                  <a:pt x="295" y="55"/>
                  <a:pt x="299" y="54"/>
                  <a:pt x="298" y="54"/>
                </a:cubicBezTo>
                <a:cubicBezTo>
                  <a:pt x="297" y="55"/>
                  <a:pt x="297" y="54"/>
                  <a:pt x="296" y="54"/>
                </a:cubicBezTo>
                <a:close/>
                <a:moveTo>
                  <a:pt x="286" y="51"/>
                </a:moveTo>
                <a:cubicBezTo>
                  <a:pt x="286" y="52"/>
                  <a:pt x="282" y="52"/>
                  <a:pt x="282" y="53"/>
                </a:cubicBezTo>
                <a:cubicBezTo>
                  <a:pt x="285" y="52"/>
                  <a:pt x="292" y="51"/>
                  <a:pt x="293" y="49"/>
                </a:cubicBezTo>
                <a:cubicBezTo>
                  <a:pt x="289" y="50"/>
                  <a:pt x="289" y="51"/>
                  <a:pt x="286" y="51"/>
                </a:cubicBezTo>
                <a:close/>
                <a:moveTo>
                  <a:pt x="287" y="58"/>
                </a:moveTo>
                <a:cubicBezTo>
                  <a:pt x="291" y="56"/>
                  <a:pt x="292" y="55"/>
                  <a:pt x="293" y="54"/>
                </a:cubicBezTo>
                <a:cubicBezTo>
                  <a:pt x="288" y="56"/>
                  <a:pt x="290" y="56"/>
                  <a:pt x="287" y="58"/>
                </a:cubicBezTo>
                <a:close/>
                <a:moveTo>
                  <a:pt x="286" y="51"/>
                </a:moveTo>
                <a:cubicBezTo>
                  <a:pt x="288" y="50"/>
                  <a:pt x="291" y="49"/>
                  <a:pt x="291" y="48"/>
                </a:cubicBezTo>
                <a:cubicBezTo>
                  <a:pt x="289" y="49"/>
                  <a:pt x="285" y="51"/>
                  <a:pt x="286" y="51"/>
                </a:cubicBezTo>
                <a:close/>
                <a:moveTo>
                  <a:pt x="288" y="60"/>
                </a:moveTo>
                <a:cubicBezTo>
                  <a:pt x="289" y="60"/>
                  <a:pt x="294" y="59"/>
                  <a:pt x="294" y="59"/>
                </a:cubicBezTo>
                <a:cubicBezTo>
                  <a:pt x="293" y="59"/>
                  <a:pt x="289" y="59"/>
                  <a:pt x="288" y="60"/>
                </a:cubicBezTo>
                <a:close/>
                <a:moveTo>
                  <a:pt x="283" y="27"/>
                </a:moveTo>
                <a:cubicBezTo>
                  <a:pt x="276" y="29"/>
                  <a:pt x="276" y="29"/>
                  <a:pt x="276" y="29"/>
                </a:cubicBezTo>
                <a:cubicBezTo>
                  <a:pt x="277" y="30"/>
                  <a:pt x="274" y="30"/>
                  <a:pt x="274" y="31"/>
                </a:cubicBezTo>
                <a:cubicBezTo>
                  <a:pt x="278" y="29"/>
                  <a:pt x="276" y="29"/>
                  <a:pt x="281" y="28"/>
                </a:cubicBezTo>
                <a:cubicBezTo>
                  <a:pt x="281" y="28"/>
                  <a:pt x="279" y="29"/>
                  <a:pt x="280" y="29"/>
                </a:cubicBezTo>
                <a:cubicBezTo>
                  <a:pt x="282" y="28"/>
                  <a:pt x="282" y="29"/>
                  <a:pt x="284" y="28"/>
                </a:cubicBezTo>
                <a:cubicBezTo>
                  <a:pt x="285" y="27"/>
                  <a:pt x="281" y="28"/>
                  <a:pt x="283" y="27"/>
                </a:cubicBezTo>
                <a:close/>
                <a:moveTo>
                  <a:pt x="291" y="52"/>
                </a:moveTo>
                <a:cubicBezTo>
                  <a:pt x="291" y="51"/>
                  <a:pt x="289" y="52"/>
                  <a:pt x="291" y="51"/>
                </a:cubicBezTo>
                <a:cubicBezTo>
                  <a:pt x="285" y="53"/>
                  <a:pt x="289" y="53"/>
                  <a:pt x="291" y="52"/>
                </a:cubicBezTo>
                <a:close/>
                <a:moveTo>
                  <a:pt x="282" y="46"/>
                </a:moveTo>
                <a:cubicBezTo>
                  <a:pt x="282" y="46"/>
                  <a:pt x="281" y="46"/>
                  <a:pt x="281" y="47"/>
                </a:cubicBezTo>
                <a:cubicBezTo>
                  <a:pt x="283" y="46"/>
                  <a:pt x="285" y="46"/>
                  <a:pt x="286" y="45"/>
                </a:cubicBezTo>
                <a:cubicBezTo>
                  <a:pt x="284" y="45"/>
                  <a:pt x="284" y="45"/>
                  <a:pt x="282" y="46"/>
                </a:cubicBezTo>
                <a:close/>
                <a:moveTo>
                  <a:pt x="275" y="46"/>
                </a:moveTo>
                <a:cubicBezTo>
                  <a:pt x="277" y="46"/>
                  <a:pt x="280" y="44"/>
                  <a:pt x="281" y="44"/>
                </a:cubicBezTo>
                <a:cubicBezTo>
                  <a:pt x="282" y="44"/>
                  <a:pt x="286" y="42"/>
                  <a:pt x="284" y="42"/>
                </a:cubicBezTo>
                <a:cubicBezTo>
                  <a:pt x="283" y="43"/>
                  <a:pt x="276" y="45"/>
                  <a:pt x="275" y="46"/>
                </a:cubicBezTo>
                <a:close/>
                <a:moveTo>
                  <a:pt x="284" y="57"/>
                </a:moveTo>
                <a:cubicBezTo>
                  <a:pt x="285" y="56"/>
                  <a:pt x="283" y="55"/>
                  <a:pt x="287" y="54"/>
                </a:cubicBezTo>
                <a:cubicBezTo>
                  <a:pt x="288" y="53"/>
                  <a:pt x="286" y="54"/>
                  <a:pt x="285" y="54"/>
                </a:cubicBezTo>
                <a:cubicBezTo>
                  <a:pt x="284" y="55"/>
                  <a:pt x="285" y="55"/>
                  <a:pt x="283" y="56"/>
                </a:cubicBezTo>
                <a:cubicBezTo>
                  <a:pt x="282" y="56"/>
                  <a:pt x="285" y="56"/>
                  <a:pt x="281" y="57"/>
                </a:cubicBezTo>
                <a:cubicBezTo>
                  <a:pt x="281" y="58"/>
                  <a:pt x="283" y="57"/>
                  <a:pt x="284" y="57"/>
                </a:cubicBezTo>
                <a:cubicBezTo>
                  <a:pt x="283" y="57"/>
                  <a:pt x="283" y="57"/>
                  <a:pt x="284" y="57"/>
                </a:cubicBezTo>
                <a:close/>
                <a:moveTo>
                  <a:pt x="279" y="43"/>
                </a:moveTo>
                <a:cubicBezTo>
                  <a:pt x="279" y="43"/>
                  <a:pt x="279" y="43"/>
                  <a:pt x="280" y="43"/>
                </a:cubicBezTo>
                <a:cubicBezTo>
                  <a:pt x="280" y="43"/>
                  <a:pt x="283" y="42"/>
                  <a:pt x="283" y="42"/>
                </a:cubicBezTo>
                <a:cubicBezTo>
                  <a:pt x="281" y="42"/>
                  <a:pt x="281" y="42"/>
                  <a:pt x="279" y="43"/>
                </a:cubicBezTo>
                <a:close/>
                <a:moveTo>
                  <a:pt x="273" y="49"/>
                </a:moveTo>
                <a:cubicBezTo>
                  <a:pt x="277" y="47"/>
                  <a:pt x="276" y="49"/>
                  <a:pt x="277" y="48"/>
                </a:cubicBezTo>
                <a:cubicBezTo>
                  <a:pt x="278" y="48"/>
                  <a:pt x="278" y="48"/>
                  <a:pt x="278" y="47"/>
                </a:cubicBezTo>
                <a:cubicBezTo>
                  <a:pt x="276" y="48"/>
                  <a:pt x="274" y="48"/>
                  <a:pt x="273" y="49"/>
                </a:cubicBezTo>
                <a:close/>
                <a:moveTo>
                  <a:pt x="274" y="62"/>
                </a:moveTo>
                <a:cubicBezTo>
                  <a:pt x="273" y="62"/>
                  <a:pt x="272" y="63"/>
                  <a:pt x="272" y="63"/>
                </a:cubicBezTo>
                <a:cubicBezTo>
                  <a:pt x="273" y="62"/>
                  <a:pt x="274" y="63"/>
                  <a:pt x="275" y="62"/>
                </a:cubicBezTo>
                <a:cubicBezTo>
                  <a:pt x="274" y="62"/>
                  <a:pt x="281" y="60"/>
                  <a:pt x="282" y="59"/>
                </a:cubicBezTo>
                <a:cubicBezTo>
                  <a:pt x="281" y="60"/>
                  <a:pt x="280" y="60"/>
                  <a:pt x="280" y="60"/>
                </a:cubicBezTo>
                <a:cubicBezTo>
                  <a:pt x="279" y="60"/>
                  <a:pt x="280" y="59"/>
                  <a:pt x="278" y="59"/>
                </a:cubicBezTo>
                <a:cubicBezTo>
                  <a:pt x="279" y="60"/>
                  <a:pt x="277" y="60"/>
                  <a:pt x="275" y="61"/>
                </a:cubicBezTo>
                <a:cubicBezTo>
                  <a:pt x="276" y="61"/>
                  <a:pt x="275" y="61"/>
                  <a:pt x="274" y="62"/>
                </a:cubicBezTo>
                <a:close/>
                <a:moveTo>
                  <a:pt x="270" y="48"/>
                </a:moveTo>
                <a:cubicBezTo>
                  <a:pt x="270" y="49"/>
                  <a:pt x="273" y="48"/>
                  <a:pt x="276" y="47"/>
                </a:cubicBezTo>
                <a:cubicBezTo>
                  <a:pt x="273" y="47"/>
                  <a:pt x="273" y="46"/>
                  <a:pt x="271" y="47"/>
                </a:cubicBezTo>
                <a:cubicBezTo>
                  <a:pt x="272" y="47"/>
                  <a:pt x="274" y="47"/>
                  <a:pt x="270" y="48"/>
                </a:cubicBezTo>
                <a:close/>
                <a:moveTo>
                  <a:pt x="276" y="60"/>
                </a:moveTo>
                <a:cubicBezTo>
                  <a:pt x="276" y="60"/>
                  <a:pt x="277" y="59"/>
                  <a:pt x="276" y="59"/>
                </a:cubicBezTo>
                <a:cubicBezTo>
                  <a:pt x="270" y="61"/>
                  <a:pt x="269" y="62"/>
                  <a:pt x="276" y="60"/>
                </a:cubicBezTo>
                <a:close/>
                <a:moveTo>
                  <a:pt x="264" y="34"/>
                </a:moveTo>
                <a:cubicBezTo>
                  <a:pt x="262" y="34"/>
                  <a:pt x="261" y="35"/>
                  <a:pt x="261" y="35"/>
                </a:cubicBezTo>
                <a:cubicBezTo>
                  <a:pt x="263" y="35"/>
                  <a:pt x="265" y="34"/>
                  <a:pt x="265" y="34"/>
                </a:cubicBezTo>
                <a:cubicBezTo>
                  <a:pt x="264" y="34"/>
                  <a:pt x="264" y="34"/>
                  <a:pt x="264" y="34"/>
                </a:cubicBezTo>
                <a:close/>
                <a:moveTo>
                  <a:pt x="248" y="40"/>
                </a:moveTo>
                <a:cubicBezTo>
                  <a:pt x="250" y="40"/>
                  <a:pt x="247" y="41"/>
                  <a:pt x="248" y="41"/>
                </a:cubicBezTo>
                <a:cubicBezTo>
                  <a:pt x="251" y="40"/>
                  <a:pt x="250" y="40"/>
                  <a:pt x="252" y="39"/>
                </a:cubicBezTo>
                <a:cubicBezTo>
                  <a:pt x="252" y="39"/>
                  <a:pt x="252" y="40"/>
                  <a:pt x="253" y="39"/>
                </a:cubicBezTo>
                <a:cubicBezTo>
                  <a:pt x="254" y="39"/>
                  <a:pt x="253" y="39"/>
                  <a:pt x="254" y="38"/>
                </a:cubicBezTo>
                <a:cubicBezTo>
                  <a:pt x="257" y="37"/>
                  <a:pt x="256" y="38"/>
                  <a:pt x="259" y="36"/>
                </a:cubicBezTo>
                <a:cubicBezTo>
                  <a:pt x="260" y="36"/>
                  <a:pt x="260" y="36"/>
                  <a:pt x="260" y="35"/>
                </a:cubicBezTo>
                <a:cubicBezTo>
                  <a:pt x="258" y="36"/>
                  <a:pt x="258" y="36"/>
                  <a:pt x="256" y="36"/>
                </a:cubicBezTo>
                <a:cubicBezTo>
                  <a:pt x="258" y="36"/>
                  <a:pt x="253" y="38"/>
                  <a:pt x="254" y="37"/>
                </a:cubicBezTo>
                <a:cubicBezTo>
                  <a:pt x="251" y="38"/>
                  <a:pt x="252" y="39"/>
                  <a:pt x="250" y="40"/>
                </a:cubicBezTo>
                <a:cubicBezTo>
                  <a:pt x="250" y="39"/>
                  <a:pt x="251" y="39"/>
                  <a:pt x="250" y="39"/>
                </a:cubicBezTo>
                <a:cubicBezTo>
                  <a:pt x="245" y="41"/>
                  <a:pt x="242" y="42"/>
                  <a:pt x="238" y="44"/>
                </a:cubicBezTo>
                <a:cubicBezTo>
                  <a:pt x="237" y="45"/>
                  <a:pt x="241" y="44"/>
                  <a:pt x="239" y="45"/>
                </a:cubicBezTo>
                <a:cubicBezTo>
                  <a:pt x="235" y="46"/>
                  <a:pt x="238" y="43"/>
                  <a:pt x="235" y="45"/>
                </a:cubicBezTo>
                <a:cubicBezTo>
                  <a:pt x="236" y="45"/>
                  <a:pt x="236" y="46"/>
                  <a:pt x="238" y="45"/>
                </a:cubicBezTo>
                <a:cubicBezTo>
                  <a:pt x="239" y="44"/>
                  <a:pt x="241" y="44"/>
                  <a:pt x="242" y="44"/>
                </a:cubicBezTo>
                <a:cubicBezTo>
                  <a:pt x="243" y="43"/>
                  <a:pt x="241" y="44"/>
                  <a:pt x="242" y="43"/>
                </a:cubicBezTo>
                <a:cubicBezTo>
                  <a:pt x="245" y="42"/>
                  <a:pt x="246" y="41"/>
                  <a:pt x="248" y="40"/>
                </a:cubicBezTo>
                <a:close/>
                <a:moveTo>
                  <a:pt x="253" y="56"/>
                </a:moveTo>
                <a:cubicBezTo>
                  <a:pt x="253" y="57"/>
                  <a:pt x="253" y="57"/>
                  <a:pt x="254" y="57"/>
                </a:cubicBezTo>
                <a:cubicBezTo>
                  <a:pt x="257" y="55"/>
                  <a:pt x="256" y="56"/>
                  <a:pt x="258" y="55"/>
                </a:cubicBezTo>
                <a:cubicBezTo>
                  <a:pt x="258" y="55"/>
                  <a:pt x="263" y="53"/>
                  <a:pt x="264" y="52"/>
                </a:cubicBezTo>
                <a:cubicBezTo>
                  <a:pt x="260" y="53"/>
                  <a:pt x="255" y="56"/>
                  <a:pt x="253" y="56"/>
                </a:cubicBezTo>
                <a:close/>
                <a:moveTo>
                  <a:pt x="264" y="64"/>
                </a:moveTo>
                <a:cubicBezTo>
                  <a:pt x="267" y="64"/>
                  <a:pt x="264" y="65"/>
                  <a:pt x="263" y="65"/>
                </a:cubicBezTo>
                <a:cubicBezTo>
                  <a:pt x="263" y="66"/>
                  <a:pt x="263" y="66"/>
                  <a:pt x="264" y="66"/>
                </a:cubicBezTo>
                <a:cubicBezTo>
                  <a:pt x="264" y="65"/>
                  <a:pt x="265" y="66"/>
                  <a:pt x="267" y="65"/>
                </a:cubicBezTo>
                <a:cubicBezTo>
                  <a:pt x="268" y="64"/>
                  <a:pt x="268" y="64"/>
                  <a:pt x="268" y="63"/>
                </a:cubicBezTo>
                <a:cubicBezTo>
                  <a:pt x="267" y="64"/>
                  <a:pt x="265" y="63"/>
                  <a:pt x="264" y="64"/>
                </a:cubicBezTo>
                <a:close/>
                <a:moveTo>
                  <a:pt x="261" y="65"/>
                </a:moveTo>
                <a:cubicBezTo>
                  <a:pt x="261" y="65"/>
                  <a:pt x="261" y="65"/>
                  <a:pt x="261" y="65"/>
                </a:cubicBezTo>
                <a:cubicBezTo>
                  <a:pt x="263" y="65"/>
                  <a:pt x="266" y="63"/>
                  <a:pt x="264" y="63"/>
                </a:cubicBezTo>
                <a:cubicBezTo>
                  <a:pt x="264" y="64"/>
                  <a:pt x="263" y="64"/>
                  <a:pt x="261" y="65"/>
                </a:cubicBezTo>
                <a:close/>
                <a:moveTo>
                  <a:pt x="253" y="68"/>
                </a:moveTo>
                <a:cubicBezTo>
                  <a:pt x="255" y="68"/>
                  <a:pt x="258" y="67"/>
                  <a:pt x="259" y="67"/>
                </a:cubicBezTo>
                <a:cubicBezTo>
                  <a:pt x="258" y="67"/>
                  <a:pt x="261" y="66"/>
                  <a:pt x="260" y="66"/>
                </a:cubicBezTo>
                <a:cubicBezTo>
                  <a:pt x="257" y="67"/>
                  <a:pt x="256" y="67"/>
                  <a:pt x="253" y="68"/>
                </a:cubicBezTo>
                <a:close/>
                <a:moveTo>
                  <a:pt x="256" y="64"/>
                </a:moveTo>
                <a:cubicBezTo>
                  <a:pt x="258" y="64"/>
                  <a:pt x="255" y="65"/>
                  <a:pt x="257" y="65"/>
                </a:cubicBezTo>
                <a:cubicBezTo>
                  <a:pt x="258" y="64"/>
                  <a:pt x="257" y="64"/>
                  <a:pt x="258" y="63"/>
                </a:cubicBezTo>
                <a:lnTo>
                  <a:pt x="256" y="64"/>
                </a:lnTo>
                <a:close/>
                <a:moveTo>
                  <a:pt x="249" y="75"/>
                </a:moveTo>
                <a:cubicBezTo>
                  <a:pt x="249" y="75"/>
                  <a:pt x="249" y="75"/>
                  <a:pt x="248" y="75"/>
                </a:cubicBezTo>
                <a:cubicBezTo>
                  <a:pt x="247" y="75"/>
                  <a:pt x="250" y="73"/>
                  <a:pt x="247" y="74"/>
                </a:cubicBezTo>
                <a:cubicBezTo>
                  <a:pt x="250" y="74"/>
                  <a:pt x="243" y="77"/>
                  <a:pt x="246" y="77"/>
                </a:cubicBezTo>
                <a:cubicBezTo>
                  <a:pt x="246" y="77"/>
                  <a:pt x="247" y="76"/>
                  <a:pt x="247" y="76"/>
                </a:cubicBezTo>
                <a:cubicBezTo>
                  <a:pt x="246" y="77"/>
                  <a:pt x="246" y="77"/>
                  <a:pt x="247" y="77"/>
                </a:cubicBezTo>
                <a:cubicBezTo>
                  <a:pt x="249" y="75"/>
                  <a:pt x="255" y="74"/>
                  <a:pt x="257" y="72"/>
                </a:cubicBezTo>
                <a:cubicBezTo>
                  <a:pt x="255" y="72"/>
                  <a:pt x="252" y="74"/>
                  <a:pt x="249" y="75"/>
                </a:cubicBezTo>
                <a:close/>
                <a:moveTo>
                  <a:pt x="248" y="62"/>
                </a:moveTo>
                <a:cubicBezTo>
                  <a:pt x="250" y="61"/>
                  <a:pt x="251" y="61"/>
                  <a:pt x="251" y="60"/>
                </a:cubicBezTo>
                <a:cubicBezTo>
                  <a:pt x="249" y="61"/>
                  <a:pt x="248" y="62"/>
                  <a:pt x="248" y="62"/>
                </a:cubicBezTo>
                <a:close/>
                <a:moveTo>
                  <a:pt x="246" y="67"/>
                </a:moveTo>
                <a:cubicBezTo>
                  <a:pt x="243" y="68"/>
                  <a:pt x="245" y="69"/>
                  <a:pt x="248" y="68"/>
                </a:cubicBezTo>
                <a:cubicBezTo>
                  <a:pt x="248" y="67"/>
                  <a:pt x="246" y="68"/>
                  <a:pt x="246" y="67"/>
                </a:cubicBezTo>
                <a:close/>
                <a:moveTo>
                  <a:pt x="244" y="65"/>
                </a:moveTo>
                <a:cubicBezTo>
                  <a:pt x="243" y="65"/>
                  <a:pt x="245" y="64"/>
                  <a:pt x="245" y="63"/>
                </a:cubicBezTo>
                <a:cubicBezTo>
                  <a:pt x="242" y="64"/>
                  <a:pt x="242" y="66"/>
                  <a:pt x="244" y="65"/>
                </a:cubicBezTo>
                <a:close/>
                <a:moveTo>
                  <a:pt x="241" y="72"/>
                </a:moveTo>
                <a:cubicBezTo>
                  <a:pt x="241" y="72"/>
                  <a:pt x="241" y="71"/>
                  <a:pt x="240" y="71"/>
                </a:cubicBezTo>
                <a:cubicBezTo>
                  <a:pt x="240" y="72"/>
                  <a:pt x="239" y="72"/>
                  <a:pt x="239" y="72"/>
                </a:cubicBezTo>
                <a:cubicBezTo>
                  <a:pt x="239" y="72"/>
                  <a:pt x="238" y="73"/>
                  <a:pt x="238" y="73"/>
                </a:cubicBezTo>
                <a:cubicBezTo>
                  <a:pt x="242" y="71"/>
                  <a:pt x="237" y="74"/>
                  <a:pt x="239" y="74"/>
                </a:cubicBezTo>
                <a:cubicBezTo>
                  <a:pt x="243" y="71"/>
                  <a:pt x="246" y="72"/>
                  <a:pt x="248" y="70"/>
                </a:cubicBezTo>
                <a:cubicBezTo>
                  <a:pt x="245" y="70"/>
                  <a:pt x="241" y="73"/>
                  <a:pt x="239" y="73"/>
                </a:cubicBezTo>
                <a:cubicBezTo>
                  <a:pt x="239" y="73"/>
                  <a:pt x="240" y="72"/>
                  <a:pt x="241" y="72"/>
                </a:cubicBezTo>
                <a:close/>
                <a:moveTo>
                  <a:pt x="239" y="71"/>
                </a:moveTo>
                <a:cubicBezTo>
                  <a:pt x="236" y="72"/>
                  <a:pt x="237" y="73"/>
                  <a:pt x="236" y="74"/>
                </a:cubicBezTo>
                <a:cubicBezTo>
                  <a:pt x="238" y="73"/>
                  <a:pt x="239" y="72"/>
                  <a:pt x="239" y="71"/>
                </a:cubicBezTo>
                <a:close/>
                <a:moveTo>
                  <a:pt x="226" y="49"/>
                </a:moveTo>
                <a:cubicBezTo>
                  <a:pt x="226" y="48"/>
                  <a:pt x="225" y="49"/>
                  <a:pt x="227" y="47"/>
                </a:cubicBezTo>
                <a:cubicBezTo>
                  <a:pt x="225" y="49"/>
                  <a:pt x="222" y="49"/>
                  <a:pt x="221" y="51"/>
                </a:cubicBezTo>
                <a:cubicBezTo>
                  <a:pt x="225" y="49"/>
                  <a:pt x="224" y="50"/>
                  <a:pt x="226" y="50"/>
                </a:cubicBezTo>
                <a:cubicBezTo>
                  <a:pt x="224" y="51"/>
                  <a:pt x="224" y="51"/>
                  <a:pt x="222" y="51"/>
                </a:cubicBezTo>
                <a:cubicBezTo>
                  <a:pt x="223" y="52"/>
                  <a:pt x="227" y="50"/>
                  <a:pt x="230" y="49"/>
                </a:cubicBezTo>
                <a:cubicBezTo>
                  <a:pt x="230" y="48"/>
                  <a:pt x="230" y="48"/>
                  <a:pt x="231" y="47"/>
                </a:cubicBezTo>
                <a:cubicBezTo>
                  <a:pt x="231" y="47"/>
                  <a:pt x="231" y="48"/>
                  <a:pt x="233" y="47"/>
                </a:cubicBezTo>
                <a:cubicBezTo>
                  <a:pt x="233" y="46"/>
                  <a:pt x="233" y="46"/>
                  <a:pt x="233" y="46"/>
                </a:cubicBezTo>
                <a:cubicBezTo>
                  <a:pt x="229" y="48"/>
                  <a:pt x="228" y="48"/>
                  <a:pt x="226" y="49"/>
                </a:cubicBezTo>
                <a:close/>
                <a:moveTo>
                  <a:pt x="235" y="57"/>
                </a:moveTo>
                <a:cubicBezTo>
                  <a:pt x="233" y="58"/>
                  <a:pt x="231" y="59"/>
                  <a:pt x="230" y="59"/>
                </a:cubicBezTo>
                <a:cubicBezTo>
                  <a:pt x="228" y="60"/>
                  <a:pt x="231" y="59"/>
                  <a:pt x="232" y="59"/>
                </a:cubicBezTo>
                <a:cubicBezTo>
                  <a:pt x="232" y="59"/>
                  <a:pt x="231" y="59"/>
                  <a:pt x="233" y="58"/>
                </a:cubicBezTo>
                <a:cubicBezTo>
                  <a:pt x="233" y="58"/>
                  <a:pt x="233" y="59"/>
                  <a:pt x="232" y="59"/>
                </a:cubicBezTo>
                <a:cubicBezTo>
                  <a:pt x="234" y="58"/>
                  <a:pt x="236" y="58"/>
                  <a:pt x="236" y="57"/>
                </a:cubicBezTo>
                <a:cubicBezTo>
                  <a:pt x="235" y="57"/>
                  <a:pt x="235" y="57"/>
                  <a:pt x="235" y="57"/>
                </a:cubicBezTo>
                <a:close/>
                <a:moveTo>
                  <a:pt x="235" y="64"/>
                </a:moveTo>
                <a:cubicBezTo>
                  <a:pt x="237" y="63"/>
                  <a:pt x="235" y="65"/>
                  <a:pt x="235" y="65"/>
                </a:cubicBezTo>
                <a:cubicBezTo>
                  <a:pt x="238" y="64"/>
                  <a:pt x="238" y="64"/>
                  <a:pt x="238" y="63"/>
                </a:cubicBezTo>
                <a:cubicBezTo>
                  <a:pt x="237" y="64"/>
                  <a:pt x="235" y="64"/>
                  <a:pt x="235" y="64"/>
                </a:cubicBezTo>
                <a:close/>
                <a:moveTo>
                  <a:pt x="230" y="61"/>
                </a:moveTo>
                <a:cubicBezTo>
                  <a:pt x="230" y="61"/>
                  <a:pt x="228" y="63"/>
                  <a:pt x="231" y="62"/>
                </a:cubicBezTo>
                <a:cubicBezTo>
                  <a:pt x="230" y="62"/>
                  <a:pt x="232" y="60"/>
                  <a:pt x="232" y="60"/>
                </a:cubicBezTo>
                <a:cubicBezTo>
                  <a:pt x="231" y="60"/>
                  <a:pt x="230" y="61"/>
                  <a:pt x="230" y="61"/>
                </a:cubicBezTo>
                <a:close/>
                <a:moveTo>
                  <a:pt x="227" y="61"/>
                </a:moveTo>
                <a:cubicBezTo>
                  <a:pt x="227" y="62"/>
                  <a:pt x="227" y="62"/>
                  <a:pt x="227" y="62"/>
                </a:cubicBezTo>
                <a:cubicBezTo>
                  <a:pt x="228" y="61"/>
                  <a:pt x="229" y="60"/>
                  <a:pt x="230" y="60"/>
                </a:cubicBezTo>
                <a:cubicBezTo>
                  <a:pt x="230" y="60"/>
                  <a:pt x="229" y="60"/>
                  <a:pt x="227" y="61"/>
                </a:cubicBezTo>
                <a:close/>
                <a:moveTo>
                  <a:pt x="225" y="71"/>
                </a:moveTo>
                <a:cubicBezTo>
                  <a:pt x="228" y="69"/>
                  <a:pt x="229" y="68"/>
                  <a:pt x="232" y="66"/>
                </a:cubicBezTo>
                <a:cubicBezTo>
                  <a:pt x="230" y="67"/>
                  <a:pt x="232" y="66"/>
                  <a:pt x="232" y="65"/>
                </a:cubicBezTo>
                <a:cubicBezTo>
                  <a:pt x="230" y="67"/>
                  <a:pt x="226" y="67"/>
                  <a:pt x="226" y="68"/>
                </a:cubicBezTo>
                <a:cubicBezTo>
                  <a:pt x="227" y="69"/>
                  <a:pt x="228" y="67"/>
                  <a:pt x="230" y="67"/>
                </a:cubicBezTo>
                <a:cubicBezTo>
                  <a:pt x="230" y="67"/>
                  <a:pt x="231" y="67"/>
                  <a:pt x="231" y="67"/>
                </a:cubicBezTo>
                <a:cubicBezTo>
                  <a:pt x="228" y="69"/>
                  <a:pt x="225" y="70"/>
                  <a:pt x="225" y="71"/>
                </a:cubicBezTo>
                <a:close/>
                <a:moveTo>
                  <a:pt x="228" y="73"/>
                </a:moveTo>
                <a:cubicBezTo>
                  <a:pt x="228" y="73"/>
                  <a:pt x="228" y="72"/>
                  <a:pt x="226" y="73"/>
                </a:cubicBezTo>
                <a:cubicBezTo>
                  <a:pt x="227" y="74"/>
                  <a:pt x="227" y="74"/>
                  <a:pt x="227" y="74"/>
                </a:cubicBezTo>
                <a:cubicBezTo>
                  <a:pt x="228" y="73"/>
                  <a:pt x="231" y="72"/>
                  <a:pt x="230" y="72"/>
                </a:cubicBezTo>
                <a:lnTo>
                  <a:pt x="228" y="73"/>
                </a:lnTo>
                <a:close/>
                <a:moveTo>
                  <a:pt x="221" y="77"/>
                </a:moveTo>
                <a:cubicBezTo>
                  <a:pt x="221" y="77"/>
                  <a:pt x="224" y="76"/>
                  <a:pt x="225" y="76"/>
                </a:cubicBezTo>
                <a:cubicBezTo>
                  <a:pt x="224" y="77"/>
                  <a:pt x="222" y="78"/>
                  <a:pt x="221" y="79"/>
                </a:cubicBezTo>
                <a:cubicBezTo>
                  <a:pt x="223" y="78"/>
                  <a:pt x="225" y="77"/>
                  <a:pt x="227" y="76"/>
                </a:cubicBezTo>
                <a:cubicBezTo>
                  <a:pt x="228" y="75"/>
                  <a:pt x="227" y="75"/>
                  <a:pt x="226" y="74"/>
                </a:cubicBezTo>
                <a:cubicBezTo>
                  <a:pt x="224" y="75"/>
                  <a:pt x="223" y="76"/>
                  <a:pt x="222" y="77"/>
                </a:cubicBezTo>
                <a:cubicBezTo>
                  <a:pt x="222" y="76"/>
                  <a:pt x="221" y="76"/>
                  <a:pt x="221" y="77"/>
                </a:cubicBezTo>
                <a:close/>
                <a:moveTo>
                  <a:pt x="224" y="73"/>
                </a:moveTo>
                <a:cubicBezTo>
                  <a:pt x="220" y="76"/>
                  <a:pt x="220" y="76"/>
                  <a:pt x="220" y="76"/>
                </a:cubicBezTo>
                <a:cubicBezTo>
                  <a:pt x="222" y="76"/>
                  <a:pt x="221" y="76"/>
                  <a:pt x="224" y="75"/>
                </a:cubicBezTo>
                <a:cubicBezTo>
                  <a:pt x="223" y="74"/>
                  <a:pt x="226" y="73"/>
                  <a:pt x="224" y="73"/>
                </a:cubicBezTo>
                <a:close/>
                <a:moveTo>
                  <a:pt x="206" y="64"/>
                </a:moveTo>
                <a:cubicBezTo>
                  <a:pt x="207" y="65"/>
                  <a:pt x="208" y="64"/>
                  <a:pt x="207" y="65"/>
                </a:cubicBezTo>
                <a:cubicBezTo>
                  <a:pt x="212" y="62"/>
                  <a:pt x="208" y="64"/>
                  <a:pt x="209" y="63"/>
                </a:cubicBezTo>
                <a:cubicBezTo>
                  <a:pt x="210" y="62"/>
                  <a:pt x="210" y="63"/>
                  <a:pt x="212" y="62"/>
                </a:cubicBezTo>
                <a:cubicBezTo>
                  <a:pt x="212" y="61"/>
                  <a:pt x="209" y="62"/>
                  <a:pt x="206" y="64"/>
                </a:cubicBezTo>
                <a:close/>
                <a:moveTo>
                  <a:pt x="197" y="73"/>
                </a:moveTo>
                <a:cubicBezTo>
                  <a:pt x="198" y="73"/>
                  <a:pt x="198" y="72"/>
                  <a:pt x="198" y="73"/>
                </a:cubicBezTo>
                <a:cubicBezTo>
                  <a:pt x="199" y="72"/>
                  <a:pt x="200" y="71"/>
                  <a:pt x="200" y="71"/>
                </a:cubicBezTo>
                <a:cubicBezTo>
                  <a:pt x="198" y="72"/>
                  <a:pt x="201" y="70"/>
                  <a:pt x="200" y="70"/>
                </a:cubicBezTo>
                <a:cubicBezTo>
                  <a:pt x="197" y="72"/>
                  <a:pt x="200" y="72"/>
                  <a:pt x="197" y="73"/>
                </a:cubicBezTo>
                <a:close/>
                <a:moveTo>
                  <a:pt x="196" y="70"/>
                </a:moveTo>
                <a:cubicBezTo>
                  <a:pt x="196" y="71"/>
                  <a:pt x="198" y="69"/>
                  <a:pt x="197" y="71"/>
                </a:cubicBezTo>
                <a:cubicBezTo>
                  <a:pt x="200" y="69"/>
                  <a:pt x="198" y="68"/>
                  <a:pt x="196" y="70"/>
                </a:cubicBezTo>
                <a:close/>
                <a:moveTo>
                  <a:pt x="191" y="75"/>
                </a:moveTo>
                <a:cubicBezTo>
                  <a:pt x="192" y="74"/>
                  <a:pt x="194" y="72"/>
                  <a:pt x="192" y="73"/>
                </a:cubicBezTo>
                <a:cubicBezTo>
                  <a:pt x="192" y="74"/>
                  <a:pt x="189" y="75"/>
                  <a:pt x="191" y="75"/>
                </a:cubicBezTo>
                <a:close/>
                <a:moveTo>
                  <a:pt x="187" y="76"/>
                </a:moveTo>
                <a:cubicBezTo>
                  <a:pt x="186" y="77"/>
                  <a:pt x="184" y="78"/>
                  <a:pt x="185" y="79"/>
                </a:cubicBezTo>
                <a:cubicBezTo>
                  <a:pt x="185" y="78"/>
                  <a:pt x="187" y="77"/>
                  <a:pt x="187" y="78"/>
                </a:cubicBezTo>
                <a:cubicBezTo>
                  <a:pt x="186" y="78"/>
                  <a:pt x="187" y="78"/>
                  <a:pt x="188" y="77"/>
                </a:cubicBezTo>
                <a:cubicBezTo>
                  <a:pt x="189" y="76"/>
                  <a:pt x="189" y="76"/>
                  <a:pt x="187" y="76"/>
                </a:cubicBezTo>
                <a:close/>
                <a:moveTo>
                  <a:pt x="186" y="75"/>
                </a:moveTo>
                <a:cubicBezTo>
                  <a:pt x="185" y="76"/>
                  <a:pt x="184" y="77"/>
                  <a:pt x="184" y="77"/>
                </a:cubicBezTo>
                <a:cubicBezTo>
                  <a:pt x="183" y="78"/>
                  <a:pt x="188" y="76"/>
                  <a:pt x="188" y="75"/>
                </a:cubicBezTo>
                <a:cubicBezTo>
                  <a:pt x="186" y="76"/>
                  <a:pt x="187" y="75"/>
                  <a:pt x="186" y="75"/>
                </a:cubicBezTo>
                <a:close/>
                <a:moveTo>
                  <a:pt x="186" y="95"/>
                </a:moveTo>
                <a:cubicBezTo>
                  <a:pt x="187" y="94"/>
                  <a:pt x="186" y="95"/>
                  <a:pt x="186" y="95"/>
                </a:cubicBezTo>
                <a:cubicBezTo>
                  <a:pt x="191" y="92"/>
                  <a:pt x="191" y="92"/>
                  <a:pt x="191" y="92"/>
                </a:cubicBezTo>
                <a:cubicBezTo>
                  <a:pt x="192" y="92"/>
                  <a:pt x="191" y="93"/>
                  <a:pt x="193" y="92"/>
                </a:cubicBezTo>
                <a:cubicBezTo>
                  <a:pt x="192" y="92"/>
                  <a:pt x="195" y="91"/>
                  <a:pt x="195" y="90"/>
                </a:cubicBezTo>
                <a:cubicBezTo>
                  <a:pt x="194" y="91"/>
                  <a:pt x="193" y="90"/>
                  <a:pt x="192" y="91"/>
                </a:cubicBezTo>
                <a:cubicBezTo>
                  <a:pt x="190" y="93"/>
                  <a:pt x="187" y="94"/>
                  <a:pt x="186" y="95"/>
                </a:cubicBezTo>
                <a:close/>
                <a:moveTo>
                  <a:pt x="178" y="81"/>
                </a:moveTo>
                <a:cubicBezTo>
                  <a:pt x="176" y="83"/>
                  <a:pt x="179" y="82"/>
                  <a:pt x="180" y="81"/>
                </a:cubicBezTo>
                <a:cubicBezTo>
                  <a:pt x="181" y="80"/>
                  <a:pt x="183" y="79"/>
                  <a:pt x="183" y="79"/>
                </a:cubicBezTo>
                <a:cubicBezTo>
                  <a:pt x="180" y="81"/>
                  <a:pt x="183" y="78"/>
                  <a:pt x="178" y="81"/>
                </a:cubicBezTo>
                <a:close/>
                <a:moveTo>
                  <a:pt x="182" y="80"/>
                </a:moveTo>
                <a:cubicBezTo>
                  <a:pt x="182" y="81"/>
                  <a:pt x="178" y="83"/>
                  <a:pt x="179" y="83"/>
                </a:cubicBezTo>
                <a:cubicBezTo>
                  <a:pt x="181" y="82"/>
                  <a:pt x="182" y="82"/>
                  <a:pt x="183" y="81"/>
                </a:cubicBezTo>
                <a:cubicBezTo>
                  <a:pt x="180" y="82"/>
                  <a:pt x="186" y="79"/>
                  <a:pt x="182" y="80"/>
                </a:cubicBezTo>
                <a:close/>
                <a:moveTo>
                  <a:pt x="182" y="82"/>
                </a:moveTo>
                <a:cubicBezTo>
                  <a:pt x="180" y="84"/>
                  <a:pt x="178" y="86"/>
                  <a:pt x="180" y="86"/>
                </a:cubicBezTo>
                <a:cubicBezTo>
                  <a:pt x="180" y="85"/>
                  <a:pt x="183" y="83"/>
                  <a:pt x="181" y="85"/>
                </a:cubicBezTo>
                <a:cubicBezTo>
                  <a:pt x="186" y="82"/>
                  <a:pt x="180" y="85"/>
                  <a:pt x="183" y="82"/>
                </a:cubicBezTo>
                <a:cubicBezTo>
                  <a:pt x="182" y="82"/>
                  <a:pt x="182" y="83"/>
                  <a:pt x="182" y="82"/>
                </a:cubicBezTo>
                <a:close/>
                <a:moveTo>
                  <a:pt x="165" y="91"/>
                </a:moveTo>
                <a:cubicBezTo>
                  <a:pt x="163" y="92"/>
                  <a:pt x="163" y="92"/>
                  <a:pt x="163" y="93"/>
                </a:cubicBezTo>
                <a:cubicBezTo>
                  <a:pt x="163" y="92"/>
                  <a:pt x="159" y="95"/>
                  <a:pt x="158" y="95"/>
                </a:cubicBezTo>
                <a:cubicBezTo>
                  <a:pt x="159" y="96"/>
                  <a:pt x="163" y="93"/>
                  <a:pt x="166" y="91"/>
                </a:cubicBezTo>
                <a:cubicBezTo>
                  <a:pt x="165" y="91"/>
                  <a:pt x="167" y="90"/>
                  <a:pt x="165" y="91"/>
                </a:cubicBezTo>
                <a:close/>
                <a:moveTo>
                  <a:pt x="167" y="91"/>
                </a:moveTo>
                <a:cubicBezTo>
                  <a:pt x="169" y="90"/>
                  <a:pt x="169" y="90"/>
                  <a:pt x="171" y="90"/>
                </a:cubicBezTo>
                <a:cubicBezTo>
                  <a:pt x="171" y="88"/>
                  <a:pt x="176" y="85"/>
                  <a:pt x="178" y="83"/>
                </a:cubicBezTo>
                <a:cubicBezTo>
                  <a:pt x="176" y="84"/>
                  <a:pt x="176" y="82"/>
                  <a:pt x="174" y="84"/>
                </a:cubicBezTo>
                <a:cubicBezTo>
                  <a:pt x="175" y="85"/>
                  <a:pt x="170" y="87"/>
                  <a:pt x="170" y="88"/>
                </a:cubicBezTo>
                <a:cubicBezTo>
                  <a:pt x="169" y="88"/>
                  <a:pt x="169" y="88"/>
                  <a:pt x="169" y="87"/>
                </a:cubicBezTo>
                <a:cubicBezTo>
                  <a:pt x="166" y="90"/>
                  <a:pt x="167" y="90"/>
                  <a:pt x="167" y="91"/>
                </a:cubicBezTo>
                <a:close/>
                <a:moveTo>
                  <a:pt x="173" y="93"/>
                </a:moveTo>
                <a:cubicBezTo>
                  <a:pt x="174" y="92"/>
                  <a:pt x="173" y="94"/>
                  <a:pt x="176" y="92"/>
                </a:cubicBezTo>
                <a:cubicBezTo>
                  <a:pt x="176" y="91"/>
                  <a:pt x="175" y="92"/>
                  <a:pt x="176" y="91"/>
                </a:cubicBezTo>
                <a:cubicBezTo>
                  <a:pt x="174" y="92"/>
                  <a:pt x="173" y="92"/>
                  <a:pt x="173" y="93"/>
                </a:cubicBezTo>
                <a:close/>
                <a:moveTo>
                  <a:pt x="174" y="104"/>
                </a:moveTo>
                <a:cubicBezTo>
                  <a:pt x="174" y="105"/>
                  <a:pt x="181" y="100"/>
                  <a:pt x="180" y="100"/>
                </a:cubicBezTo>
                <a:cubicBezTo>
                  <a:pt x="177" y="102"/>
                  <a:pt x="177" y="103"/>
                  <a:pt x="174" y="104"/>
                </a:cubicBezTo>
                <a:close/>
                <a:moveTo>
                  <a:pt x="164" y="99"/>
                </a:moveTo>
                <a:cubicBezTo>
                  <a:pt x="166" y="98"/>
                  <a:pt x="169" y="96"/>
                  <a:pt x="170" y="95"/>
                </a:cubicBezTo>
                <a:cubicBezTo>
                  <a:pt x="167" y="97"/>
                  <a:pt x="165" y="97"/>
                  <a:pt x="164" y="99"/>
                </a:cubicBezTo>
                <a:close/>
                <a:moveTo>
                  <a:pt x="159" y="99"/>
                </a:moveTo>
                <a:cubicBezTo>
                  <a:pt x="159" y="100"/>
                  <a:pt x="158" y="100"/>
                  <a:pt x="158" y="100"/>
                </a:cubicBezTo>
                <a:cubicBezTo>
                  <a:pt x="160" y="99"/>
                  <a:pt x="160" y="98"/>
                  <a:pt x="161" y="97"/>
                </a:cubicBezTo>
                <a:cubicBezTo>
                  <a:pt x="161" y="97"/>
                  <a:pt x="161" y="98"/>
                  <a:pt x="162" y="97"/>
                </a:cubicBezTo>
                <a:cubicBezTo>
                  <a:pt x="163" y="96"/>
                  <a:pt x="162" y="97"/>
                  <a:pt x="162" y="97"/>
                </a:cubicBezTo>
                <a:cubicBezTo>
                  <a:pt x="158" y="99"/>
                  <a:pt x="158" y="99"/>
                  <a:pt x="158" y="99"/>
                </a:cubicBezTo>
                <a:cubicBezTo>
                  <a:pt x="158" y="100"/>
                  <a:pt x="157" y="102"/>
                  <a:pt x="159" y="99"/>
                </a:cubicBezTo>
                <a:close/>
                <a:moveTo>
                  <a:pt x="153" y="99"/>
                </a:moveTo>
                <a:cubicBezTo>
                  <a:pt x="153" y="99"/>
                  <a:pt x="152" y="100"/>
                  <a:pt x="153" y="101"/>
                </a:cubicBezTo>
                <a:cubicBezTo>
                  <a:pt x="151" y="101"/>
                  <a:pt x="149" y="103"/>
                  <a:pt x="150" y="103"/>
                </a:cubicBezTo>
                <a:cubicBezTo>
                  <a:pt x="154" y="100"/>
                  <a:pt x="153" y="100"/>
                  <a:pt x="156" y="98"/>
                </a:cubicBezTo>
                <a:cubicBezTo>
                  <a:pt x="155" y="98"/>
                  <a:pt x="155" y="98"/>
                  <a:pt x="154" y="98"/>
                </a:cubicBezTo>
                <a:cubicBezTo>
                  <a:pt x="154" y="100"/>
                  <a:pt x="154" y="98"/>
                  <a:pt x="153" y="99"/>
                </a:cubicBezTo>
                <a:close/>
                <a:moveTo>
                  <a:pt x="160" y="120"/>
                </a:moveTo>
                <a:cubicBezTo>
                  <a:pt x="160" y="120"/>
                  <a:pt x="160" y="121"/>
                  <a:pt x="161" y="120"/>
                </a:cubicBezTo>
                <a:cubicBezTo>
                  <a:pt x="162" y="119"/>
                  <a:pt x="165" y="116"/>
                  <a:pt x="163" y="117"/>
                </a:cubicBezTo>
                <a:cubicBezTo>
                  <a:pt x="163" y="117"/>
                  <a:pt x="162" y="119"/>
                  <a:pt x="160" y="120"/>
                </a:cubicBezTo>
                <a:close/>
                <a:moveTo>
                  <a:pt x="150" y="106"/>
                </a:moveTo>
                <a:cubicBezTo>
                  <a:pt x="148" y="108"/>
                  <a:pt x="154" y="103"/>
                  <a:pt x="151" y="106"/>
                </a:cubicBezTo>
                <a:cubicBezTo>
                  <a:pt x="154" y="104"/>
                  <a:pt x="154" y="104"/>
                  <a:pt x="154" y="104"/>
                </a:cubicBezTo>
                <a:cubicBezTo>
                  <a:pt x="154" y="103"/>
                  <a:pt x="153" y="104"/>
                  <a:pt x="154" y="103"/>
                </a:cubicBezTo>
                <a:cubicBezTo>
                  <a:pt x="151" y="105"/>
                  <a:pt x="151" y="105"/>
                  <a:pt x="150" y="106"/>
                </a:cubicBezTo>
                <a:close/>
                <a:moveTo>
                  <a:pt x="146" y="105"/>
                </a:moveTo>
                <a:cubicBezTo>
                  <a:pt x="142" y="108"/>
                  <a:pt x="147" y="106"/>
                  <a:pt x="145" y="108"/>
                </a:cubicBezTo>
                <a:cubicBezTo>
                  <a:pt x="147" y="106"/>
                  <a:pt x="146" y="106"/>
                  <a:pt x="149" y="104"/>
                </a:cubicBezTo>
                <a:cubicBezTo>
                  <a:pt x="148" y="104"/>
                  <a:pt x="149" y="103"/>
                  <a:pt x="149" y="103"/>
                </a:cubicBezTo>
                <a:cubicBezTo>
                  <a:pt x="145" y="105"/>
                  <a:pt x="149" y="103"/>
                  <a:pt x="146" y="106"/>
                </a:cubicBezTo>
                <a:cubicBezTo>
                  <a:pt x="146" y="105"/>
                  <a:pt x="147" y="104"/>
                  <a:pt x="146" y="105"/>
                </a:cubicBezTo>
                <a:close/>
                <a:moveTo>
                  <a:pt x="153" y="120"/>
                </a:moveTo>
                <a:cubicBezTo>
                  <a:pt x="156" y="118"/>
                  <a:pt x="154" y="119"/>
                  <a:pt x="157" y="116"/>
                </a:cubicBezTo>
                <a:cubicBezTo>
                  <a:pt x="156" y="117"/>
                  <a:pt x="154" y="118"/>
                  <a:pt x="152" y="119"/>
                </a:cubicBezTo>
                <a:cubicBezTo>
                  <a:pt x="154" y="119"/>
                  <a:pt x="151" y="121"/>
                  <a:pt x="149" y="122"/>
                </a:cubicBezTo>
                <a:cubicBezTo>
                  <a:pt x="148" y="124"/>
                  <a:pt x="152" y="120"/>
                  <a:pt x="151" y="122"/>
                </a:cubicBezTo>
                <a:cubicBezTo>
                  <a:pt x="153" y="120"/>
                  <a:pt x="153" y="119"/>
                  <a:pt x="154" y="119"/>
                </a:cubicBezTo>
                <a:cubicBezTo>
                  <a:pt x="154" y="119"/>
                  <a:pt x="153" y="120"/>
                  <a:pt x="153" y="120"/>
                </a:cubicBezTo>
                <a:close/>
                <a:moveTo>
                  <a:pt x="136" y="117"/>
                </a:moveTo>
                <a:cubicBezTo>
                  <a:pt x="139" y="115"/>
                  <a:pt x="135" y="118"/>
                  <a:pt x="135" y="118"/>
                </a:cubicBezTo>
                <a:cubicBezTo>
                  <a:pt x="138" y="116"/>
                  <a:pt x="140" y="115"/>
                  <a:pt x="142" y="113"/>
                </a:cubicBezTo>
                <a:cubicBezTo>
                  <a:pt x="142" y="112"/>
                  <a:pt x="147" y="109"/>
                  <a:pt x="148" y="107"/>
                </a:cubicBezTo>
                <a:cubicBezTo>
                  <a:pt x="147" y="108"/>
                  <a:pt x="146" y="108"/>
                  <a:pt x="146" y="108"/>
                </a:cubicBezTo>
                <a:cubicBezTo>
                  <a:pt x="144" y="109"/>
                  <a:pt x="144" y="110"/>
                  <a:pt x="142" y="111"/>
                </a:cubicBezTo>
                <a:cubicBezTo>
                  <a:pt x="141" y="113"/>
                  <a:pt x="142" y="113"/>
                  <a:pt x="141" y="113"/>
                </a:cubicBezTo>
                <a:cubicBezTo>
                  <a:pt x="140" y="113"/>
                  <a:pt x="136" y="116"/>
                  <a:pt x="136" y="117"/>
                </a:cubicBezTo>
                <a:close/>
                <a:moveTo>
                  <a:pt x="153" y="123"/>
                </a:moveTo>
                <a:cubicBezTo>
                  <a:pt x="154" y="123"/>
                  <a:pt x="157" y="120"/>
                  <a:pt x="156" y="120"/>
                </a:cubicBezTo>
                <a:cubicBezTo>
                  <a:pt x="155" y="121"/>
                  <a:pt x="152" y="123"/>
                  <a:pt x="153" y="123"/>
                </a:cubicBezTo>
                <a:close/>
                <a:moveTo>
                  <a:pt x="137" y="109"/>
                </a:moveTo>
                <a:cubicBezTo>
                  <a:pt x="139" y="108"/>
                  <a:pt x="141" y="106"/>
                  <a:pt x="141" y="106"/>
                </a:cubicBezTo>
                <a:cubicBezTo>
                  <a:pt x="139" y="107"/>
                  <a:pt x="137" y="109"/>
                  <a:pt x="137" y="109"/>
                </a:cubicBezTo>
                <a:close/>
                <a:moveTo>
                  <a:pt x="136" y="114"/>
                </a:moveTo>
                <a:cubicBezTo>
                  <a:pt x="138" y="114"/>
                  <a:pt x="137" y="113"/>
                  <a:pt x="137" y="115"/>
                </a:cubicBezTo>
                <a:cubicBezTo>
                  <a:pt x="138" y="114"/>
                  <a:pt x="138" y="113"/>
                  <a:pt x="141" y="111"/>
                </a:cubicBezTo>
                <a:cubicBezTo>
                  <a:pt x="142" y="110"/>
                  <a:pt x="141" y="111"/>
                  <a:pt x="140" y="111"/>
                </a:cubicBezTo>
                <a:cubicBezTo>
                  <a:pt x="141" y="110"/>
                  <a:pt x="142" y="110"/>
                  <a:pt x="143" y="109"/>
                </a:cubicBezTo>
                <a:cubicBezTo>
                  <a:pt x="143" y="109"/>
                  <a:pt x="144" y="108"/>
                  <a:pt x="143" y="108"/>
                </a:cubicBezTo>
                <a:cubicBezTo>
                  <a:pt x="141" y="111"/>
                  <a:pt x="139" y="111"/>
                  <a:pt x="136" y="114"/>
                </a:cubicBezTo>
                <a:close/>
                <a:moveTo>
                  <a:pt x="142" y="117"/>
                </a:moveTo>
                <a:cubicBezTo>
                  <a:pt x="140" y="118"/>
                  <a:pt x="142" y="116"/>
                  <a:pt x="144" y="115"/>
                </a:cubicBezTo>
                <a:cubicBezTo>
                  <a:pt x="144" y="114"/>
                  <a:pt x="142" y="115"/>
                  <a:pt x="141" y="116"/>
                </a:cubicBezTo>
                <a:cubicBezTo>
                  <a:pt x="141" y="116"/>
                  <a:pt x="141" y="117"/>
                  <a:pt x="140" y="117"/>
                </a:cubicBezTo>
                <a:cubicBezTo>
                  <a:pt x="137" y="118"/>
                  <a:pt x="139" y="119"/>
                  <a:pt x="136" y="120"/>
                </a:cubicBezTo>
                <a:cubicBezTo>
                  <a:pt x="136" y="121"/>
                  <a:pt x="133" y="123"/>
                  <a:pt x="132" y="124"/>
                </a:cubicBezTo>
                <a:cubicBezTo>
                  <a:pt x="133" y="124"/>
                  <a:pt x="131" y="125"/>
                  <a:pt x="131" y="126"/>
                </a:cubicBezTo>
                <a:cubicBezTo>
                  <a:pt x="133" y="124"/>
                  <a:pt x="135" y="122"/>
                  <a:pt x="134" y="124"/>
                </a:cubicBezTo>
                <a:cubicBezTo>
                  <a:pt x="135" y="124"/>
                  <a:pt x="139" y="121"/>
                  <a:pt x="138" y="121"/>
                </a:cubicBezTo>
                <a:cubicBezTo>
                  <a:pt x="137" y="121"/>
                  <a:pt x="135" y="124"/>
                  <a:pt x="135" y="123"/>
                </a:cubicBezTo>
                <a:cubicBezTo>
                  <a:pt x="136" y="122"/>
                  <a:pt x="135" y="122"/>
                  <a:pt x="137" y="121"/>
                </a:cubicBezTo>
                <a:cubicBezTo>
                  <a:pt x="139" y="119"/>
                  <a:pt x="142" y="117"/>
                  <a:pt x="142" y="117"/>
                </a:cubicBezTo>
                <a:close/>
                <a:moveTo>
                  <a:pt x="143" y="118"/>
                </a:moveTo>
                <a:cubicBezTo>
                  <a:pt x="141" y="119"/>
                  <a:pt x="141" y="119"/>
                  <a:pt x="141" y="119"/>
                </a:cubicBezTo>
                <a:cubicBezTo>
                  <a:pt x="140" y="120"/>
                  <a:pt x="140" y="120"/>
                  <a:pt x="141" y="121"/>
                </a:cubicBezTo>
                <a:cubicBezTo>
                  <a:pt x="143" y="119"/>
                  <a:pt x="142" y="119"/>
                  <a:pt x="143" y="118"/>
                </a:cubicBezTo>
                <a:cubicBezTo>
                  <a:pt x="143" y="119"/>
                  <a:pt x="144" y="118"/>
                  <a:pt x="145" y="117"/>
                </a:cubicBezTo>
                <a:cubicBezTo>
                  <a:pt x="143" y="118"/>
                  <a:pt x="144" y="117"/>
                  <a:pt x="143" y="118"/>
                </a:cubicBezTo>
                <a:close/>
                <a:moveTo>
                  <a:pt x="146" y="128"/>
                </a:moveTo>
                <a:cubicBezTo>
                  <a:pt x="147" y="128"/>
                  <a:pt x="145" y="129"/>
                  <a:pt x="145" y="130"/>
                </a:cubicBezTo>
                <a:cubicBezTo>
                  <a:pt x="146" y="129"/>
                  <a:pt x="146" y="129"/>
                  <a:pt x="148" y="128"/>
                </a:cubicBezTo>
                <a:cubicBezTo>
                  <a:pt x="147" y="128"/>
                  <a:pt x="147" y="127"/>
                  <a:pt x="148" y="127"/>
                </a:cubicBezTo>
                <a:cubicBezTo>
                  <a:pt x="147" y="127"/>
                  <a:pt x="146" y="128"/>
                  <a:pt x="146" y="128"/>
                </a:cubicBezTo>
                <a:close/>
                <a:moveTo>
                  <a:pt x="133" y="117"/>
                </a:moveTo>
                <a:cubicBezTo>
                  <a:pt x="133" y="118"/>
                  <a:pt x="134" y="117"/>
                  <a:pt x="135" y="117"/>
                </a:cubicBezTo>
                <a:cubicBezTo>
                  <a:pt x="136" y="116"/>
                  <a:pt x="137" y="115"/>
                  <a:pt x="137" y="115"/>
                </a:cubicBezTo>
                <a:cubicBezTo>
                  <a:pt x="136" y="116"/>
                  <a:pt x="135" y="115"/>
                  <a:pt x="133" y="117"/>
                </a:cubicBezTo>
                <a:close/>
                <a:moveTo>
                  <a:pt x="144" y="129"/>
                </a:moveTo>
                <a:cubicBezTo>
                  <a:pt x="143" y="129"/>
                  <a:pt x="141" y="129"/>
                  <a:pt x="139" y="132"/>
                </a:cubicBezTo>
                <a:cubicBezTo>
                  <a:pt x="139" y="133"/>
                  <a:pt x="145" y="129"/>
                  <a:pt x="146" y="127"/>
                </a:cubicBezTo>
                <a:cubicBezTo>
                  <a:pt x="145" y="128"/>
                  <a:pt x="144" y="128"/>
                  <a:pt x="144" y="129"/>
                </a:cubicBezTo>
                <a:close/>
                <a:moveTo>
                  <a:pt x="133" y="117"/>
                </a:moveTo>
                <a:cubicBezTo>
                  <a:pt x="132" y="118"/>
                  <a:pt x="132" y="117"/>
                  <a:pt x="131" y="118"/>
                </a:cubicBezTo>
                <a:cubicBezTo>
                  <a:pt x="131" y="119"/>
                  <a:pt x="133" y="117"/>
                  <a:pt x="135" y="116"/>
                </a:cubicBezTo>
                <a:cubicBezTo>
                  <a:pt x="134" y="116"/>
                  <a:pt x="136" y="114"/>
                  <a:pt x="134" y="115"/>
                </a:cubicBezTo>
                <a:cubicBezTo>
                  <a:pt x="134" y="116"/>
                  <a:pt x="134" y="116"/>
                  <a:pt x="133" y="117"/>
                </a:cubicBezTo>
                <a:close/>
                <a:moveTo>
                  <a:pt x="138" y="122"/>
                </a:moveTo>
                <a:cubicBezTo>
                  <a:pt x="137" y="123"/>
                  <a:pt x="137" y="123"/>
                  <a:pt x="139" y="122"/>
                </a:cubicBezTo>
                <a:cubicBezTo>
                  <a:pt x="140" y="121"/>
                  <a:pt x="140" y="120"/>
                  <a:pt x="138" y="122"/>
                </a:cubicBezTo>
                <a:close/>
                <a:moveTo>
                  <a:pt x="139" y="137"/>
                </a:moveTo>
                <a:cubicBezTo>
                  <a:pt x="141" y="135"/>
                  <a:pt x="141" y="137"/>
                  <a:pt x="139" y="138"/>
                </a:cubicBezTo>
                <a:cubicBezTo>
                  <a:pt x="140" y="137"/>
                  <a:pt x="141" y="137"/>
                  <a:pt x="142" y="136"/>
                </a:cubicBezTo>
                <a:cubicBezTo>
                  <a:pt x="142" y="135"/>
                  <a:pt x="142" y="135"/>
                  <a:pt x="142" y="135"/>
                </a:cubicBezTo>
                <a:cubicBezTo>
                  <a:pt x="142" y="135"/>
                  <a:pt x="143" y="134"/>
                  <a:pt x="144" y="134"/>
                </a:cubicBezTo>
                <a:cubicBezTo>
                  <a:pt x="142" y="136"/>
                  <a:pt x="138" y="139"/>
                  <a:pt x="138" y="140"/>
                </a:cubicBezTo>
                <a:cubicBezTo>
                  <a:pt x="138" y="140"/>
                  <a:pt x="137" y="141"/>
                  <a:pt x="136" y="141"/>
                </a:cubicBezTo>
                <a:cubicBezTo>
                  <a:pt x="138" y="140"/>
                  <a:pt x="138" y="139"/>
                  <a:pt x="139" y="138"/>
                </a:cubicBezTo>
                <a:cubicBezTo>
                  <a:pt x="139" y="137"/>
                  <a:pt x="136" y="138"/>
                  <a:pt x="133" y="141"/>
                </a:cubicBezTo>
                <a:cubicBezTo>
                  <a:pt x="134" y="141"/>
                  <a:pt x="136" y="139"/>
                  <a:pt x="137" y="139"/>
                </a:cubicBezTo>
                <a:cubicBezTo>
                  <a:pt x="137" y="139"/>
                  <a:pt x="138" y="139"/>
                  <a:pt x="138" y="139"/>
                </a:cubicBezTo>
                <a:cubicBezTo>
                  <a:pt x="135" y="142"/>
                  <a:pt x="132" y="145"/>
                  <a:pt x="132" y="146"/>
                </a:cubicBezTo>
                <a:cubicBezTo>
                  <a:pt x="133" y="145"/>
                  <a:pt x="135" y="144"/>
                  <a:pt x="135" y="143"/>
                </a:cubicBezTo>
                <a:cubicBezTo>
                  <a:pt x="134" y="144"/>
                  <a:pt x="134" y="144"/>
                  <a:pt x="134" y="144"/>
                </a:cubicBezTo>
                <a:cubicBezTo>
                  <a:pt x="135" y="144"/>
                  <a:pt x="136" y="142"/>
                  <a:pt x="136" y="142"/>
                </a:cubicBezTo>
                <a:cubicBezTo>
                  <a:pt x="137" y="142"/>
                  <a:pt x="134" y="145"/>
                  <a:pt x="137" y="143"/>
                </a:cubicBezTo>
                <a:cubicBezTo>
                  <a:pt x="136" y="142"/>
                  <a:pt x="139" y="141"/>
                  <a:pt x="140" y="141"/>
                </a:cubicBezTo>
                <a:cubicBezTo>
                  <a:pt x="139" y="140"/>
                  <a:pt x="141" y="139"/>
                  <a:pt x="141" y="139"/>
                </a:cubicBezTo>
                <a:cubicBezTo>
                  <a:pt x="140" y="139"/>
                  <a:pt x="140" y="139"/>
                  <a:pt x="141" y="138"/>
                </a:cubicBezTo>
                <a:cubicBezTo>
                  <a:pt x="144" y="136"/>
                  <a:pt x="146" y="134"/>
                  <a:pt x="148" y="133"/>
                </a:cubicBezTo>
                <a:cubicBezTo>
                  <a:pt x="147" y="133"/>
                  <a:pt x="143" y="135"/>
                  <a:pt x="146" y="132"/>
                </a:cubicBezTo>
                <a:cubicBezTo>
                  <a:pt x="143" y="133"/>
                  <a:pt x="141" y="134"/>
                  <a:pt x="139" y="137"/>
                </a:cubicBezTo>
                <a:close/>
                <a:moveTo>
                  <a:pt x="142" y="131"/>
                </a:moveTo>
                <a:cubicBezTo>
                  <a:pt x="142" y="131"/>
                  <a:pt x="143" y="132"/>
                  <a:pt x="144" y="130"/>
                </a:cubicBezTo>
                <a:cubicBezTo>
                  <a:pt x="144" y="130"/>
                  <a:pt x="144" y="130"/>
                  <a:pt x="144" y="129"/>
                </a:cubicBezTo>
                <a:cubicBezTo>
                  <a:pt x="144" y="130"/>
                  <a:pt x="143" y="130"/>
                  <a:pt x="142" y="131"/>
                </a:cubicBezTo>
                <a:close/>
                <a:moveTo>
                  <a:pt x="142" y="143"/>
                </a:moveTo>
                <a:cubicBezTo>
                  <a:pt x="142" y="143"/>
                  <a:pt x="145" y="140"/>
                  <a:pt x="145" y="142"/>
                </a:cubicBezTo>
                <a:cubicBezTo>
                  <a:pt x="147" y="140"/>
                  <a:pt x="149" y="139"/>
                  <a:pt x="150" y="138"/>
                </a:cubicBezTo>
                <a:cubicBezTo>
                  <a:pt x="148" y="139"/>
                  <a:pt x="147" y="140"/>
                  <a:pt x="146" y="140"/>
                </a:cubicBezTo>
                <a:cubicBezTo>
                  <a:pt x="147" y="139"/>
                  <a:pt x="147" y="139"/>
                  <a:pt x="148" y="138"/>
                </a:cubicBezTo>
                <a:cubicBezTo>
                  <a:pt x="147" y="139"/>
                  <a:pt x="150" y="137"/>
                  <a:pt x="150" y="137"/>
                </a:cubicBezTo>
                <a:cubicBezTo>
                  <a:pt x="148" y="138"/>
                  <a:pt x="142" y="142"/>
                  <a:pt x="142" y="143"/>
                </a:cubicBezTo>
                <a:close/>
                <a:moveTo>
                  <a:pt x="125" y="125"/>
                </a:moveTo>
                <a:cubicBezTo>
                  <a:pt x="126" y="125"/>
                  <a:pt x="128" y="123"/>
                  <a:pt x="128" y="124"/>
                </a:cubicBezTo>
                <a:cubicBezTo>
                  <a:pt x="126" y="126"/>
                  <a:pt x="124" y="127"/>
                  <a:pt x="124" y="128"/>
                </a:cubicBezTo>
                <a:cubicBezTo>
                  <a:pt x="129" y="124"/>
                  <a:pt x="129" y="124"/>
                  <a:pt x="129" y="124"/>
                </a:cubicBezTo>
                <a:cubicBezTo>
                  <a:pt x="128" y="123"/>
                  <a:pt x="132" y="121"/>
                  <a:pt x="131" y="120"/>
                </a:cubicBezTo>
                <a:cubicBezTo>
                  <a:pt x="129" y="122"/>
                  <a:pt x="127" y="123"/>
                  <a:pt x="125" y="125"/>
                </a:cubicBezTo>
                <a:close/>
                <a:moveTo>
                  <a:pt x="131" y="122"/>
                </a:moveTo>
                <a:cubicBezTo>
                  <a:pt x="132" y="122"/>
                  <a:pt x="131" y="122"/>
                  <a:pt x="131" y="123"/>
                </a:cubicBezTo>
                <a:cubicBezTo>
                  <a:pt x="132" y="122"/>
                  <a:pt x="132" y="121"/>
                  <a:pt x="133" y="120"/>
                </a:cubicBezTo>
                <a:cubicBezTo>
                  <a:pt x="134" y="120"/>
                  <a:pt x="134" y="120"/>
                  <a:pt x="134" y="120"/>
                </a:cubicBezTo>
                <a:cubicBezTo>
                  <a:pt x="133" y="120"/>
                  <a:pt x="135" y="117"/>
                  <a:pt x="131" y="119"/>
                </a:cubicBezTo>
                <a:cubicBezTo>
                  <a:pt x="131" y="120"/>
                  <a:pt x="134" y="119"/>
                  <a:pt x="131" y="122"/>
                </a:cubicBezTo>
                <a:close/>
                <a:moveTo>
                  <a:pt x="139" y="130"/>
                </a:moveTo>
                <a:cubicBezTo>
                  <a:pt x="138" y="132"/>
                  <a:pt x="142" y="129"/>
                  <a:pt x="142" y="129"/>
                </a:cubicBezTo>
                <a:lnTo>
                  <a:pt x="139" y="130"/>
                </a:lnTo>
                <a:close/>
                <a:moveTo>
                  <a:pt x="133" y="129"/>
                </a:moveTo>
                <a:cubicBezTo>
                  <a:pt x="135" y="127"/>
                  <a:pt x="136" y="126"/>
                  <a:pt x="135" y="126"/>
                </a:cubicBezTo>
                <a:cubicBezTo>
                  <a:pt x="133" y="128"/>
                  <a:pt x="132" y="129"/>
                  <a:pt x="133" y="129"/>
                </a:cubicBezTo>
                <a:close/>
                <a:moveTo>
                  <a:pt x="129" y="121"/>
                </a:moveTo>
                <a:cubicBezTo>
                  <a:pt x="128" y="120"/>
                  <a:pt x="126" y="121"/>
                  <a:pt x="124" y="124"/>
                </a:cubicBezTo>
                <a:cubicBezTo>
                  <a:pt x="125" y="123"/>
                  <a:pt x="125" y="123"/>
                  <a:pt x="124" y="124"/>
                </a:cubicBezTo>
                <a:cubicBezTo>
                  <a:pt x="123" y="124"/>
                  <a:pt x="121" y="127"/>
                  <a:pt x="120" y="128"/>
                </a:cubicBezTo>
                <a:cubicBezTo>
                  <a:pt x="121" y="128"/>
                  <a:pt x="121" y="128"/>
                  <a:pt x="120" y="130"/>
                </a:cubicBezTo>
                <a:cubicBezTo>
                  <a:pt x="121" y="129"/>
                  <a:pt x="121" y="129"/>
                  <a:pt x="121" y="129"/>
                </a:cubicBezTo>
                <a:cubicBezTo>
                  <a:pt x="125" y="126"/>
                  <a:pt x="124" y="125"/>
                  <a:pt x="128" y="123"/>
                </a:cubicBezTo>
                <a:cubicBezTo>
                  <a:pt x="127" y="122"/>
                  <a:pt x="126" y="123"/>
                  <a:pt x="129" y="121"/>
                </a:cubicBezTo>
                <a:close/>
                <a:moveTo>
                  <a:pt x="129" y="131"/>
                </a:moveTo>
                <a:cubicBezTo>
                  <a:pt x="130" y="130"/>
                  <a:pt x="133" y="127"/>
                  <a:pt x="134" y="126"/>
                </a:cubicBezTo>
                <a:cubicBezTo>
                  <a:pt x="131" y="128"/>
                  <a:pt x="130" y="130"/>
                  <a:pt x="129" y="131"/>
                </a:cubicBezTo>
                <a:close/>
                <a:moveTo>
                  <a:pt x="133" y="136"/>
                </a:moveTo>
                <a:cubicBezTo>
                  <a:pt x="135" y="136"/>
                  <a:pt x="137" y="136"/>
                  <a:pt x="139" y="133"/>
                </a:cubicBezTo>
                <a:cubicBezTo>
                  <a:pt x="136" y="135"/>
                  <a:pt x="136" y="134"/>
                  <a:pt x="133" y="136"/>
                </a:cubicBezTo>
                <a:close/>
                <a:moveTo>
                  <a:pt x="124" y="131"/>
                </a:moveTo>
                <a:cubicBezTo>
                  <a:pt x="125" y="131"/>
                  <a:pt x="125" y="131"/>
                  <a:pt x="124" y="132"/>
                </a:cubicBezTo>
                <a:cubicBezTo>
                  <a:pt x="126" y="131"/>
                  <a:pt x="131" y="127"/>
                  <a:pt x="128" y="128"/>
                </a:cubicBezTo>
                <a:cubicBezTo>
                  <a:pt x="128" y="129"/>
                  <a:pt x="126" y="130"/>
                  <a:pt x="124" y="131"/>
                </a:cubicBezTo>
                <a:close/>
                <a:moveTo>
                  <a:pt x="121" y="127"/>
                </a:moveTo>
                <a:cubicBezTo>
                  <a:pt x="121" y="126"/>
                  <a:pt x="121" y="125"/>
                  <a:pt x="123" y="124"/>
                </a:cubicBezTo>
                <a:cubicBezTo>
                  <a:pt x="120" y="126"/>
                  <a:pt x="117" y="127"/>
                  <a:pt x="117" y="128"/>
                </a:cubicBezTo>
                <a:cubicBezTo>
                  <a:pt x="118" y="128"/>
                  <a:pt x="120" y="126"/>
                  <a:pt x="121" y="126"/>
                </a:cubicBezTo>
                <a:cubicBezTo>
                  <a:pt x="120" y="126"/>
                  <a:pt x="119" y="128"/>
                  <a:pt x="121" y="127"/>
                </a:cubicBezTo>
                <a:close/>
                <a:moveTo>
                  <a:pt x="120" y="131"/>
                </a:moveTo>
                <a:cubicBezTo>
                  <a:pt x="121" y="131"/>
                  <a:pt x="122" y="131"/>
                  <a:pt x="124" y="129"/>
                </a:cubicBezTo>
                <a:cubicBezTo>
                  <a:pt x="124" y="128"/>
                  <a:pt x="121" y="130"/>
                  <a:pt x="120" y="131"/>
                </a:cubicBezTo>
                <a:close/>
                <a:moveTo>
                  <a:pt x="119" y="140"/>
                </a:moveTo>
                <a:cubicBezTo>
                  <a:pt x="121" y="139"/>
                  <a:pt x="122" y="137"/>
                  <a:pt x="124" y="135"/>
                </a:cubicBezTo>
                <a:cubicBezTo>
                  <a:pt x="124" y="134"/>
                  <a:pt x="124" y="134"/>
                  <a:pt x="124" y="134"/>
                </a:cubicBezTo>
                <a:cubicBezTo>
                  <a:pt x="121" y="137"/>
                  <a:pt x="119" y="139"/>
                  <a:pt x="119" y="140"/>
                </a:cubicBezTo>
                <a:close/>
                <a:moveTo>
                  <a:pt x="117" y="131"/>
                </a:moveTo>
                <a:cubicBezTo>
                  <a:pt x="119" y="130"/>
                  <a:pt x="117" y="130"/>
                  <a:pt x="118" y="129"/>
                </a:cubicBezTo>
                <a:cubicBezTo>
                  <a:pt x="116" y="131"/>
                  <a:pt x="116" y="131"/>
                  <a:pt x="117" y="131"/>
                </a:cubicBezTo>
                <a:close/>
                <a:moveTo>
                  <a:pt x="112" y="133"/>
                </a:moveTo>
                <a:cubicBezTo>
                  <a:pt x="112" y="134"/>
                  <a:pt x="114" y="132"/>
                  <a:pt x="113" y="133"/>
                </a:cubicBezTo>
                <a:cubicBezTo>
                  <a:pt x="117" y="130"/>
                  <a:pt x="114" y="131"/>
                  <a:pt x="112" y="133"/>
                </a:cubicBezTo>
                <a:close/>
                <a:moveTo>
                  <a:pt x="117" y="138"/>
                </a:moveTo>
                <a:cubicBezTo>
                  <a:pt x="116" y="140"/>
                  <a:pt x="113" y="143"/>
                  <a:pt x="114" y="143"/>
                </a:cubicBezTo>
                <a:cubicBezTo>
                  <a:pt x="117" y="140"/>
                  <a:pt x="116" y="140"/>
                  <a:pt x="119" y="137"/>
                </a:cubicBezTo>
                <a:cubicBezTo>
                  <a:pt x="118" y="138"/>
                  <a:pt x="118" y="137"/>
                  <a:pt x="117" y="138"/>
                </a:cubicBezTo>
                <a:close/>
                <a:moveTo>
                  <a:pt x="114" y="157"/>
                </a:moveTo>
                <a:cubicBezTo>
                  <a:pt x="112" y="158"/>
                  <a:pt x="113" y="158"/>
                  <a:pt x="111" y="158"/>
                </a:cubicBezTo>
                <a:cubicBezTo>
                  <a:pt x="113" y="158"/>
                  <a:pt x="109" y="161"/>
                  <a:pt x="109" y="161"/>
                </a:cubicBezTo>
                <a:cubicBezTo>
                  <a:pt x="111" y="159"/>
                  <a:pt x="109" y="160"/>
                  <a:pt x="108" y="161"/>
                </a:cubicBezTo>
                <a:cubicBezTo>
                  <a:pt x="108" y="162"/>
                  <a:pt x="107" y="163"/>
                  <a:pt x="107" y="164"/>
                </a:cubicBezTo>
                <a:cubicBezTo>
                  <a:pt x="105" y="166"/>
                  <a:pt x="105" y="164"/>
                  <a:pt x="102" y="167"/>
                </a:cubicBezTo>
                <a:cubicBezTo>
                  <a:pt x="102" y="169"/>
                  <a:pt x="103" y="167"/>
                  <a:pt x="104" y="167"/>
                </a:cubicBezTo>
                <a:cubicBezTo>
                  <a:pt x="103" y="168"/>
                  <a:pt x="102" y="168"/>
                  <a:pt x="101" y="169"/>
                </a:cubicBezTo>
                <a:cubicBezTo>
                  <a:pt x="103" y="169"/>
                  <a:pt x="106" y="166"/>
                  <a:pt x="107" y="164"/>
                </a:cubicBezTo>
                <a:cubicBezTo>
                  <a:pt x="106" y="167"/>
                  <a:pt x="101" y="172"/>
                  <a:pt x="99" y="173"/>
                </a:cubicBezTo>
                <a:cubicBezTo>
                  <a:pt x="99" y="173"/>
                  <a:pt x="99" y="175"/>
                  <a:pt x="98" y="175"/>
                </a:cubicBezTo>
                <a:cubicBezTo>
                  <a:pt x="98" y="175"/>
                  <a:pt x="99" y="175"/>
                  <a:pt x="98" y="175"/>
                </a:cubicBezTo>
                <a:cubicBezTo>
                  <a:pt x="99" y="175"/>
                  <a:pt x="98" y="175"/>
                  <a:pt x="99" y="175"/>
                </a:cubicBezTo>
                <a:cubicBezTo>
                  <a:pt x="99" y="175"/>
                  <a:pt x="100" y="174"/>
                  <a:pt x="100" y="174"/>
                </a:cubicBezTo>
                <a:cubicBezTo>
                  <a:pt x="100" y="174"/>
                  <a:pt x="100" y="174"/>
                  <a:pt x="100" y="174"/>
                </a:cubicBezTo>
                <a:cubicBezTo>
                  <a:pt x="101" y="172"/>
                  <a:pt x="101" y="172"/>
                  <a:pt x="101" y="172"/>
                </a:cubicBezTo>
                <a:cubicBezTo>
                  <a:pt x="102" y="172"/>
                  <a:pt x="103" y="171"/>
                  <a:pt x="104" y="170"/>
                </a:cubicBezTo>
                <a:cubicBezTo>
                  <a:pt x="103" y="170"/>
                  <a:pt x="106" y="168"/>
                  <a:pt x="106" y="167"/>
                </a:cubicBezTo>
                <a:cubicBezTo>
                  <a:pt x="108" y="166"/>
                  <a:pt x="114" y="158"/>
                  <a:pt x="117" y="157"/>
                </a:cubicBezTo>
                <a:cubicBezTo>
                  <a:pt x="117" y="157"/>
                  <a:pt x="116" y="157"/>
                  <a:pt x="117" y="156"/>
                </a:cubicBezTo>
                <a:cubicBezTo>
                  <a:pt x="119" y="155"/>
                  <a:pt x="120" y="153"/>
                  <a:pt x="123" y="151"/>
                </a:cubicBezTo>
                <a:cubicBezTo>
                  <a:pt x="122" y="150"/>
                  <a:pt x="125" y="150"/>
                  <a:pt x="126" y="148"/>
                </a:cubicBezTo>
                <a:cubicBezTo>
                  <a:pt x="126" y="148"/>
                  <a:pt x="127" y="147"/>
                  <a:pt x="126" y="147"/>
                </a:cubicBezTo>
                <a:cubicBezTo>
                  <a:pt x="123" y="150"/>
                  <a:pt x="122" y="148"/>
                  <a:pt x="120" y="151"/>
                </a:cubicBezTo>
                <a:cubicBezTo>
                  <a:pt x="121" y="150"/>
                  <a:pt x="120" y="153"/>
                  <a:pt x="119" y="153"/>
                </a:cubicBezTo>
                <a:cubicBezTo>
                  <a:pt x="119" y="152"/>
                  <a:pt x="117" y="155"/>
                  <a:pt x="116" y="155"/>
                </a:cubicBezTo>
                <a:cubicBezTo>
                  <a:pt x="117" y="154"/>
                  <a:pt x="118" y="153"/>
                  <a:pt x="118" y="152"/>
                </a:cubicBezTo>
                <a:cubicBezTo>
                  <a:pt x="117" y="154"/>
                  <a:pt x="116" y="154"/>
                  <a:pt x="116" y="154"/>
                </a:cubicBezTo>
                <a:cubicBezTo>
                  <a:pt x="116" y="154"/>
                  <a:pt x="117" y="153"/>
                  <a:pt x="117" y="153"/>
                </a:cubicBezTo>
                <a:cubicBezTo>
                  <a:pt x="115" y="155"/>
                  <a:pt x="115" y="155"/>
                  <a:pt x="114" y="157"/>
                </a:cubicBezTo>
                <a:close/>
                <a:moveTo>
                  <a:pt x="119" y="151"/>
                </a:moveTo>
                <a:cubicBezTo>
                  <a:pt x="120" y="150"/>
                  <a:pt x="121" y="149"/>
                  <a:pt x="121" y="148"/>
                </a:cubicBezTo>
                <a:cubicBezTo>
                  <a:pt x="120" y="149"/>
                  <a:pt x="119" y="149"/>
                  <a:pt x="118" y="151"/>
                </a:cubicBezTo>
                <a:cubicBezTo>
                  <a:pt x="118" y="152"/>
                  <a:pt x="119" y="150"/>
                  <a:pt x="120" y="150"/>
                </a:cubicBezTo>
                <a:cubicBezTo>
                  <a:pt x="119" y="151"/>
                  <a:pt x="118" y="152"/>
                  <a:pt x="119" y="151"/>
                </a:cubicBezTo>
                <a:close/>
                <a:moveTo>
                  <a:pt x="124" y="159"/>
                </a:moveTo>
                <a:cubicBezTo>
                  <a:pt x="125" y="159"/>
                  <a:pt x="128" y="159"/>
                  <a:pt x="128" y="157"/>
                </a:cubicBezTo>
                <a:cubicBezTo>
                  <a:pt x="125" y="160"/>
                  <a:pt x="127" y="156"/>
                  <a:pt x="124" y="159"/>
                </a:cubicBezTo>
                <a:close/>
                <a:moveTo>
                  <a:pt x="112" y="142"/>
                </a:moveTo>
                <a:cubicBezTo>
                  <a:pt x="110" y="143"/>
                  <a:pt x="109" y="144"/>
                  <a:pt x="109" y="145"/>
                </a:cubicBezTo>
                <a:cubicBezTo>
                  <a:pt x="110" y="145"/>
                  <a:pt x="111" y="143"/>
                  <a:pt x="112" y="142"/>
                </a:cubicBezTo>
                <a:cubicBezTo>
                  <a:pt x="112" y="143"/>
                  <a:pt x="112" y="143"/>
                  <a:pt x="113" y="142"/>
                </a:cubicBezTo>
                <a:cubicBezTo>
                  <a:pt x="113" y="142"/>
                  <a:pt x="112" y="142"/>
                  <a:pt x="112" y="142"/>
                </a:cubicBezTo>
                <a:close/>
                <a:moveTo>
                  <a:pt x="114" y="170"/>
                </a:moveTo>
                <a:cubicBezTo>
                  <a:pt x="115" y="170"/>
                  <a:pt x="118" y="166"/>
                  <a:pt x="117" y="166"/>
                </a:cubicBezTo>
                <a:cubicBezTo>
                  <a:pt x="115" y="168"/>
                  <a:pt x="116" y="167"/>
                  <a:pt x="114" y="170"/>
                </a:cubicBezTo>
                <a:close/>
                <a:moveTo>
                  <a:pt x="88" y="182"/>
                </a:moveTo>
                <a:cubicBezTo>
                  <a:pt x="88" y="182"/>
                  <a:pt x="89" y="182"/>
                  <a:pt x="89" y="181"/>
                </a:cubicBezTo>
                <a:cubicBezTo>
                  <a:pt x="88" y="181"/>
                  <a:pt x="88" y="182"/>
                  <a:pt x="88" y="182"/>
                </a:cubicBezTo>
                <a:close/>
                <a:moveTo>
                  <a:pt x="108" y="144"/>
                </a:moveTo>
                <a:cubicBezTo>
                  <a:pt x="106" y="144"/>
                  <a:pt x="109" y="142"/>
                  <a:pt x="108" y="142"/>
                </a:cubicBezTo>
                <a:cubicBezTo>
                  <a:pt x="107" y="142"/>
                  <a:pt x="103" y="145"/>
                  <a:pt x="103" y="145"/>
                </a:cubicBezTo>
                <a:cubicBezTo>
                  <a:pt x="105" y="144"/>
                  <a:pt x="106" y="145"/>
                  <a:pt x="107" y="144"/>
                </a:cubicBezTo>
                <a:cubicBezTo>
                  <a:pt x="109" y="143"/>
                  <a:pt x="109" y="143"/>
                  <a:pt x="110" y="141"/>
                </a:cubicBezTo>
                <a:cubicBezTo>
                  <a:pt x="110" y="141"/>
                  <a:pt x="110" y="141"/>
                  <a:pt x="110" y="141"/>
                </a:cubicBezTo>
                <a:cubicBezTo>
                  <a:pt x="107" y="143"/>
                  <a:pt x="110" y="142"/>
                  <a:pt x="108" y="144"/>
                </a:cubicBezTo>
                <a:close/>
                <a:moveTo>
                  <a:pt x="802" y="247"/>
                </a:moveTo>
                <a:cubicBezTo>
                  <a:pt x="799" y="242"/>
                  <a:pt x="799" y="242"/>
                  <a:pt x="799" y="242"/>
                </a:cubicBezTo>
                <a:cubicBezTo>
                  <a:pt x="798" y="242"/>
                  <a:pt x="801" y="247"/>
                  <a:pt x="801" y="246"/>
                </a:cubicBezTo>
                <a:cubicBezTo>
                  <a:pt x="801" y="247"/>
                  <a:pt x="801" y="247"/>
                  <a:pt x="801" y="247"/>
                </a:cubicBezTo>
                <a:cubicBezTo>
                  <a:pt x="800" y="244"/>
                  <a:pt x="802" y="246"/>
                  <a:pt x="802" y="247"/>
                </a:cubicBezTo>
                <a:close/>
                <a:moveTo>
                  <a:pt x="596" y="44"/>
                </a:moveTo>
                <a:cubicBezTo>
                  <a:pt x="592" y="42"/>
                  <a:pt x="592" y="42"/>
                  <a:pt x="592" y="42"/>
                </a:cubicBezTo>
                <a:cubicBezTo>
                  <a:pt x="592" y="43"/>
                  <a:pt x="593" y="43"/>
                  <a:pt x="594" y="44"/>
                </a:cubicBezTo>
                <a:cubicBezTo>
                  <a:pt x="591" y="43"/>
                  <a:pt x="597" y="45"/>
                  <a:pt x="596" y="44"/>
                </a:cubicBezTo>
                <a:close/>
                <a:moveTo>
                  <a:pt x="493" y="9"/>
                </a:moveTo>
                <a:cubicBezTo>
                  <a:pt x="495" y="10"/>
                  <a:pt x="500" y="11"/>
                  <a:pt x="502" y="11"/>
                </a:cubicBezTo>
                <a:cubicBezTo>
                  <a:pt x="500" y="10"/>
                  <a:pt x="492" y="9"/>
                  <a:pt x="493" y="9"/>
                </a:cubicBezTo>
                <a:close/>
                <a:moveTo>
                  <a:pt x="467" y="5"/>
                </a:moveTo>
                <a:cubicBezTo>
                  <a:pt x="469" y="5"/>
                  <a:pt x="477" y="7"/>
                  <a:pt x="475" y="6"/>
                </a:cubicBezTo>
                <a:cubicBezTo>
                  <a:pt x="473" y="6"/>
                  <a:pt x="466" y="4"/>
                  <a:pt x="466" y="5"/>
                </a:cubicBezTo>
                <a:cubicBezTo>
                  <a:pt x="467" y="6"/>
                  <a:pt x="469" y="7"/>
                  <a:pt x="470" y="6"/>
                </a:cubicBezTo>
                <a:cubicBezTo>
                  <a:pt x="469" y="6"/>
                  <a:pt x="468" y="6"/>
                  <a:pt x="467" y="5"/>
                </a:cubicBezTo>
                <a:close/>
                <a:moveTo>
                  <a:pt x="411" y="0"/>
                </a:moveTo>
                <a:cubicBezTo>
                  <a:pt x="410" y="0"/>
                  <a:pt x="406" y="0"/>
                  <a:pt x="404" y="1"/>
                </a:cubicBezTo>
                <a:cubicBezTo>
                  <a:pt x="407" y="1"/>
                  <a:pt x="411" y="1"/>
                  <a:pt x="414" y="1"/>
                </a:cubicBezTo>
                <a:cubicBezTo>
                  <a:pt x="413" y="1"/>
                  <a:pt x="411" y="1"/>
                  <a:pt x="412" y="1"/>
                </a:cubicBezTo>
                <a:cubicBezTo>
                  <a:pt x="413" y="1"/>
                  <a:pt x="417" y="0"/>
                  <a:pt x="415" y="0"/>
                </a:cubicBezTo>
                <a:cubicBezTo>
                  <a:pt x="415" y="1"/>
                  <a:pt x="413" y="0"/>
                  <a:pt x="411" y="0"/>
                </a:cubicBezTo>
                <a:close/>
                <a:moveTo>
                  <a:pt x="394" y="50"/>
                </a:moveTo>
                <a:cubicBezTo>
                  <a:pt x="394" y="49"/>
                  <a:pt x="401" y="50"/>
                  <a:pt x="399" y="50"/>
                </a:cubicBezTo>
                <a:cubicBezTo>
                  <a:pt x="399" y="49"/>
                  <a:pt x="391" y="49"/>
                  <a:pt x="394" y="50"/>
                </a:cubicBezTo>
                <a:close/>
                <a:moveTo>
                  <a:pt x="388" y="50"/>
                </a:moveTo>
                <a:cubicBezTo>
                  <a:pt x="389" y="50"/>
                  <a:pt x="391" y="51"/>
                  <a:pt x="393" y="50"/>
                </a:cubicBezTo>
                <a:cubicBezTo>
                  <a:pt x="384" y="50"/>
                  <a:pt x="379" y="50"/>
                  <a:pt x="376" y="50"/>
                </a:cubicBezTo>
                <a:cubicBezTo>
                  <a:pt x="379" y="50"/>
                  <a:pt x="373" y="51"/>
                  <a:pt x="376" y="51"/>
                </a:cubicBezTo>
                <a:cubicBezTo>
                  <a:pt x="378" y="50"/>
                  <a:pt x="383" y="51"/>
                  <a:pt x="382" y="50"/>
                </a:cubicBezTo>
                <a:cubicBezTo>
                  <a:pt x="383" y="50"/>
                  <a:pt x="386" y="50"/>
                  <a:pt x="388" y="50"/>
                </a:cubicBezTo>
                <a:close/>
                <a:moveTo>
                  <a:pt x="350" y="7"/>
                </a:moveTo>
                <a:cubicBezTo>
                  <a:pt x="351" y="6"/>
                  <a:pt x="358" y="6"/>
                  <a:pt x="359" y="6"/>
                </a:cubicBezTo>
                <a:cubicBezTo>
                  <a:pt x="355" y="6"/>
                  <a:pt x="351" y="7"/>
                  <a:pt x="349" y="7"/>
                </a:cubicBezTo>
                <a:cubicBezTo>
                  <a:pt x="350" y="7"/>
                  <a:pt x="350" y="7"/>
                  <a:pt x="350" y="7"/>
                </a:cubicBezTo>
                <a:cubicBezTo>
                  <a:pt x="350" y="7"/>
                  <a:pt x="349" y="7"/>
                  <a:pt x="350" y="7"/>
                </a:cubicBezTo>
                <a:close/>
                <a:moveTo>
                  <a:pt x="350" y="8"/>
                </a:moveTo>
                <a:cubicBezTo>
                  <a:pt x="350" y="8"/>
                  <a:pt x="350" y="8"/>
                  <a:pt x="351" y="7"/>
                </a:cubicBezTo>
                <a:cubicBezTo>
                  <a:pt x="348" y="8"/>
                  <a:pt x="348" y="7"/>
                  <a:pt x="347" y="7"/>
                </a:cubicBezTo>
                <a:cubicBezTo>
                  <a:pt x="346" y="8"/>
                  <a:pt x="345" y="8"/>
                  <a:pt x="343" y="8"/>
                </a:cubicBezTo>
                <a:cubicBezTo>
                  <a:pt x="342" y="8"/>
                  <a:pt x="336" y="8"/>
                  <a:pt x="335" y="9"/>
                </a:cubicBezTo>
                <a:cubicBezTo>
                  <a:pt x="336" y="9"/>
                  <a:pt x="337" y="9"/>
                  <a:pt x="337" y="9"/>
                </a:cubicBezTo>
                <a:cubicBezTo>
                  <a:pt x="334" y="10"/>
                  <a:pt x="330" y="9"/>
                  <a:pt x="327" y="11"/>
                </a:cubicBezTo>
                <a:cubicBezTo>
                  <a:pt x="331" y="11"/>
                  <a:pt x="333" y="10"/>
                  <a:pt x="336" y="10"/>
                </a:cubicBezTo>
                <a:cubicBezTo>
                  <a:pt x="336" y="9"/>
                  <a:pt x="337" y="9"/>
                  <a:pt x="339" y="9"/>
                </a:cubicBezTo>
                <a:cubicBezTo>
                  <a:pt x="339" y="9"/>
                  <a:pt x="336" y="9"/>
                  <a:pt x="337" y="10"/>
                </a:cubicBezTo>
                <a:cubicBezTo>
                  <a:pt x="342" y="9"/>
                  <a:pt x="350" y="9"/>
                  <a:pt x="351" y="8"/>
                </a:cubicBezTo>
                <a:cubicBezTo>
                  <a:pt x="350" y="8"/>
                  <a:pt x="350" y="8"/>
                  <a:pt x="350" y="8"/>
                </a:cubicBezTo>
                <a:close/>
                <a:moveTo>
                  <a:pt x="314" y="14"/>
                </a:moveTo>
                <a:cubicBezTo>
                  <a:pt x="315" y="14"/>
                  <a:pt x="322" y="13"/>
                  <a:pt x="320" y="13"/>
                </a:cubicBezTo>
                <a:cubicBezTo>
                  <a:pt x="317" y="14"/>
                  <a:pt x="316" y="13"/>
                  <a:pt x="314" y="14"/>
                </a:cubicBezTo>
                <a:close/>
                <a:moveTo>
                  <a:pt x="241" y="77"/>
                </a:moveTo>
                <a:cubicBezTo>
                  <a:pt x="240" y="77"/>
                  <a:pt x="241" y="75"/>
                  <a:pt x="240" y="76"/>
                </a:cubicBezTo>
                <a:cubicBezTo>
                  <a:pt x="240" y="76"/>
                  <a:pt x="238" y="77"/>
                  <a:pt x="238" y="77"/>
                </a:cubicBezTo>
                <a:cubicBezTo>
                  <a:pt x="238" y="77"/>
                  <a:pt x="238" y="77"/>
                  <a:pt x="237" y="77"/>
                </a:cubicBezTo>
                <a:cubicBezTo>
                  <a:pt x="237" y="78"/>
                  <a:pt x="238" y="77"/>
                  <a:pt x="238" y="77"/>
                </a:cubicBezTo>
                <a:cubicBezTo>
                  <a:pt x="236" y="79"/>
                  <a:pt x="236" y="78"/>
                  <a:pt x="235" y="79"/>
                </a:cubicBezTo>
                <a:cubicBezTo>
                  <a:pt x="236" y="79"/>
                  <a:pt x="240" y="77"/>
                  <a:pt x="241" y="77"/>
                </a:cubicBezTo>
                <a:close/>
                <a:moveTo>
                  <a:pt x="232" y="80"/>
                </a:moveTo>
                <a:cubicBezTo>
                  <a:pt x="232" y="81"/>
                  <a:pt x="233" y="81"/>
                  <a:pt x="228" y="83"/>
                </a:cubicBezTo>
                <a:cubicBezTo>
                  <a:pt x="231" y="83"/>
                  <a:pt x="236" y="79"/>
                  <a:pt x="241" y="77"/>
                </a:cubicBezTo>
                <a:cubicBezTo>
                  <a:pt x="238" y="78"/>
                  <a:pt x="235" y="79"/>
                  <a:pt x="232" y="80"/>
                </a:cubicBezTo>
                <a:close/>
                <a:moveTo>
                  <a:pt x="222" y="84"/>
                </a:moveTo>
                <a:cubicBezTo>
                  <a:pt x="220" y="86"/>
                  <a:pt x="220" y="87"/>
                  <a:pt x="223" y="86"/>
                </a:cubicBezTo>
                <a:cubicBezTo>
                  <a:pt x="221" y="87"/>
                  <a:pt x="219" y="89"/>
                  <a:pt x="217" y="89"/>
                </a:cubicBezTo>
                <a:cubicBezTo>
                  <a:pt x="217" y="88"/>
                  <a:pt x="219" y="88"/>
                  <a:pt x="219" y="87"/>
                </a:cubicBezTo>
                <a:cubicBezTo>
                  <a:pt x="217" y="88"/>
                  <a:pt x="213" y="90"/>
                  <a:pt x="213" y="91"/>
                </a:cubicBezTo>
                <a:cubicBezTo>
                  <a:pt x="218" y="88"/>
                  <a:pt x="214" y="91"/>
                  <a:pt x="215" y="91"/>
                </a:cubicBezTo>
                <a:cubicBezTo>
                  <a:pt x="219" y="89"/>
                  <a:pt x="219" y="89"/>
                  <a:pt x="219" y="89"/>
                </a:cubicBezTo>
                <a:cubicBezTo>
                  <a:pt x="219" y="88"/>
                  <a:pt x="224" y="86"/>
                  <a:pt x="226" y="84"/>
                </a:cubicBezTo>
                <a:cubicBezTo>
                  <a:pt x="222" y="86"/>
                  <a:pt x="223" y="85"/>
                  <a:pt x="222" y="84"/>
                </a:cubicBezTo>
                <a:close/>
                <a:moveTo>
                  <a:pt x="214" y="101"/>
                </a:moveTo>
                <a:cubicBezTo>
                  <a:pt x="214" y="103"/>
                  <a:pt x="210" y="104"/>
                  <a:pt x="207" y="106"/>
                </a:cubicBezTo>
                <a:cubicBezTo>
                  <a:pt x="211" y="104"/>
                  <a:pt x="216" y="101"/>
                  <a:pt x="220" y="99"/>
                </a:cubicBezTo>
                <a:cubicBezTo>
                  <a:pt x="219" y="99"/>
                  <a:pt x="215" y="102"/>
                  <a:pt x="215" y="101"/>
                </a:cubicBezTo>
                <a:cubicBezTo>
                  <a:pt x="219" y="99"/>
                  <a:pt x="223" y="98"/>
                  <a:pt x="226" y="95"/>
                </a:cubicBezTo>
                <a:cubicBezTo>
                  <a:pt x="223" y="97"/>
                  <a:pt x="219" y="98"/>
                  <a:pt x="214" y="101"/>
                </a:cubicBezTo>
                <a:close/>
                <a:moveTo>
                  <a:pt x="211" y="86"/>
                </a:moveTo>
                <a:cubicBezTo>
                  <a:pt x="213" y="83"/>
                  <a:pt x="216" y="83"/>
                  <a:pt x="217" y="81"/>
                </a:cubicBezTo>
                <a:cubicBezTo>
                  <a:pt x="214" y="83"/>
                  <a:pt x="214" y="82"/>
                  <a:pt x="210" y="84"/>
                </a:cubicBezTo>
                <a:cubicBezTo>
                  <a:pt x="210" y="85"/>
                  <a:pt x="208" y="86"/>
                  <a:pt x="211" y="86"/>
                </a:cubicBezTo>
                <a:close/>
                <a:moveTo>
                  <a:pt x="210" y="82"/>
                </a:moveTo>
                <a:cubicBezTo>
                  <a:pt x="211" y="82"/>
                  <a:pt x="207" y="83"/>
                  <a:pt x="208" y="84"/>
                </a:cubicBezTo>
                <a:cubicBezTo>
                  <a:pt x="211" y="83"/>
                  <a:pt x="211" y="82"/>
                  <a:pt x="213" y="80"/>
                </a:cubicBezTo>
                <a:cubicBezTo>
                  <a:pt x="214" y="80"/>
                  <a:pt x="214" y="81"/>
                  <a:pt x="215" y="80"/>
                </a:cubicBezTo>
                <a:cubicBezTo>
                  <a:pt x="216" y="79"/>
                  <a:pt x="212" y="81"/>
                  <a:pt x="210" y="82"/>
                </a:cubicBezTo>
                <a:close/>
                <a:moveTo>
                  <a:pt x="203" y="100"/>
                </a:moveTo>
                <a:cubicBezTo>
                  <a:pt x="201" y="100"/>
                  <a:pt x="199" y="102"/>
                  <a:pt x="199" y="102"/>
                </a:cubicBezTo>
                <a:cubicBezTo>
                  <a:pt x="201" y="100"/>
                  <a:pt x="205" y="97"/>
                  <a:pt x="207" y="96"/>
                </a:cubicBezTo>
                <a:cubicBezTo>
                  <a:pt x="207" y="96"/>
                  <a:pt x="213" y="92"/>
                  <a:pt x="212" y="92"/>
                </a:cubicBezTo>
                <a:cubicBezTo>
                  <a:pt x="211" y="93"/>
                  <a:pt x="207" y="95"/>
                  <a:pt x="207" y="96"/>
                </a:cubicBezTo>
                <a:cubicBezTo>
                  <a:pt x="204" y="97"/>
                  <a:pt x="201" y="100"/>
                  <a:pt x="197" y="101"/>
                </a:cubicBezTo>
                <a:cubicBezTo>
                  <a:pt x="197" y="102"/>
                  <a:pt x="198" y="101"/>
                  <a:pt x="196" y="103"/>
                </a:cubicBezTo>
                <a:cubicBezTo>
                  <a:pt x="192" y="104"/>
                  <a:pt x="183" y="110"/>
                  <a:pt x="180" y="114"/>
                </a:cubicBezTo>
                <a:cubicBezTo>
                  <a:pt x="175" y="115"/>
                  <a:pt x="167" y="123"/>
                  <a:pt x="160" y="128"/>
                </a:cubicBezTo>
                <a:cubicBezTo>
                  <a:pt x="161" y="128"/>
                  <a:pt x="163" y="127"/>
                  <a:pt x="161" y="129"/>
                </a:cubicBezTo>
                <a:cubicBezTo>
                  <a:pt x="164" y="127"/>
                  <a:pt x="163" y="126"/>
                  <a:pt x="165" y="125"/>
                </a:cubicBezTo>
                <a:cubicBezTo>
                  <a:pt x="166" y="125"/>
                  <a:pt x="167" y="124"/>
                  <a:pt x="165" y="127"/>
                </a:cubicBezTo>
                <a:cubicBezTo>
                  <a:pt x="167" y="125"/>
                  <a:pt x="166" y="126"/>
                  <a:pt x="168" y="125"/>
                </a:cubicBezTo>
                <a:cubicBezTo>
                  <a:pt x="168" y="124"/>
                  <a:pt x="169" y="122"/>
                  <a:pt x="167" y="123"/>
                </a:cubicBezTo>
                <a:cubicBezTo>
                  <a:pt x="172" y="119"/>
                  <a:pt x="174" y="119"/>
                  <a:pt x="177" y="116"/>
                </a:cubicBezTo>
                <a:cubicBezTo>
                  <a:pt x="176" y="117"/>
                  <a:pt x="178" y="116"/>
                  <a:pt x="179" y="115"/>
                </a:cubicBezTo>
                <a:cubicBezTo>
                  <a:pt x="179" y="115"/>
                  <a:pt x="178" y="115"/>
                  <a:pt x="179" y="114"/>
                </a:cubicBezTo>
                <a:cubicBezTo>
                  <a:pt x="183" y="113"/>
                  <a:pt x="189" y="107"/>
                  <a:pt x="193" y="105"/>
                </a:cubicBezTo>
                <a:cubicBezTo>
                  <a:pt x="193" y="105"/>
                  <a:pt x="192" y="105"/>
                  <a:pt x="194" y="104"/>
                </a:cubicBezTo>
                <a:cubicBezTo>
                  <a:pt x="193" y="106"/>
                  <a:pt x="196" y="103"/>
                  <a:pt x="198" y="102"/>
                </a:cubicBezTo>
                <a:cubicBezTo>
                  <a:pt x="198" y="103"/>
                  <a:pt x="189" y="108"/>
                  <a:pt x="194" y="106"/>
                </a:cubicBezTo>
                <a:cubicBezTo>
                  <a:pt x="192" y="107"/>
                  <a:pt x="190" y="108"/>
                  <a:pt x="190" y="108"/>
                </a:cubicBezTo>
                <a:cubicBezTo>
                  <a:pt x="194" y="106"/>
                  <a:pt x="190" y="109"/>
                  <a:pt x="189" y="110"/>
                </a:cubicBezTo>
                <a:cubicBezTo>
                  <a:pt x="194" y="107"/>
                  <a:pt x="196" y="106"/>
                  <a:pt x="200" y="103"/>
                </a:cubicBezTo>
                <a:cubicBezTo>
                  <a:pt x="201" y="103"/>
                  <a:pt x="200" y="103"/>
                  <a:pt x="201" y="102"/>
                </a:cubicBezTo>
                <a:cubicBezTo>
                  <a:pt x="202" y="102"/>
                  <a:pt x="205" y="100"/>
                  <a:pt x="205" y="99"/>
                </a:cubicBezTo>
                <a:cubicBezTo>
                  <a:pt x="207" y="98"/>
                  <a:pt x="210" y="96"/>
                  <a:pt x="210" y="97"/>
                </a:cubicBezTo>
                <a:cubicBezTo>
                  <a:pt x="212" y="96"/>
                  <a:pt x="213" y="96"/>
                  <a:pt x="213" y="95"/>
                </a:cubicBezTo>
                <a:cubicBezTo>
                  <a:pt x="211" y="96"/>
                  <a:pt x="215" y="94"/>
                  <a:pt x="214" y="94"/>
                </a:cubicBezTo>
                <a:cubicBezTo>
                  <a:pt x="213" y="95"/>
                  <a:pt x="213" y="94"/>
                  <a:pt x="211" y="95"/>
                </a:cubicBezTo>
                <a:cubicBezTo>
                  <a:pt x="211" y="96"/>
                  <a:pt x="207" y="98"/>
                  <a:pt x="205" y="99"/>
                </a:cubicBezTo>
                <a:cubicBezTo>
                  <a:pt x="205" y="99"/>
                  <a:pt x="202" y="101"/>
                  <a:pt x="202" y="101"/>
                </a:cubicBezTo>
                <a:cubicBezTo>
                  <a:pt x="200" y="101"/>
                  <a:pt x="205" y="99"/>
                  <a:pt x="203" y="100"/>
                </a:cubicBezTo>
                <a:close/>
                <a:moveTo>
                  <a:pt x="201" y="82"/>
                </a:moveTo>
                <a:cubicBezTo>
                  <a:pt x="203" y="81"/>
                  <a:pt x="203" y="82"/>
                  <a:pt x="205" y="81"/>
                </a:cubicBezTo>
                <a:cubicBezTo>
                  <a:pt x="205" y="80"/>
                  <a:pt x="206" y="80"/>
                  <a:pt x="205" y="79"/>
                </a:cubicBezTo>
                <a:cubicBezTo>
                  <a:pt x="203" y="80"/>
                  <a:pt x="202" y="81"/>
                  <a:pt x="201" y="82"/>
                </a:cubicBezTo>
                <a:close/>
                <a:moveTo>
                  <a:pt x="192" y="82"/>
                </a:moveTo>
                <a:cubicBezTo>
                  <a:pt x="192" y="81"/>
                  <a:pt x="194" y="80"/>
                  <a:pt x="194" y="80"/>
                </a:cubicBezTo>
                <a:cubicBezTo>
                  <a:pt x="192" y="80"/>
                  <a:pt x="187" y="84"/>
                  <a:pt x="190" y="83"/>
                </a:cubicBezTo>
                <a:cubicBezTo>
                  <a:pt x="192" y="81"/>
                  <a:pt x="191" y="83"/>
                  <a:pt x="191" y="83"/>
                </a:cubicBezTo>
                <a:cubicBezTo>
                  <a:pt x="192" y="83"/>
                  <a:pt x="194" y="82"/>
                  <a:pt x="195" y="81"/>
                </a:cubicBezTo>
                <a:cubicBezTo>
                  <a:pt x="195" y="81"/>
                  <a:pt x="195" y="82"/>
                  <a:pt x="195" y="82"/>
                </a:cubicBezTo>
                <a:cubicBezTo>
                  <a:pt x="197" y="81"/>
                  <a:pt x="197" y="81"/>
                  <a:pt x="197" y="81"/>
                </a:cubicBezTo>
                <a:cubicBezTo>
                  <a:pt x="197" y="80"/>
                  <a:pt x="197" y="80"/>
                  <a:pt x="197" y="80"/>
                </a:cubicBezTo>
                <a:cubicBezTo>
                  <a:pt x="194" y="82"/>
                  <a:pt x="193" y="81"/>
                  <a:pt x="192" y="82"/>
                </a:cubicBezTo>
                <a:close/>
                <a:moveTo>
                  <a:pt x="196" y="84"/>
                </a:moveTo>
                <a:cubicBezTo>
                  <a:pt x="193" y="86"/>
                  <a:pt x="192" y="85"/>
                  <a:pt x="192" y="85"/>
                </a:cubicBezTo>
                <a:cubicBezTo>
                  <a:pt x="192" y="86"/>
                  <a:pt x="191" y="86"/>
                  <a:pt x="191" y="87"/>
                </a:cubicBezTo>
                <a:cubicBezTo>
                  <a:pt x="193" y="86"/>
                  <a:pt x="192" y="87"/>
                  <a:pt x="194" y="87"/>
                </a:cubicBezTo>
                <a:cubicBezTo>
                  <a:pt x="196" y="86"/>
                  <a:pt x="195" y="86"/>
                  <a:pt x="197" y="85"/>
                </a:cubicBezTo>
                <a:cubicBezTo>
                  <a:pt x="198" y="84"/>
                  <a:pt x="195" y="86"/>
                  <a:pt x="195" y="85"/>
                </a:cubicBezTo>
                <a:cubicBezTo>
                  <a:pt x="195" y="85"/>
                  <a:pt x="198" y="82"/>
                  <a:pt x="196" y="83"/>
                </a:cubicBezTo>
                <a:cubicBezTo>
                  <a:pt x="196" y="83"/>
                  <a:pt x="196" y="83"/>
                  <a:pt x="196" y="84"/>
                </a:cubicBezTo>
                <a:close/>
                <a:moveTo>
                  <a:pt x="187" y="104"/>
                </a:moveTo>
                <a:cubicBezTo>
                  <a:pt x="188" y="103"/>
                  <a:pt x="188" y="105"/>
                  <a:pt x="192" y="103"/>
                </a:cubicBezTo>
                <a:cubicBezTo>
                  <a:pt x="192" y="102"/>
                  <a:pt x="190" y="103"/>
                  <a:pt x="190" y="103"/>
                </a:cubicBezTo>
                <a:cubicBezTo>
                  <a:pt x="192" y="102"/>
                  <a:pt x="193" y="101"/>
                  <a:pt x="194" y="99"/>
                </a:cubicBezTo>
                <a:cubicBezTo>
                  <a:pt x="195" y="100"/>
                  <a:pt x="195" y="100"/>
                  <a:pt x="195" y="100"/>
                </a:cubicBezTo>
                <a:cubicBezTo>
                  <a:pt x="197" y="98"/>
                  <a:pt x="198" y="98"/>
                  <a:pt x="201" y="96"/>
                </a:cubicBezTo>
                <a:cubicBezTo>
                  <a:pt x="200" y="96"/>
                  <a:pt x="201" y="94"/>
                  <a:pt x="200" y="95"/>
                </a:cubicBezTo>
                <a:cubicBezTo>
                  <a:pt x="196" y="97"/>
                  <a:pt x="191" y="101"/>
                  <a:pt x="189" y="102"/>
                </a:cubicBezTo>
                <a:cubicBezTo>
                  <a:pt x="188" y="103"/>
                  <a:pt x="191" y="102"/>
                  <a:pt x="188" y="103"/>
                </a:cubicBezTo>
                <a:cubicBezTo>
                  <a:pt x="188" y="103"/>
                  <a:pt x="187" y="104"/>
                  <a:pt x="187" y="104"/>
                </a:cubicBezTo>
                <a:close/>
                <a:moveTo>
                  <a:pt x="198" y="107"/>
                </a:moveTo>
                <a:cubicBezTo>
                  <a:pt x="200" y="106"/>
                  <a:pt x="201" y="105"/>
                  <a:pt x="202" y="105"/>
                </a:cubicBezTo>
                <a:cubicBezTo>
                  <a:pt x="201" y="105"/>
                  <a:pt x="199" y="106"/>
                  <a:pt x="198" y="106"/>
                </a:cubicBezTo>
                <a:cubicBezTo>
                  <a:pt x="200" y="105"/>
                  <a:pt x="200" y="104"/>
                  <a:pt x="202" y="103"/>
                </a:cubicBezTo>
                <a:cubicBezTo>
                  <a:pt x="201" y="104"/>
                  <a:pt x="203" y="102"/>
                  <a:pt x="205" y="102"/>
                </a:cubicBezTo>
                <a:cubicBezTo>
                  <a:pt x="204" y="101"/>
                  <a:pt x="200" y="104"/>
                  <a:pt x="197" y="105"/>
                </a:cubicBezTo>
                <a:cubicBezTo>
                  <a:pt x="199" y="105"/>
                  <a:pt x="196" y="108"/>
                  <a:pt x="198" y="107"/>
                </a:cubicBezTo>
                <a:close/>
                <a:moveTo>
                  <a:pt x="186" y="99"/>
                </a:moveTo>
                <a:cubicBezTo>
                  <a:pt x="183" y="101"/>
                  <a:pt x="173" y="108"/>
                  <a:pt x="182" y="103"/>
                </a:cubicBezTo>
                <a:cubicBezTo>
                  <a:pt x="183" y="101"/>
                  <a:pt x="187" y="99"/>
                  <a:pt x="183" y="102"/>
                </a:cubicBezTo>
                <a:cubicBezTo>
                  <a:pt x="186" y="100"/>
                  <a:pt x="187" y="99"/>
                  <a:pt x="188" y="98"/>
                </a:cubicBezTo>
                <a:cubicBezTo>
                  <a:pt x="187" y="99"/>
                  <a:pt x="187" y="98"/>
                  <a:pt x="186" y="99"/>
                </a:cubicBezTo>
                <a:close/>
                <a:moveTo>
                  <a:pt x="169" y="89"/>
                </a:moveTo>
                <a:cubicBezTo>
                  <a:pt x="171" y="89"/>
                  <a:pt x="178" y="83"/>
                  <a:pt x="174" y="85"/>
                </a:cubicBezTo>
                <a:cubicBezTo>
                  <a:pt x="174" y="86"/>
                  <a:pt x="171" y="88"/>
                  <a:pt x="169" y="89"/>
                </a:cubicBezTo>
                <a:close/>
                <a:moveTo>
                  <a:pt x="182" y="123"/>
                </a:moveTo>
                <a:cubicBezTo>
                  <a:pt x="187" y="120"/>
                  <a:pt x="189" y="118"/>
                  <a:pt x="195" y="114"/>
                </a:cubicBezTo>
                <a:cubicBezTo>
                  <a:pt x="194" y="115"/>
                  <a:pt x="195" y="113"/>
                  <a:pt x="194" y="114"/>
                </a:cubicBezTo>
                <a:cubicBezTo>
                  <a:pt x="194" y="114"/>
                  <a:pt x="191" y="117"/>
                  <a:pt x="189" y="118"/>
                </a:cubicBezTo>
                <a:cubicBezTo>
                  <a:pt x="190" y="117"/>
                  <a:pt x="190" y="117"/>
                  <a:pt x="190" y="116"/>
                </a:cubicBezTo>
                <a:cubicBezTo>
                  <a:pt x="188" y="118"/>
                  <a:pt x="186" y="120"/>
                  <a:pt x="183" y="121"/>
                </a:cubicBezTo>
                <a:cubicBezTo>
                  <a:pt x="184" y="121"/>
                  <a:pt x="184" y="120"/>
                  <a:pt x="183" y="121"/>
                </a:cubicBezTo>
                <a:cubicBezTo>
                  <a:pt x="183" y="121"/>
                  <a:pt x="182" y="123"/>
                  <a:pt x="182" y="123"/>
                </a:cubicBezTo>
                <a:close/>
                <a:moveTo>
                  <a:pt x="178" y="110"/>
                </a:moveTo>
                <a:cubicBezTo>
                  <a:pt x="180" y="109"/>
                  <a:pt x="180" y="109"/>
                  <a:pt x="180" y="109"/>
                </a:cubicBezTo>
                <a:cubicBezTo>
                  <a:pt x="178" y="111"/>
                  <a:pt x="182" y="109"/>
                  <a:pt x="182" y="108"/>
                </a:cubicBezTo>
                <a:cubicBezTo>
                  <a:pt x="181" y="108"/>
                  <a:pt x="179" y="109"/>
                  <a:pt x="178" y="110"/>
                </a:cubicBezTo>
                <a:close/>
                <a:moveTo>
                  <a:pt x="178" y="117"/>
                </a:moveTo>
                <a:cubicBezTo>
                  <a:pt x="177" y="118"/>
                  <a:pt x="176" y="118"/>
                  <a:pt x="175" y="120"/>
                </a:cubicBezTo>
                <a:cubicBezTo>
                  <a:pt x="176" y="119"/>
                  <a:pt x="176" y="119"/>
                  <a:pt x="177" y="119"/>
                </a:cubicBezTo>
                <a:cubicBezTo>
                  <a:pt x="178" y="118"/>
                  <a:pt x="182" y="116"/>
                  <a:pt x="181" y="116"/>
                </a:cubicBezTo>
                <a:cubicBezTo>
                  <a:pt x="177" y="119"/>
                  <a:pt x="181" y="114"/>
                  <a:pt x="178" y="117"/>
                </a:cubicBezTo>
                <a:close/>
                <a:moveTo>
                  <a:pt x="164" y="122"/>
                </a:moveTo>
                <a:cubicBezTo>
                  <a:pt x="169" y="117"/>
                  <a:pt x="172" y="117"/>
                  <a:pt x="177" y="112"/>
                </a:cubicBezTo>
                <a:cubicBezTo>
                  <a:pt x="174" y="114"/>
                  <a:pt x="176" y="112"/>
                  <a:pt x="174" y="113"/>
                </a:cubicBezTo>
                <a:cubicBezTo>
                  <a:pt x="171" y="116"/>
                  <a:pt x="165" y="119"/>
                  <a:pt x="164" y="122"/>
                </a:cubicBezTo>
                <a:close/>
                <a:moveTo>
                  <a:pt x="159" y="111"/>
                </a:moveTo>
                <a:cubicBezTo>
                  <a:pt x="160" y="110"/>
                  <a:pt x="164" y="108"/>
                  <a:pt x="164" y="107"/>
                </a:cubicBezTo>
                <a:cubicBezTo>
                  <a:pt x="162" y="109"/>
                  <a:pt x="158" y="112"/>
                  <a:pt x="159" y="111"/>
                </a:cubicBezTo>
                <a:close/>
                <a:moveTo>
                  <a:pt x="170" y="123"/>
                </a:moveTo>
                <a:cubicBezTo>
                  <a:pt x="172" y="122"/>
                  <a:pt x="175" y="118"/>
                  <a:pt x="172" y="121"/>
                </a:cubicBezTo>
                <a:cubicBezTo>
                  <a:pt x="172" y="121"/>
                  <a:pt x="173" y="120"/>
                  <a:pt x="173" y="121"/>
                </a:cubicBezTo>
                <a:cubicBezTo>
                  <a:pt x="172" y="121"/>
                  <a:pt x="168" y="124"/>
                  <a:pt x="170" y="123"/>
                </a:cubicBezTo>
                <a:close/>
                <a:moveTo>
                  <a:pt x="125" y="113"/>
                </a:moveTo>
                <a:cubicBezTo>
                  <a:pt x="123" y="114"/>
                  <a:pt x="123" y="114"/>
                  <a:pt x="123" y="114"/>
                </a:cubicBezTo>
                <a:cubicBezTo>
                  <a:pt x="123" y="115"/>
                  <a:pt x="122" y="116"/>
                  <a:pt x="123" y="115"/>
                </a:cubicBezTo>
                <a:cubicBezTo>
                  <a:pt x="125" y="114"/>
                  <a:pt x="125" y="114"/>
                  <a:pt x="125" y="113"/>
                </a:cubicBezTo>
                <a:cubicBezTo>
                  <a:pt x="125" y="113"/>
                  <a:pt x="126" y="113"/>
                  <a:pt x="126" y="112"/>
                </a:cubicBezTo>
                <a:cubicBezTo>
                  <a:pt x="125" y="113"/>
                  <a:pt x="125" y="113"/>
                  <a:pt x="125" y="113"/>
                </a:cubicBezTo>
                <a:close/>
                <a:moveTo>
                  <a:pt x="107" y="138"/>
                </a:moveTo>
                <a:cubicBezTo>
                  <a:pt x="106" y="138"/>
                  <a:pt x="106" y="138"/>
                  <a:pt x="105" y="139"/>
                </a:cubicBezTo>
                <a:cubicBezTo>
                  <a:pt x="105" y="138"/>
                  <a:pt x="107" y="136"/>
                  <a:pt x="107" y="136"/>
                </a:cubicBezTo>
                <a:cubicBezTo>
                  <a:pt x="105" y="138"/>
                  <a:pt x="104" y="139"/>
                  <a:pt x="102" y="141"/>
                </a:cubicBezTo>
                <a:cubicBezTo>
                  <a:pt x="104" y="141"/>
                  <a:pt x="106" y="140"/>
                  <a:pt x="108" y="139"/>
                </a:cubicBezTo>
                <a:cubicBezTo>
                  <a:pt x="104" y="141"/>
                  <a:pt x="110" y="134"/>
                  <a:pt x="107" y="137"/>
                </a:cubicBezTo>
                <a:cubicBezTo>
                  <a:pt x="107" y="137"/>
                  <a:pt x="107" y="137"/>
                  <a:pt x="107" y="138"/>
                </a:cubicBezTo>
                <a:close/>
                <a:moveTo>
                  <a:pt x="128" y="160"/>
                </a:moveTo>
                <a:cubicBezTo>
                  <a:pt x="127" y="161"/>
                  <a:pt x="126" y="161"/>
                  <a:pt x="126" y="161"/>
                </a:cubicBezTo>
                <a:cubicBezTo>
                  <a:pt x="125" y="163"/>
                  <a:pt x="128" y="160"/>
                  <a:pt x="128" y="162"/>
                </a:cubicBezTo>
                <a:cubicBezTo>
                  <a:pt x="127" y="163"/>
                  <a:pt x="126" y="164"/>
                  <a:pt x="125" y="164"/>
                </a:cubicBezTo>
                <a:cubicBezTo>
                  <a:pt x="125" y="165"/>
                  <a:pt x="128" y="162"/>
                  <a:pt x="129" y="162"/>
                </a:cubicBezTo>
                <a:cubicBezTo>
                  <a:pt x="128" y="162"/>
                  <a:pt x="127" y="163"/>
                  <a:pt x="127" y="163"/>
                </a:cubicBezTo>
                <a:cubicBezTo>
                  <a:pt x="131" y="161"/>
                  <a:pt x="128" y="162"/>
                  <a:pt x="131" y="159"/>
                </a:cubicBezTo>
                <a:cubicBezTo>
                  <a:pt x="130" y="159"/>
                  <a:pt x="127" y="162"/>
                  <a:pt x="128" y="160"/>
                </a:cubicBezTo>
                <a:close/>
                <a:moveTo>
                  <a:pt x="95" y="148"/>
                </a:moveTo>
                <a:cubicBezTo>
                  <a:pt x="95" y="148"/>
                  <a:pt x="96" y="148"/>
                  <a:pt x="96" y="148"/>
                </a:cubicBezTo>
                <a:cubicBezTo>
                  <a:pt x="94" y="149"/>
                  <a:pt x="94" y="150"/>
                  <a:pt x="94" y="150"/>
                </a:cubicBezTo>
                <a:cubicBezTo>
                  <a:pt x="98" y="147"/>
                  <a:pt x="99" y="145"/>
                  <a:pt x="101" y="143"/>
                </a:cubicBezTo>
                <a:cubicBezTo>
                  <a:pt x="102" y="143"/>
                  <a:pt x="102" y="142"/>
                  <a:pt x="102" y="141"/>
                </a:cubicBezTo>
                <a:cubicBezTo>
                  <a:pt x="100" y="143"/>
                  <a:pt x="97" y="147"/>
                  <a:pt x="95" y="148"/>
                </a:cubicBezTo>
                <a:close/>
                <a:moveTo>
                  <a:pt x="110" y="169"/>
                </a:moveTo>
                <a:cubicBezTo>
                  <a:pt x="110" y="169"/>
                  <a:pt x="111" y="169"/>
                  <a:pt x="111" y="169"/>
                </a:cubicBezTo>
                <a:cubicBezTo>
                  <a:pt x="110" y="170"/>
                  <a:pt x="109" y="171"/>
                  <a:pt x="109" y="171"/>
                </a:cubicBezTo>
                <a:cubicBezTo>
                  <a:pt x="112" y="168"/>
                  <a:pt x="113" y="166"/>
                  <a:pt x="114" y="165"/>
                </a:cubicBezTo>
                <a:cubicBezTo>
                  <a:pt x="114" y="165"/>
                  <a:pt x="114" y="165"/>
                  <a:pt x="114" y="165"/>
                </a:cubicBezTo>
                <a:cubicBezTo>
                  <a:pt x="112" y="167"/>
                  <a:pt x="111" y="169"/>
                  <a:pt x="110" y="169"/>
                </a:cubicBezTo>
                <a:close/>
                <a:moveTo>
                  <a:pt x="91" y="154"/>
                </a:moveTo>
                <a:cubicBezTo>
                  <a:pt x="92" y="155"/>
                  <a:pt x="92" y="155"/>
                  <a:pt x="92" y="155"/>
                </a:cubicBezTo>
                <a:cubicBezTo>
                  <a:pt x="94" y="153"/>
                  <a:pt x="93" y="153"/>
                  <a:pt x="94" y="152"/>
                </a:cubicBezTo>
                <a:cubicBezTo>
                  <a:pt x="94" y="152"/>
                  <a:pt x="94" y="152"/>
                  <a:pt x="95" y="152"/>
                </a:cubicBezTo>
                <a:cubicBezTo>
                  <a:pt x="95" y="152"/>
                  <a:pt x="95" y="151"/>
                  <a:pt x="95" y="151"/>
                </a:cubicBezTo>
                <a:cubicBezTo>
                  <a:pt x="94" y="151"/>
                  <a:pt x="94" y="151"/>
                  <a:pt x="94" y="152"/>
                </a:cubicBezTo>
                <a:cubicBezTo>
                  <a:pt x="93" y="153"/>
                  <a:pt x="93" y="153"/>
                  <a:pt x="91" y="154"/>
                </a:cubicBezTo>
                <a:close/>
                <a:moveTo>
                  <a:pt x="92" y="162"/>
                </a:moveTo>
                <a:cubicBezTo>
                  <a:pt x="94" y="162"/>
                  <a:pt x="97" y="157"/>
                  <a:pt x="99" y="155"/>
                </a:cubicBezTo>
                <a:cubicBezTo>
                  <a:pt x="96" y="158"/>
                  <a:pt x="95" y="159"/>
                  <a:pt x="92" y="162"/>
                </a:cubicBezTo>
                <a:close/>
                <a:moveTo>
                  <a:pt x="88" y="161"/>
                </a:moveTo>
                <a:cubicBezTo>
                  <a:pt x="87" y="161"/>
                  <a:pt x="87" y="161"/>
                  <a:pt x="87" y="161"/>
                </a:cubicBezTo>
                <a:cubicBezTo>
                  <a:pt x="87" y="161"/>
                  <a:pt x="87" y="161"/>
                  <a:pt x="87" y="161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3"/>
                  <a:pt x="87" y="163"/>
                </a:cubicBezTo>
                <a:cubicBezTo>
                  <a:pt x="87" y="163"/>
                  <a:pt x="87" y="162"/>
                  <a:pt x="87" y="162"/>
                </a:cubicBezTo>
                <a:cubicBezTo>
                  <a:pt x="87" y="162"/>
                  <a:pt x="87" y="162"/>
                  <a:pt x="88" y="161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8" y="162"/>
                  <a:pt x="90" y="159"/>
                  <a:pt x="91" y="158"/>
                </a:cubicBezTo>
                <a:cubicBezTo>
                  <a:pt x="91" y="157"/>
                  <a:pt x="93" y="157"/>
                  <a:pt x="94" y="156"/>
                </a:cubicBezTo>
                <a:cubicBezTo>
                  <a:pt x="92" y="156"/>
                  <a:pt x="90" y="158"/>
                  <a:pt x="88" y="161"/>
                </a:cubicBezTo>
                <a:close/>
                <a:moveTo>
                  <a:pt x="106" y="176"/>
                </a:moveTo>
                <a:cubicBezTo>
                  <a:pt x="106" y="177"/>
                  <a:pt x="105" y="177"/>
                  <a:pt x="105" y="178"/>
                </a:cubicBezTo>
                <a:cubicBezTo>
                  <a:pt x="104" y="178"/>
                  <a:pt x="104" y="178"/>
                  <a:pt x="104" y="178"/>
                </a:cubicBezTo>
                <a:cubicBezTo>
                  <a:pt x="104" y="179"/>
                  <a:pt x="103" y="179"/>
                  <a:pt x="103" y="180"/>
                </a:cubicBezTo>
                <a:cubicBezTo>
                  <a:pt x="104" y="179"/>
                  <a:pt x="104" y="180"/>
                  <a:pt x="104" y="179"/>
                </a:cubicBezTo>
                <a:cubicBezTo>
                  <a:pt x="105" y="179"/>
                  <a:pt x="105" y="180"/>
                  <a:pt x="106" y="179"/>
                </a:cubicBezTo>
                <a:cubicBezTo>
                  <a:pt x="105" y="179"/>
                  <a:pt x="105" y="179"/>
                  <a:pt x="105" y="179"/>
                </a:cubicBezTo>
                <a:cubicBezTo>
                  <a:pt x="105" y="178"/>
                  <a:pt x="105" y="179"/>
                  <a:pt x="106" y="178"/>
                </a:cubicBezTo>
                <a:cubicBezTo>
                  <a:pt x="105" y="179"/>
                  <a:pt x="108" y="175"/>
                  <a:pt x="108" y="175"/>
                </a:cubicBezTo>
                <a:cubicBezTo>
                  <a:pt x="108" y="175"/>
                  <a:pt x="108" y="175"/>
                  <a:pt x="109" y="175"/>
                </a:cubicBezTo>
                <a:cubicBezTo>
                  <a:pt x="108" y="175"/>
                  <a:pt x="107" y="175"/>
                  <a:pt x="106" y="176"/>
                </a:cubicBezTo>
                <a:close/>
                <a:moveTo>
                  <a:pt x="109" y="180"/>
                </a:moveTo>
                <a:cubicBezTo>
                  <a:pt x="108" y="180"/>
                  <a:pt x="108" y="180"/>
                  <a:pt x="108" y="180"/>
                </a:cubicBezTo>
                <a:cubicBezTo>
                  <a:pt x="108" y="181"/>
                  <a:pt x="108" y="181"/>
                  <a:pt x="108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6" y="182"/>
                  <a:pt x="106" y="183"/>
                  <a:pt x="105" y="184"/>
                </a:cubicBezTo>
                <a:cubicBezTo>
                  <a:pt x="106" y="184"/>
                  <a:pt x="107" y="183"/>
                  <a:pt x="107" y="182"/>
                </a:cubicBezTo>
                <a:cubicBezTo>
                  <a:pt x="108" y="182"/>
                  <a:pt x="108" y="182"/>
                  <a:pt x="108" y="182"/>
                </a:cubicBezTo>
                <a:cubicBezTo>
                  <a:pt x="108" y="182"/>
                  <a:pt x="108" y="182"/>
                  <a:pt x="110" y="180"/>
                </a:cubicBezTo>
                <a:cubicBezTo>
                  <a:pt x="110" y="180"/>
                  <a:pt x="109" y="180"/>
                  <a:pt x="109" y="180"/>
                </a:cubicBezTo>
                <a:close/>
                <a:moveTo>
                  <a:pt x="88" y="171"/>
                </a:moveTo>
                <a:cubicBezTo>
                  <a:pt x="89" y="170"/>
                  <a:pt x="88" y="170"/>
                  <a:pt x="88" y="170"/>
                </a:cubicBezTo>
                <a:cubicBezTo>
                  <a:pt x="89" y="171"/>
                  <a:pt x="90" y="169"/>
                  <a:pt x="90" y="169"/>
                </a:cubicBezTo>
                <a:cubicBezTo>
                  <a:pt x="90" y="169"/>
                  <a:pt x="90" y="168"/>
                  <a:pt x="89" y="169"/>
                </a:cubicBezTo>
                <a:cubicBezTo>
                  <a:pt x="89" y="169"/>
                  <a:pt x="88" y="170"/>
                  <a:pt x="88" y="171"/>
                </a:cubicBezTo>
                <a:close/>
                <a:moveTo>
                  <a:pt x="98" y="180"/>
                </a:moveTo>
                <a:cubicBezTo>
                  <a:pt x="99" y="179"/>
                  <a:pt x="99" y="180"/>
                  <a:pt x="100" y="180"/>
                </a:cubicBezTo>
                <a:cubicBezTo>
                  <a:pt x="99" y="179"/>
                  <a:pt x="98" y="179"/>
                  <a:pt x="98" y="180"/>
                </a:cubicBezTo>
                <a:close/>
                <a:moveTo>
                  <a:pt x="102" y="183"/>
                </a:moveTo>
                <a:cubicBezTo>
                  <a:pt x="102" y="182"/>
                  <a:pt x="101" y="182"/>
                  <a:pt x="102" y="182"/>
                </a:cubicBezTo>
                <a:cubicBezTo>
                  <a:pt x="102" y="182"/>
                  <a:pt x="102" y="183"/>
                  <a:pt x="102" y="182"/>
                </a:cubicBezTo>
                <a:cubicBezTo>
                  <a:pt x="102" y="182"/>
                  <a:pt x="101" y="182"/>
                  <a:pt x="101" y="182"/>
                </a:cubicBezTo>
                <a:cubicBezTo>
                  <a:pt x="102" y="182"/>
                  <a:pt x="101" y="183"/>
                  <a:pt x="102" y="183"/>
                </a:cubicBezTo>
                <a:close/>
                <a:moveTo>
                  <a:pt x="102" y="191"/>
                </a:moveTo>
                <a:cubicBezTo>
                  <a:pt x="102" y="191"/>
                  <a:pt x="104" y="189"/>
                  <a:pt x="104" y="188"/>
                </a:cubicBezTo>
                <a:cubicBezTo>
                  <a:pt x="103" y="187"/>
                  <a:pt x="103" y="186"/>
                  <a:pt x="102" y="187"/>
                </a:cubicBezTo>
                <a:cubicBezTo>
                  <a:pt x="104" y="188"/>
                  <a:pt x="101" y="190"/>
                  <a:pt x="102" y="191"/>
                </a:cubicBezTo>
                <a:close/>
                <a:moveTo>
                  <a:pt x="100" y="187"/>
                </a:moveTo>
                <a:cubicBezTo>
                  <a:pt x="100" y="187"/>
                  <a:pt x="99" y="187"/>
                  <a:pt x="100" y="187"/>
                </a:cubicBezTo>
                <a:cubicBezTo>
                  <a:pt x="100" y="187"/>
                  <a:pt x="101" y="187"/>
                  <a:pt x="101" y="187"/>
                </a:cubicBezTo>
                <a:cubicBezTo>
                  <a:pt x="100" y="187"/>
                  <a:pt x="100" y="187"/>
                  <a:pt x="100" y="187"/>
                </a:cubicBezTo>
                <a:close/>
                <a:moveTo>
                  <a:pt x="99" y="192"/>
                </a:moveTo>
                <a:cubicBezTo>
                  <a:pt x="97" y="193"/>
                  <a:pt x="94" y="197"/>
                  <a:pt x="94" y="198"/>
                </a:cubicBezTo>
                <a:cubicBezTo>
                  <a:pt x="95" y="197"/>
                  <a:pt x="96" y="196"/>
                  <a:pt x="97" y="194"/>
                </a:cubicBezTo>
                <a:cubicBezTo>
                  <a:pt x="97" y="195"/>
                  <a:pt x="97" y="195"/>
                  <a:pt x="97" y="194"/>
                </a:cubicBezTo>
                <a:cubicBezTo>
                  <a:pt x="98" y="192"/>
                  <a:pt x="101" y="192"/>
                  <a:pt x="102" y="189"/>
                </a:cubicBezTo>
                <a:cubicBezTo>
                  <a:pt x="101" y="189"/>
                  <a:pt x="101" y="190"/>
                  <a:pt x="101" y="190"/>
                </a:cubicBezTo>
                <a:cubicBezTo>
                  <a:pt x="100" y="189"/>
                  <a:pt x="102" y="189"/>
                  <a:pt x="102" y="188"/>
                </a:cubicBezTo>
                <a:cubicBezTo>
                  <a:pt x="100" y="189"/>
                  <a:pt x="100" y="191"/>
                  <a:pt x="98" y="191"/>
                </a:cubicBezTo>
                <a:cubicBezTo>
                  <a:pt x="99" y="191"/>
                  <a:pt x="99" y="192"/>
                  <a:pt x="99" y="192"/>
                </a:cubicBezTo>
                <a:close/>
                <a:moveTo>
                  <a:pt x="95" y="191"/>
                </a:moveTo>
                <a:cubicBezTo>
                  <a:pt x="96" y="191"/>
                  <a:pt x="95" y="192"/>
                  <a:pt x="96" y="192"/>
                </a:cubicBezTo>
                <a:cubicBezTo>
                  <a:pt x="96" y="191"/>
                  <a:pt x="98" y="191"/>
                  <a:pt x="97" y="190"/>
                </a:cubicBezTo>
                <a:cubicBezTo>
                  <a:pt x="98" y="190"/>
                  <a:pt x="98" y="189"/>
                  <a:pt x="98" y="189"/>
                </a:cubicBezTo>
                <a:cubicBezTo>
                  <a:pt x="98" y="189"/>
                  <a:pt x="97" y="189"/>
                  <a:pt x="98" y="189"/>
                </a:cubicBezTo>
                <a:cubicBezTo>
                  <a:pt x="98" y="189"/>
                  <a:pt x="99" y="189"/>
                  <a:pt x="100" y="188"/>
                </a:cubicBezTo>
                <a:cubicBezTo>
                  <a:pt x="99" y="187"/>
                  <a:pt x="99" y="187"/>
                  <a:pt x="99" y="187"/>
                </a:cubicBezTo>
                <a:cubicBezTo>
                  <a:pt x="98" y="187"/>
                  <a:pt x="99" y="188"/>
                  <a:pt x="98" y="188"/>
                </a:cubicBezTo>
                <a:cubicBezTo>
                  <a:pt x="98" y="187"/>
                  <a:pt x="96" y="189"/>
                  <a:pt x="97" y="190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0"/>
                  <a:pt x="97" y="190"/>
                  <a:pt x="96" y="191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1"/>
                  <a:pt x="96" y="191"/>
                  <a:pt x="95" y="191"/>
                </a:cubicBezTo>
                <a:close/>
                <a:moveTo>
                  <a:pt x="85" y="191"/>
                </a:moveTo>
                <a:cubicBezTo>
                  <a:pt x="85" y="194"/>
                  <a:pt x="82" y="195"/>
                  <a:pt x="81" y="197"/>
                </a:cubicBezTo>
                <a:cubicBezTo>
                  <a:pt x="82" y="198"/>
                  <a:pt x="82" y="197"/>
                  <a:pt x="82" y="197"/>
                </a:cubicBezTo>
                <a:cubicBezTo>
                  <a:pt x="84" y="195"/>
                  <a:pt x="85" y="193"/>
                  <a:pt x="87" y="192"/>
                </a:cubicBezTo>
                <a:cubicBezTo>
                  <a:pt x="87" y="192"/>
                  <a:pt x="87" y="193"/>
                  <a:pt x="88" y="193"/>
                </a:cubicBezTo>
                <a:cubicBezTo>
                  <a:pt x="88" y="193"/>
                  <a:pt x="89" y="191"/>
                  <a:pt x="90" y="191"/>
                </a:cubicBezTo>
                <a:cubicBezTo>
                  <a:pt x="89" y="190"/>
                  <a:pt x="89" y="190"/>
                  <a:pt x="89" y="190"/>
                </a:cubicBezTo>
                <a:cubicBezTo>
                  <a:pt x="89" y="191"/>
                  <a:pt x="88" y="193"/>
                  <a:pt x="87" y="192"/>
                </a:cubicBezTo>
                <a:cubicBezTo>
                  <a:pt x="87" y="191"/>
                  <a:pt x="88" y="190"/>
                  <a:pt x="89" y="189"/>
                </a:cubicBezTo>
                <a:cubicBezTo>
                  <a:pt x="88" y="189"/>
                  <a:pt x="88" y="188"/>
                  <a:pt x="87" y="189"/>
                </a:cubicBezTo>
                <a:cubicBezTo>
                  <a:pt x="88" y="189"/>
                  <a:pt x="87" y="190"/>
                  <a:pt x="88" y="190"/>
                </a:cubicBezTo>
                <a:cubicBezTo>
                  <a:pt x="87" y="190"/>
                  <a:pt x="88" y="190"/>
                  <a:pt x="87" y="190"/>
                </a:cubicBezTo>
                <a:cubicBezTo>
                  <a:pt x="86" y="190"/>
                  <a:pt x="86" y="192"/>
                  <a:pt x="85" y="191"/>
                </a:cubicBezTo>
                <a:cubicBezTo>
                  <a:pt x="86" y="191"/>
                  <a:pt x="86" y="191"/>
                  <a:pt x="86" y="191"/>
                </a:cubicBezTo>
                <a:cubicBezTo>
                  <a:pt x="85" y="191"/>
                  <a:pt x="86" y="191"/>
                  <a:pt x="85" y="191"/>
                </a:cubicBezTo>
                <a:close/>
                <a:moveTo>
                  <a:pt x="94" y="201"/>
                </a:moveTo>
                <a:cubicBezTo>
                  <a:pt x="95" y="200"/>
                  <a:pt x="94" y="199"/>
                  <a:pt x="95" y="200"/>
                </a:cubicBezTo>
                <a:cubicBezTo>
                  <a:pt x="95" y="199"/>
                  <a:pt x="95" y="199"/>
                  <a:pt x="96" y="199"/>
                </a:cubicBezTo>
                <a:cubicBezTo>
                  <a:pt x="94" y="198"/>
                  <a:pt x="94" y="200"/>
                  <a:pt x="94" y="201"/>
                </a:cubicBezTo>
                <a:close/>
                <a:moveTo>
                  <a:pt x="93" y="198"/>
                </a:moveTo>
                <a:cubicBezTo>
                  <a:pt x="93" y="199"/>
                  <a:pt x="93" y="199"/>
                  <a:pt x="92" y="199"/>
                </a:cubicBezTo>
                <a:cubicBezTo>
                  <a:pt x="93" y="200"/>
                  <a:pt x="91" y="200"/>
                  <a:pt x="92" y="200"/>
                </a:cubicBezTo>
                <a:cubicBezTo>
                  <a:pt x="92" y="199"/>
                  <a:pt x="94" y="199"/>
                  <a:pt x="93" y="198"/>
                </a:cubicBezTo>
                <a:close/>
                <a:moveTo>
                  <a:pt x="91" y="201"/>
                </a:moveTo>
                <a:cubicBezTo>
                  <a:pt x="91" y="202"/>
                  <a:pt x="91" y="201"/>
                  <a:pt x="90" y="201"/>
                </a:cubicBezTo>
                <a:cubicBezTo>
                  <a:pt x="90" y="202"/>
                  <a:pt x="91" y="202"/>
                  <a:pt x="91" y="202"/>
                </a:cubicBezTo>
                <a:cubicBezTo>
                  <a:pt x="91" y="202"/>
                  <a:pt x="91" y="202"/>
                  <a:pt x="91" y="203"/>
                </a:cubicBezTo>
                <a:cubicBezTo>
                  <a:pt x="91" y="202"/>
                  <a:pt x="92" y="202"/>
                  <a:pt x="91" y="202"/>
                </a:cubicBezTo>
                <a:cubicBezTo>
                  <a:pt x="92" y="201"/>
                  <a:pt x="92" y="202"/>
                  <a:pt x="92" y="201"/>
                </a:cubicBezTo>
                <a:cubicBezTo>
                  <a:pt x="92" y="201"/>
                  <a:pt x="92" y="201"/>
                  <a:pt x="92" y="201"/>
                </a:cubicBezTo>
                <a:cubicBezTo>
                  <a:pt x="92" y="200"/>
                  <a:pt x="92" y="201"/>
                  <a:pt x="93" y="201"/>
                </a:cubicBezTo>
                <a:cubicBezTo>
                  <a:pt x="93" y="200"/>
                  <a:pt x="93" y="200"/>
                  <a:pt x="93" y="200"/>
                </a:cubicBezTo>
                <a:cubicBezTo>
                  <a:pt x="92" y="199"/>
                  <a:pt x="92" y="201"/>
                  <a:pt x="91" y="201"/>
                </a:cubicBezTo>
                <a:close/>
                <a:moveTo>
                  <a:pt x="87" y="202"/>
                </a:moveTo>
                <a:cubicBezTo>
                  <a:pt x="87" y="203"/>
                  <a:pt x="86" y="204"/>
                  <a:pt x="86" y="205"/>
                </a:cubicBezTo>
                <a:cubicBezTo>
                  <a:pt x="88" y="203"/>
                  <a:pt x="89" y="204"/>
                  <a:pt x="90" y="205"/>
                </a:cubicBezTo>
                <a:cubicBezTo>
                  <a:pt x="89" y="204"/>
                  <a:pt x="90" y="204"/>
                  <a:pt x="90" y="204"/>
                </a:cubicBezTo>
                <a:cubicBezTo>
                  <a:pt x="90" y="204"/>
                  <a:pt x="89" y="204"/>
                  <a:pt x="89" y="203"/>
                </a:cubicBezTo>
                <a:cubicBezTo>
                  <a:pt x="89" y="204"/>
                  <a:pt x="89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2"/>
                  <a:pt x="89" y="202"/>
                </a:cubicBezTo>
                <a:cubicBezTo>
                  <a:pt x="87" y="202"/>
                  <a:pt x="88" y="201"/>
                  <a:pt x="87" y="202"/>
                </a:cubicBezTo>
                <a:close/>
                <a:moveTo>
                  <a:pt x="64" y="186"/>
                </a:move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4" y="186"/>
                  <a:pt x="64" y="186"/>
                </a:cubicBezTo>
                <a:close/>
                <a:moveTo>
                  <a:pt x="86" y="208"/>
                </a:moveTo>
                <a:cubicBezTo>
                  <a:pt x="86" y="208"/>
                  <a:pt x="86" y="207"/>
                  <a:pt x="86" y="207"/>
                </a:cubicBezTo>
                <a:cubicBezTo>
                  <a:pt x="85" y="207"/>
                  <a:pt x="87" y="207"/>
                  <a:pt x="87" y="206"/>
                </a:cubicBezTo>
                <a:cubicBezTo>
                  <a:pt x="86" y="206"/>
                  <a:pt x="85" y="208"/>
                  <a:pt x="86" y="208"/>
                </a:cubicBezTo>
                <a:close/>
                <a:moveTo>
                  <a:pt x="84" y="206"/>
                </a:moveTo>
                <a:cubicBezTo>
                  <a:pt x="84" y="206"/>
                  <a:pt x="84" y="207"/>
                  <a:pt x="85" y="206"/>
                </a:cubicBezTo>
                <a:cubicBezTo>
                  <a:pt x="84" y="206"/>
                  <a:pt x="84" y="205"/>
                  <a:pt x="84" y="206"/>
                </a:cubicBezTo>
                <a:cubicBezTo>
                  <a:pt x="84" y="206"/>
                  <a:pt x="83" y="205"/>
                  <a:pt x="84" y="206"/>
                </a:cubicBezTo>
                <a:close/>
                <a:moveTo>
                  <a:pt x="79" y="215"/>
                </a:moveTo>
                <a:cubicBezTo>
                  <a:pt x="79" y="215"/>
                  <a:pt x="79" y="215"/>
                  <a:pt x="80" y="215"/>
                </a:cubicBezTo>
                <a:cubicBezTo>
                  <a:pt x="80" y="214"/>
                  <a:pt x="82" y="213"/>
                  <a:pt x="81" y="212"/>
                </a:cubicBezTo>
                <a:cubicBezTo>
                  <a:pt x="81" y="212"/>
                  <a:pt x="81" y="212"/>
                  <a:pt x="81" y="212"/>
                </a:cubicBezTo>
                <a:cubicBezTo>
                  <a:pt x="81" y="212"/>
                  <a:pt x="80" y="212"/>
                  <a:pt x="80" y="212"/>
                </a:cubicBezTo>
                <a:cubicBezTo>
                  <a:pt x="81" y="212"/>
                  <a:pt x="81" y="212"/>
                  <a:pt x="81" y="213"/>
                </a:cubicBezTo>
                <a:cubicBezTo>
                  <a:pt x="80" y="212"/>
                  <a:pt x="80" y="213"/>
                  <a:pt x="80" y="212"/>
                </a:cubicBezTo>
                <a:cubicBezTo>
                  <a:pt x="79" y="212"/>
                  <a:pt x="79" y="212"/>
                  <a:pt x="79" y="213"/>
                </a:cubicBezTo>
                <a:cubicBezTo>
                  <a:pt x="79" y="214"/>
                  <a:pt x="77" y="216"/>
                  <a:pt x="76" y="217"/>
                </a:cubicBezTo>
                <a:cubicBezTo>
                  <a:pt x="77" y="217"/>
                  <a:pt x="77" y="216"/>
                  <a:pt x="77" y="217"/>
                </a:cubicBezTo>
                <a:cubicBezTo>
                  <a:pt x="77" y="217"/>
                  <a:pt x="77" y="217"/>
                  <a:pt x="77" y="217"/>
                </a:cubicBezTo>
                <a:cubicBezTo>
                  <a:pt x="77" y="217"/>
                  <a:pt x="78" y="216"/>
                  <a:pt x="79" y="216"/>
                </a:cubicBezTo>
                <a:cubicBezTo>
                  <a:pt x="78" y="216"/>
                  <a:pt x="78" y="215"/>
                  <a:pt x="78" y="215"/>
                </a:cubicBezTo>
                <a:cubicBezTo>
                  <a:pt x="79" y="215"/>
                  <a:pt x="78" y="215"/>
                  <a:pt x="79" y="215"/>
                </a:cubicBezTo>
                <a:cubicBezTo>
                  <a:pt x="79" y="215"/>
                  <a:pt x="79" y="215"/>
                  <a:pt x="79" y="215"/>
                </a:cubicBezTo>
                <a:close/>
                <a:moveTo>
                  <a:pt x="74" y="207"/>
                </a:moveTo>
                <a:cubicBezTo>
                  <a:pt x="73" y="207"/>
                  <a:pt x="73" y="208"/>
                  <a:pt x="72" y="207"/>
                </a:cubicBezTo>
                <a:cubicBezTo>
                  <a:pt x="71" y="209"/>
                  <a:pt x="70" y="210"/>
                  <a:pt x="69" y="210"/>
                </a:cubicBezTo>
                <a:cubicBezTo>
                  <a:pt x="68" y="211"/>
                  <a:pt x="69" y="210"/>
                  <a:pt x="69" y="211"/>
                </a:cubicBezTo>
                <a:cubicBezTo>
                  <a:pt x="68" y="211"/>
                  <a:pt x="69" y="212"/>
                  <a:pt x="68" y="212"/>
                </a:cubicBezTo>
                <a:cubicBezTo>
                  <a:pt x="69" y="212"/>
                  <a:pt x="69" y="211"/>
                  <a:pt x="68" y="211"/>
                </a:cubicBezTo>
                <a:cubicBezTo>
                  <a:pt x="68" y="212"/>
                  <a:pt x="67" y="212"/>
                  <a:pt x="68" y="213"/>
                </a:cubicBezTo>
                <a:cubicBezTo>
                  <a:pt x="68" y="213"/>
                  <a:pt x="68" y="213"/>
                  <a:pt x="68" y="213"/>
                </a:cubicBezTo>
                <a:cubicBezTo>
                  <a:pt x="69" y="212"/>
                  <a:pt x="69" y="213"/>
                  <a:pt x="69" y="214"/>
                </a:cubicBezTo>
                <a:cubicBezTo>
                  <a:pt x="70" y="213"/>
                  <a:pt x="70" y="211"/>
                  <a:pt x="71" y="211"/>
                </a:cubicBezTo>
                <a:cubicBezTo>
                  <a:pt x="70" y="211"/>
                  <a:pt x="70" y="212"/>
                  <a:pt x="70" y="212"/>
                </a:cubicBezTo>
                <a:cubicBezTo>
                  <a:pt x="71" y="212"/>
                  <a:pt x="71" y="212"/>
                  <a:pt x="71" y="212"/>
                </a:cubicBezTo>
                <a:cubicBezTo>
                  <a:pt x="71" y="213"/>
                  <a:pt x="70" y="213"/>
                  <a:pt x="71" y="214"/>
                </a:cubicBezTo>
                <a:cubicBezTo>
                  <a:pt x="69" y="213"/>
                  <a:pt x="70" y="215"/>
                  <a:pt x="69" y="216"/>
                </a:cubicBezTo>
                <a:cubicBezTo>
                  <a:pt x="68" y="217"/>
                  <a:pt x="66" y="218"/>
                  <a:pt x="67" y="219"/>
                </a:cubicBezTo>
                <a:cubicBezTo>
                  <a:pt x="65" y="219"/>
                  <a:pt x="64" y="222"/>
                  <a:pt x="62" y="223"/>
                </a:cubicBezTo>
                <a:cubicBezTo>
                  <a:pt x="63" y="223"/>
                  <a:pt x="62" y="223"/>
                  <a:pt x="63" y="223"/>
                </a:cubicBezTo>
                <a:cubicBezTo>
                  <a:pt x="63" y="223"/>
                  <a:pt x="62" y="225"/>
                  <a:pt x="63" y="225"/>
                </a:cubicBezTo>
                <a:cubicBezTo>
                  <a:pt x="63" y="224"/>
                  <a:pt x="63" y="223"/>
                  <a:pt x="64" y="223"/>
                </a:cubicBezTo>
                <a:cubicBezTo>
                  <a:pt x="64" y="221"/>
                  <a:pt x="67" y="221"/>
                  <a:pt x="67" y="219"/>
                </a:cubicBezTo>
                <a:cubicBezTo>
                  <a:pt x="68" y="218"/>
                  <a:pt x="68" y="218"/>
                  <a:pt x="69" y="217"/>
                </a:cubicBezTo>
                <a:cubicBezTo>
                  <a:pt x="69" y="217"/>
                  <a:pt x="68" y="217"/>
                  <a:pt x="69" y="216"/>
                </a:cubicBezTo>
                <a:cubicBezTo>
                  <a:pt x="70" y="217"/>
                  <a:pt x="69" y="216"/>
                  <a:pt x="69" y="216"/>
                </a:cubicBezTo>
                <a:cubicBezTo>
                  <a:pt x="70" y="216"/>
                  <a:pt x="73" y="213"/>
                  <a:pt x="72" y="212"/>
                </a:cubicBezTo>
                <a:cubicBezTo>
                  <a:pt x="73" y="212"/>
                  <a:pt x="73" y="212"/>
                  <a:pt x="73" y="212"/>
                </a:cubicBezTo>
                <a:cubicBezTo>
                  <a:pt x="73" y="211"/>
                  <a:pt x="73" y="210"/>
                  <a:pt x="72" y="210"/>
                </a:cubicBezTo>
                <a:cubicBezTo>
                  <a:pt x="73" y="210"/>
                  <a:pt x="73" y="210"/>
                  <a:pt x="73" y="211"/>
                </a:cubicBezTo>
                <a:cubicBezTo>
                  <a:pt x="72" y="210"/>
                  <a:pt x="72" y="211"/>
                  <a:pt x="72" y="211"/>
                </a:cubicBezTo>
                <a:cubicBezTo>
                  <a:pt x="72" y="210"/>
                  <a:pt x="72" y="209"/>
                  <a:pt x="72" y="209"/>
                </a:cubicBezTo>
                <a:cubicBezTo>
                  <a:pt x="72" y="210"/>
                  <a:pt x="71" y="210"/>
                  <a:pt x="71" y="210"/>
                </a:cubicBezTo>
                <a:cubicBezTo>
                  <a:pt x="72" y="210"/>
                  <a:pt x="71" y="209"/>
                  <a:pt x="72" y="209"/>
                </a:cubicBezTo>
                <a:cubicBezTo>
                  <a:pt x="73" y="209"/>
                  <a:pt x="72" y="207"/>
                  <a:pt x="74" y="208"/>
                </a:cubicBezTo>
                <a:cubicBezTo>
                  <a:pt x="74" y="208"/>
                  <a:pt x="74" y="207"/>
                  <a:pt x="74" y="207"/>
                </a:cubicBezTo>
                <a:close/>
                <a:moveTo>
                  <a:pt x="64" y="211"/>
                </a:moveTo>
                <a:cubicBezTo>
                  <a:pt x="66" y="211"/>
                  <a:pt x="67" y="206"/>
                  <a:pt x="68" y="207"/>
                </a:cubicBezTo>
                <a:cubicBezTo>
                  <a:pt x="68" y="206"/>
                  <a:pt x="70" y="205"/>
                  <a:pt x="69" y="204"/>
                </a:cubicBezTo>
                <a:cubicBezTo>
                  <a:pt x="68" y="206"/>
                  <a:pt x="66" y="208"/>
                  <a:pt x="64" y="211"/>
                </a:cubicBezTo>
                <a:close/>
                <a:moveTo>
                  <a:pt x="73" y="215"/>
                </a:moveTo>
                <a:cubicBezTo>
                  <a:pt x="73" y="215"/>
                  <a:pt x="74" y="214"/>
                  <a:pt x="73" y="214"/>
                </a:cubicBezTo>
                <a:cubicBezTo>
                  <a:pt x="73" y="215"/>
                  <a:pt x="72" y="214"/>
                  <a:pt x="72" y="215"/>
                </a:cubicBezTo>
                <a:cubicBezTo>
                  <a:pt x="72" y="215"/>
                  <a:pt x="71" y="215"/>
                  <a:pt x="71" y="217"/>
                </a:cubicBezTo>
                <a:cubicBezTo>
                  <a:pt x="71" y="217"/>
                  <a:pt x="71" y="217"/>
                  <a:pt x="71" y="217"/>
                </a:cubicBezTo>
                <a:cubicBezTo>
                  <a:pt x="72" y="217"/>
                  <a:pt x="73" y="215"/>
                  <a:pt x="74" y="216"/>
                </a:cubicBezTo>
                <a:cubicBezTo>
                  <a:pt x="74" y="216"/>
                  <a:pt x="74" y="215"/>
                  <a:pt x="75" y="215"/>
                </a:cubicBezTo>
                <a:cubicBezTo>
                  <a:pt x="74" y="214"/>
                  <a:pt x="74" y="214"/>
                  <a:pt x="74" y="213"/>
                </a:cubicBezTo>
                <a:cubicBezTo>
                  <a:pt x="75" y="213"/>
                  <a:pt x="75" y="212"/>
                  <a:pt x="76" y="212"/>
                </a:cubicBezTo>
                <a:cubicBezTo>
                  <a:pt x="75" y="212"/>
                  <a:pt x="76" y="211"/>
                  <a:pt x="76" y="211"/>
                </a:cubicBezTo>
                <a:cubicBezTo>
                  <a:pt x="75" y="211"/>
                  <a:pt x="74" y="213"/>
                  <a:pt x="73" y="214"/>
                </a:cubicBezTo>
                <a:cubicBezTo>
                  <a:pt x="74" y="214"/>
                  <a:pt x="74" y="215"/>
                  <a:pt x="73" y="215"/>
                </a:cubicBezTo>
                <a:close/>
                <a:moveTo>
                  <a:pt x="74" y="210"/>
                </a:moveTo>
                <a:cubicBezTo>
                  <a:pt x="74" y="210"/>
                  <a:pt x="74" y="210"/>
                  <a:pt x="74" y="210"/>
                </a:cubicBezTo>
                <a:cubicBezTo>
                  <a:pt x="75" y="211"/>
                  <a:pt x="75" y="211"/>
                  <a:pt x="75" y="211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4" y="210"/>
                  <a:pt x="74" y="210"/>
                </a:cubicBezTo>
                <a:close/>
                <a:moveTo>
                  <a:pt x="48" y="194"/>
                </a:moveTo>
                <a:cubicBezTo>
                  <a:pt x="47" y="194"/>
                  <a:pt x="49" y="193"/>
                  <a:pt x="48" y="193"/>
                </a:cubicBezTo>
                <a:cubicBezTo>
                  <a:pt x="47" y="193"/>
                  <a:pt x="47" y="195"/>
                  <a:pt x="48" y="194"/>
                </a:cubicBezTo>
                <a:close/>
                <a:moveTo>
                  <a:pt x="75" y="220"/>
                </a:moveTo>
                <a:cubicBezTo>
                  <a:pt x="76" y="219"/>
                  <a:pt x="77" y="219"/>
                  <a:pt x="77" y="217"/>
                </a:cubicBezTo>
                <a:cubicBezTo>
                  <a:pt x="76" y="218"/>
                  <a:pt x="75" y="219"/>
                  <a:pt x="75" y="220"/>
                </a:cubicBezTo>
                <a:close/>
                <a:moveTo>
                  <a:pt x="39" y="198"/>
                </a:moveTo>
                <a:cubicBezTo>
                  <a:pt x="39" y="199"/>
                  <a:pt x="39" y="198"/>
                  <a:pt x="39" y="199"/>
                </a:cubicBezTo>
                <a:cubicBezTo>
                  <a:pt x="40" y="199"/>
                  <a:pt x="40" y="198"/>
                  <a:pt x="40" y="198"/>
                </a:cubicBezTo>
                <a:cubicBezTo>
                  <a:pt x="40" y="198"/>
                  <a:pt x="39" y="198"/>
                  <a:pt x="39" y="198"/>
                </a:cubicBezTo>
                <a:close/>
                <a:moveTo>
                  <a:pt x="67" y="230"/>
                </a:moveTo>
                <a:cubicBezTo>
                  <a:pt x="68" y="230"/>
                  <a:pt x="68" y="229"/>
                  <a:pt x="67" y="229"/>
                </a:cubicBezTo>
                <a:cubicBezTo>
                  <a:pt x="67" y="229"/>
                  <a:pt x="66" y="229"/>
                  <a:pt x="67" y="230"/>
                </a:cubicBezTo>
                <a:cubicBezTo>
                  <a:pt x="67" y="230"/>
                  <a:pt x="67" y="230"/>
                  <a:pt x="67" y="230"/>
                </a:cubicBezTo>
                <a:cubicBezTo>
                  <a:pt x="68" y="230"/>
                  <a:pt x="71" y="228"/>
                  <a:pt x="70" y="227"/>
                </a:cubicBezTo>
                <a:cubicBezTo>
                  <a:pt x="70" y="228"/>
                  <a:pt x="69" y="228"/>
                  <a:pt x="68" y="228"/>
                </a:cubicBezTo>
                <a:cubicBezTo>
                  <a:pt x="68" y="228"/>
                  <a:pt x="67" y="228"/>
                  <a:pt x="68" y="227"/>
                </a:cubicBezTo>
                <a:cubicBezTo>
                  <a:pt x="67" y="228"/>
                  <a:pt x="67" y="229"/>
                  <a:pt x="68" y="229"/>
                </a:cubicBezTo>
                <a:cubicBezTo>
                  <a:pt x="68" y="229"/>
                  <a:pt x="68" y="229"/>
                  <a:pt x="68" y="230"/>
                </a:cubicBezTo>
                <a:cubicBezTo>
                  <a:pt x="68" y="229"/>
                  <a:pt x="67" y="230"/>
                  <a:pt x="67" y="230"/>
                </a:cubicBezTo>
                <a:close/>
                <a:moveTo>
                  <a:pt x="57" y="232"/>
                </a:moveTo>
                <a:cubicBezTo>
                  <a:pt x="56" y="231"/>
                  <a:pt x="57" y="233"/>
                  <a:pt x="56" y="233"/>
                </a:cubicBezTo>
                <a:cubicBezTo>
                  <a:pt x="56" y="233"/>
                  <a:pt x="57" y="233"/>
                  <a:pt x="57" y="232"/>
                </a:cubicBezTo>
                <a:cubicBezTo>
                  <a:pt x="57" y="231"/>
                  <a:pt x="60" y="229"/>
                  <a:pt x="61" y="228"/>
                </a:cubicBezTo>
                <a:cubicBezTo>
                  <a:pt x="60" y="228"/>
                  <a:pt x="60" y="227"/>
                  <a:pt x="60" y="227"/>
                </a:cubicBezTo>
                <a:cubicBezTo>
                  <a:pt x="61" y="227"/>
                  <a:pt x="62" y="226"/>
                  <a:pt x="62" y="226"/>
                </a:cubicBezTo>
                <a:cubicBezTo>
                  <a:pt x="61" y="226"/>
                  <a:pt x="61" y="226"/>
                  <a:pt x="60" y="226"/>
                </a:cubicBezTo>
                <a:cubicBezTo>
                  <a:pt x="61" y="226"/>
                  <a:pt x="61" y="227"/>
                  <a:pt x="61" y="227"/>
                </a:cubicBezTo>
                <a:cubicBezTo>
                  <a:pt x="59" y="228"/>
                  <a:pt x="58" y="230"/>
                  <a:pt x="57" y="232"/>
                </a:cubicBezTo>
                <a:close/>
                <a:moveTo>
                  <a:pt x="66" y="232"/>
                </a:moveTo>
                <a:cubicBezTo>
                  <a:pt x="67" y="232"/>
                  <a:pt x="65" y="232"/>
                  <a:pt x="65" y="231"/>
                </a:cubicBezTo>
                <a:cubicBezTo>
                  <a:pt x="66" y="232"/>
                  <a:pt x="64" y="232"/>
                  <a:pt x="64" y="233"/>
                </a:cubicBezTo>
                <a:cubicBezTo>
                  <a:pt x="65" y="233"/>
                  <a:pt x="65" y="233"/>
                  <a:pt x="66" y="233"/>
                </a:cubicBezTo>
                <a:cubicBezTo>
                  <a:pt x="65" y="232"/>
                  <a:pt x="65" y="233"/>
                  <a:pt x="65" y="233"/>
                </a:cubicBezTo>
                <a:cubicBezTo>
                  <a:pt x="65" y="232"/>
                  <a:pt x="65" y="232"/>
                  <a:pt x="66" y="232"/>
                </a:cubicBezTo>
                <a:cubicBezTo>
                  <a:pt x="66" y="232"/>
                  <a:pt x="66" y="232"/>
                  <a:pt x="66" y="233"/>
                </a:cubicBezTo>
                <a:cubicBezTo>
                  <a:pt x="67" y="232"/>
                  <a:pt x="68" y="232"/>
                  <a:pt x="67" y="231"/>
                </a:cubicBezTo>
                <a:cubicBezTo>
                  <a:pt x="67" y="231"/>
                  <a:pt x="67" y="232"/>
                  <a:pt x="66" y="232"/>
                </a:cubicBezTo>
                <a:close/>
                <a:moveTo>
                  <a:pt x="50" y="233"/>
                </a:moveTo>
                <a:cubicBezTo>
                  <a:pt x="50" y="232"/>
                  <a:pt x="50" y="232"/>
                  <a:pt x="50" y="232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8" y="233"/>
                  <a:pt x="48" y="234"/>
                  <a:pt x="47" y="235"/>
                </a:cubicBezTo>
                <a:cubicBezTo>
                  <a:pt x="48" y="233"/>
                  <a:pt x="49" y="231"/>
                  <a:pt x="50" y="229"/>
                </a:cubicBezTo>
                <a:cubicBezTo>
                  <a:pt x="52" y="228"/>
                  <a:pt x="53" y="226"/>
                  <a:pt x="55" y="224"/>
                </a:cubicBezTo>
                <a:cubicBezTo>
                  <a:pt x="55" y="225"/>
                  <a:pt x="54" y="226"/>
                  <a:pt x="53" y="227"/>
                </a:cubicBezTo>
                <a:cubicBezTo>
                  <a:pt x="52" y="228"/>
                  <a:pt x="53" y="228"/>
                  <a:pt x="52" y="229"/>
                </a:cubicBezTo>
                <a:cubicBezTo>
                  <a:pt x="52" y="229"/>
                  <a:pt x="52" y="230"/>
                  <a:pt x="52" y="229"/>
                </a:cubicBezTo>
                <a:cubicBezTo>
                  <a:pt x="52" y="231"/>
                  <a:pt x="50" y="232"/>
                  <a:pt x="50" y="233"/>
                </a:cubicBezTo>
                <a:close/>
                <a:moveTo>
                  <a:pt x="51" y="231"/>
                </a:moveTo>
                <a:cubicBezTo>
                  <a:pt x="51" y="231"/>
                  <a:pt x="50" y="231"/>
                  <a:pt x="50" y="231"/>
                </a:cubicBezTo>
                <a:cubicBezTo>
                  <a:pt x="50" y="232"/>
                  <a:pt x="50" y="232"/>
                  <a:pt x="51" y="231"/>
                </a:cubicBezTo>
                <a:close/>
                <a:moveTo>
                  <a:pt x="47" y="227"/>
                </a:moveTo>
                <a:cubicBezTo>
                  <a:pt x="47" y="226"/>
                  <a:pt x="48" y="225"/>
                  <a:pt x="48" y="225"/>
                </a:cubicBezTo>
                <a:cubicBezTo>
                  <a:pt x="47" y="225"/>
                  <a:pt x="47" y="225"/>
                  <a:pt x="47" y="225"/>
                </a:cubicBezTo>
                <a:cubicBezTo>
                  <a:pt x="48" y="226"/>
                  <a:pt x="46" y="226"/>
                  <a:pt x="47" y="227"/>
                </a:cubicBezTo>
                <a:close/>
                <a:moveTo>
                  <a:pt x="64" y="239"/>
                </a:moveTo>
                <a:cubicBezTo>
                  <a:pt x="64" y="238"/>
                  <a:pt x="65" y="238"/>
                  <a:pt x="64" y="238"/>
                </a:cubicBezTo>
                <a:cubicBezTo>
                  <a:pt x="64" y="238"/>
                  <a:pt x="64" y="238"/>
                  <a:pt x="64" y="238"/>
                </a:cubicBezTo>
                <a:cubicBezTo>
                  <a:pt x="65" y="238"/>
                  <a:pt x="63" y="239"/>
                  <a:pt x="64" y="239"/>
                </a:cubicBezTo>
                <a:close/>
                <a:moveTo>
                  <a:pt x="54" y="231"/>
                </a:moveTo>
                <a:cubicBezTo>
                  <a:pt x="53" y="232"/>
                  <a:pt x="53" y="232"/>
                  <a:pt x="53" y="232"/>
                </a:cubicBezTo>
                <a:cubicBezTo>
                  <a:pt x="53" y="231"/>
                  <a:pt x="53" y="231"/>
                  <a:pt x="53" y="231"/>
                </a:cubicBezTo>
                <a:cubicBezTo>
                  <a:pt x="53" y="231"/>
                  <a:pt x="52" y="231"/>
                  <a:pt x="52" y="231"/>
                </a:cubicBezTo>
                <a:cubicBezTo>
                  <a:pt x="52" y="232"/>
                  <a:pt x="53" y="232"/>
                  <a:pt x="52" y="232"/>
                </a:cubicBezTo>
                <a:cubicBezTo>
                  <a:pt x="51" y="232"/>
                  <a:pt x="51" y="234"/>
                  <a:pt x="50" y="235"/>
                </a:cubicBezTo>
                <a:cubicBezTo>
                  <a:pt x="50" y="235"/>
                  <a:pt x="51" y="236"/>
                  <a:pt x="51" y="235"/>
                </a:cubicBezTo>
                <a:cubicBezTo>
                  <a:pt x="52" y="235"/>
                  <a:pt x="50" y="235"/>
                  <a:pt x="51" y="235"/>
                </a:cubicBezTo>
                <a:cubicBezTo>
                  <a:pt x="51" y="235"/>
                  <a:pt x="52" y="235"/>
                  <a:pt x="52" y="234"/>
                </a:cubicBezTo>
                <a:cubicBezTo>
                  <a:pt x="51" y="234"/>
                  <a:pt x="51" y="234"/>
                  <a:pt x="51" y="233"/>
                </a:cubicBezTo>
                <a:cubicBezTo>
                  <a:pt x="52" y="233"/>
                  <a:pt x="52" y="232"/>
                  <a:pt x="53" y="232"/>
                </a:cubicBezTo>
                <a:cubicBezTo>
                  <a:pt x="53" y="232"/>
                  <a:pt x="53" y="233"/>
                  <a:pt x="53" y="233"/>
                </a:cubicBezTo>
                <a:cubicBezTo>
                  <a:pt x="54" y="232"/>
                  <a:pt x="54" y="231"/>
                  <a:pt x="53" y="231"/>
                </a:cubicBezTo>
                <a:cubicBezTo>
                  <a:pt x="53" y="231"/>
                  <a:pt x="54" y="231"/>
                  <a:pt x="54" y="231"/>
                </a:cubicBezTo>
                <a:close/>
                <a:moveTo>
                  <a:pt x="53" y="236"/>
                </a:moveTo>
                <a:cubicBezTo>
                  <a:pt x="54" y="237"/>
                  <a:pt x="51" y="238"/>
                  <a:pt x="52" y="239"/>
                </a:cubicBezTo>
                <a:cubicBezTo>
                  <a:pt x="53" y="237"/>
                  <a:pt x="55" y="235"/>
                  <a:pt x="56" y="233"/>
                </a:cubicBezTo>
                <a:cubicBezTo>
                  <a:pt x="55" y="234"/>
                  <a:pt x="55" y="235"/>
                  <a:pt x="54" y="235"/>
                </a:cubicBezTo>
                <a:cubicBezTo>
                  <a:pt x="54" y="236"/>
                  <a:pt x="54" y="236"/>
                  <a:pt x="54" y="235"/>
                </a:cubicBezTo>
                <a:cubicBezTo>
                  <a:pt x="54" y="236"/>
                  <a:pt x="53" y="237"/>
                  <a:pt x="53" y="236"/>
                </a:cubicBezTo>
                <a:close/>
                <a:moveTo>
                  <a:pt x="59" y="240"/>
                </a:moveTo>
                <a:cubicBezTo>
                  <a:pt x="59" y="240"/>
                  <a:pt x="60" y="240"/>
                  <a:pt x="60" y="240"/>
                </a:cubicBezTo>
                <a:cubicBezTo>
                  <a:pt x="60" y="239"/>
                  <a:pt x="60" y="240"/>
                  <a:pt x="59" y="239"/>
                </a:cubicBezTo>
                <a:cubicBezTo>
                  <a:pt x="60" y="239"/>
                  <a:pt x="59" y="239"/>
                  <a:pt x="59" y="239"/>
                </a:cubicBezTo>
                <a:cubicBezTo>
                  <a:pt x="60" y="240"/>
                  <a:pt x="59" y="240"/>
                  <a:pt x="59" y="240"/>
                </a:cubicBezTo>
                <a:close/>
                <a:moveTo>
                  <a:pt x="46" y="234"/>
                </a:moveTo>
                <a:cubicBezTo>
                  <a:pt x="47" y="234"/>
                  <a:pt x="47" y="233"/>
                  <a:pt x="47" y="233"/>
                </a:cubicBezTo>
                <a:cubicBezTo>
                  <a:pt x="46" y="234"/>
                  <a:pt x="46" y="232"/>
                  <a:pt x="46" y="233"/>
                </a:cubicBezTo>
                <a:cubicBezTo>
                  <a:pt x="46" y="233"/>
                  <a:pt x="46" y="233"/>
                  <a:pt x="46" y="233"/>
                </a:cubicBezTo>
                <a:cubicBezTo>
                  <a:pt x="46" y="233"/>
                  <a:pt x="46" y="234"/>
                  <a:pt x="46" y="234"/>
                </a:cubicBezTo>
                <a:close/>
                <a:moveTo>
                  <a:pt x="48" y="236"/>
                </a:moveTo>
                <a:cubicBezTo>
                  <a:pt x="48" y="237"/>
                  <a:pt x="49" y="237"/>
                  <a:pt x="49" y="238"/>
                </a:cubicBezTo>
                <a:cubicBezTo>
                  <a:pt x="49" y="237"/>
                  <a:pt x="51" y="237"/>
                  <a:pt x="51" y="236"/>
                </a:cubicBezTo>
                <a:cubicBezTo>
                  <a:pt x="50" y="236"/>
                  <a:pt x="50" y="236"/>
                  <a:pt x="49" y="237"/>
                </a:cubicBezTo>
                <a:cubicBezTo>
                  <a:pt x="49" y="236"/>
                  <a:pt x="50" y="236"/>
                  <a:pt x="49" y="235"/>
                </a:cubicBezTo>
                <a:cubicBezTo>
                  <a:pt x="49" y="236"/>
                  <a:pt x="49" y="236"/>
                  <a:pt x="48" y="236"/>
                </a:cubicBezTo>
                <a:close/>
                <a:moveTo>
                  <a:pt x="24" y="224"/>
                </a:moveTo>
                <a:cubicBezTo>
                  <a:pt x="24" y="223"/>
                  <a:pt x="24" y="224"/>
                  <a:pt x="25" y="223"/>
                </a:cubicBezTo>
                <a:cubicBezTo>
                  <a:pt x="24" y="223"/>
                  <a:pt x="24" y="223"/>
                  <a:pt x="23" y="223"/>
                </a:cubicBezTo>
                <a:cubicBezTo>
                  <a:pt x="24" y="224"/>
                  <a:pt x="24" y="223"/>
                  <a:pt x="24" y="224"/>
                </a:cubicBezTo>
                <a:cubicBezTo>
                  <a:pt x="24" y="224"/>
                  <a:pt x="24" y="224"/>
                  <a:pt x="24" y="224"/>
                </a:cubicBezTo>
                <a:close/>
                <a:moveTo>
                  <a:pt x="17" y="230"/>
                </a:moveTo>
                <a:cubicBezTo>
                  <a:pt x="18" y="228"/>
                  <a:pt x="19" y="228"/>
                  <a:pt x="19" y="227"/>
                </a:cubicBezTo>
                <a:cubicBezTo>
                  <a:pt x="19" y="227"/>
                  <a:pt x="16" y="229"/>
                  <a:pt x="17" y="230"/>
                </a:cubicBezTo>
                <a:close/>
                <a:moveTo>
                  <a:pt x="45" y="246"/>
                </a:moveTo>
                <a:cubicBezTo>
                  <a:pt x="45" y="246"/>
                  <a:pt x="46" y="247"/>
                  <a:pt x="46" y="247"/>
                </a:cubicBezTo>
                <a:cubicBezTo>
                  <a:pt x="45" y="247"/>
                  <a:pt x="45" y="248"/>
                  <a:pt x="45" y="248"/>
                </a:cubicBezTo>
                <a:cubicBezTo>
                  <a:pt x="46" y="248"/>
                  <a:pt x="46" y="247"/>
                  <a:pt x="47" y="247"/>
                </a:cubicBezTo>
                <a:cubicBezTo>
                  <a:pt x="47" y="247"/>
                  <a:pt x="47" y="247"/>
                  <a:pt x="47" y="247"/>
                </a:cubicBezTo>
                <a:cubicBezTo>
                  <a:pt x="46" y="247"/>
                  <a:pt x="46" y="245"/>
                  <a:pt x="45" y="246"/>
                </a:cubicBezTo>
                <a:close/>
                <a:moveTo>
                  <a:pt x="19" y="231"/>
                </a:moveTo>
                <a:cubicBezTo>
                  <a:pt x="19" y="231"/>
                  <a:pt x="18" y="231"/>
                  <a:pt x="18" y="231"/>
                </a:cubicBezTo>
                <a:cubicBezTo>
                  <a:pt x="19" y="232"/>
                  <a:pt x="19" y="230"/>
                  <a:pt x="18" y="230"/>
                </a:cubicBezTo>
                <a:cubicBezTo>
                  <a:pt x="18" y="231"/>
                  <a:pt x="19" y="230"/>
                  <a:pt x="19" y="231"/>
                </a:cubicBezTo>
                <a:close/>
                <a:moveTo>
                  <a:pt x="18" y="232"/>
                </a:moveTo>
                <a:cubicBezTo>
                  <a:pt x="18" y="234"/>
                  <a:pt x="17" y="234"/>
                  <a:pt x="17" y="235"/>
                </a:cubicBezTo>
                <a:cubicBezTo>
                  <a:pt x="17" y="235"/>
                  <a:pt x="17" y="234"/>
                  <a:pt x="18" y="234"/>
                </a:cubicBezTo>
                <a:cubicBezTo>
                  <a:pt x="18" y="233"/>
                  <a:pt x="19" y="232"/>
                  <a:pt x="18" y="232"/>
                </a:cubicBezTo>
                <a:cubicBezTo>
                  <a:pt x="17" y="232"/>
                  <a:pt x="18" y="233"/>
                  <a:pt x="18" y="232"/>
                </a:cubicBezTo>
                <a:close/>
                <a:moveTo>
                  <a:pt x="4" y="256"/>
                </a:moveTo>
                <a:cubicBezTo>
                  <a:pt x="5" y="255"/>
                  <a:pt x="5" y="254"/>
                  <a:pt x="6" y="253"/>
                </a:cubicBezTo>
                <a:cubicBezTo>
                  <a:pt x="5" y="254"/>
                  <a:pt x="4" y="255"/>
                  <a:pt x="4" y="256"/>
                </a:cubicBezTo>
                <a:close/>
                <a:moveTo>
                  <a:pt x="5" y="258"/>
                </a:moveTo>
                <a:cubicBezTo>
                  <a:pt x="6" y="257"/>
                  <a:pt x="6" y="258"/>
                  <a:pt x="6" y="257"/>
                </a:cubicBezTo>
                <a:cubicBezTo>
                  <a:pt x="6" y="257"/>
                  <a:pt x="6" y="256"/>
                  <a:pt x="6" y="257"/>
                </a:cubicBezTo>
                <a:cubicBezTo>
                  <a:pt x="6" y="257"/>
                  <a:pt x="6" y="257"/>
                  <a:pt x="6" y="257"/>
                </a:cubicBezTo>
                <a:cubicBezTo>
                  <a:pt x="5" y="257"/>
                  <a:pt x="5" y="257"/>
                  <a:pt x="5" y="258"/>
                </a:cubicBezTo>
                <a:close/>
                <a:moveTo>
                  <a:pt x="810" y="264"/>
                </a:moveTo>
                <a:cubicBezTo>
                  <a:pt x="810" y="263"/>
                  <a:pt x="808" y="261"/>
                  <a:pt x="809" y="261"/>
                </a:cubicBezTo>
                <a:cubicBezTo>
                  <a:pt x="810" y="263"/>
                  <a:pt x="809" y="259"/>
                  <a:pt x="809" y="258"/>
                </a:cubicBezTo>
                <a:cubicBezTo>
                  <a:pt x="810" y="258"/>
                  <a:pt x="811" y="261"/>
                  <a:pt x="811" y="261"/>
                </a:cubicBezTo>
                <a:cubicBezTo>
                  <a:pt x="809" y="256"/>
                  <a:pt x="809" y="255"/>
                  <a:pt x="807" y="251"/>
                </a:cubicBezTo>
                <a:cubicBezTo>
                  <a:pt x="808" y="254"/>
                  <a:pt x="807" y="252"/>
                  <a:pt x="806" y="253"/>
                </a:cubicBezTo>
                <a:cubicBezTo>
                  <a:pt x="806" y="253"/>
                  <a:pt x="807" y="260"/>
                  <a:pt x="805" y="261"/>
                </a:cubicBezTo>
                <a:cubicBezTo>
                  <a:pt x="805" y="261"/>
                  <a:pt x="804" y="259"/>
                  <a:pt x="804" y="259"/>
                </a:cubicBezTo>
                <a:cubicBezTo>
                  <a:pt x="803" y="261"/>
                  <a:pt x="804" y="266"/>
                  <a:pt x="801" y="262"/>
                </a:cubicBezTo>
                <a:cubicBezTo>
                  <a:pt x="805" y="271"/>
                  <a:pt x="805" y="267"/>
                  <a:pt x="806" y="266"/>
                </a:cubicBezTo>
                <a:cubicBezTo>
                  <a:pt x="806" y="266"/>
                  <a:pt x="810" y="269"/>
                  <a:pt x="808" y="265"/>
                </a:cubicBezTo>
                <a:cubicBezTo>
                  <a:pt x="809" y="266"/>
                  <a:pt x="810" y="269"/>
                  <a:pt x="810" y="268"/>
                </a:cubicBezTo>
                <a:cubicBezTo>
                  <a:pt x="811" y="267"/>
                  <a:pt x="808" y="263"/>
                  <a:pt x="810" y="264"/>
                </a:cubicBezTo>
                <a:close/>
                <a:moveTo>
                  <a:pt x="440" y="4"/>
                </a:moveTo>
                <a:cubicBezTo>
                  <a:pt x="437" y="3"/>
                  <a:pt x="437" y="4"/>
                  <a:pt x="434" y="4"/>
                </a:cubicBezTo>
                <a:cubicBezTo>
                  <a:pt x="434" y="3"/>
                  <a:pt x="433" y="3"/>
                  <a:pt x="433" y="3"/>
                </a:cubicBezTo>
                <a:cubicBezTo>
                  <a:pt x="435" y="3"/>
                  <a:pt x="437" y="3"/>
                  <a:pt x="438" y="2"/>
                </a:cubicBezTo>
                <a:cubicBezTo>
                  <a:pt x="434" y="2"/>
                  <a:pt x="429" y="3"/>
                  <a:pt x="425" y="3"/>
                </a:cubicBezTo>
                <a:cubicBezTo>
                  <a:pt x="428" y="3"/>
                  <a:pt x="433" y="4"/>
                  <a:pt x="437" y="4"/>
                </a:cubicBezTo>
                <a:cubicBezTo>
                  <a:pt x="436" y="4"/>
                  <a:pt x="434" y="4"/>
                  <a:pt x="434" y="4"/>
                </a:cubicBezTo>
                <a:cubicBezTo>
                  <a:pt x="439" y="4"/>
                  <a:pt x="441" y="4"/>
                  <a:pt x="443" y="5"/>
                </a:cubicBezTo>
                <a:cubicBezTo>
                  <a:pt x="442" y="4"/>
                  <a:pt x="446" y="5"/>
                  <a:pt x="446" y="5"/>
                </a:cubicBezTo>
                <a:cubicBezTo>
                  <a:pt x="444" y="4"/>
                  <a:pt x="444" y="5"/>
                  <a:pt x="440" y="4"/>
                </a:cubicBezTo>
                <a:close/>
                <a:moveTo>
                  <a:pt x="399" y="5"/>
                </a:moveTo>
                <a:cubicBezTo>
                  <a:pt x="398" y="4"/>
                  <a:pt x="401" y="4"/>
                  <a:pt x="398" y="4"/>
                </a:cubicBezTo>
                <a:cubicBezTo>
                  <a:pt x="393" y="5"/>
                  <a:pt x="386" y="4"/>
                  <a:pt x="382" y="5"/>
                </a:cubicBezTo>
                <a:cubicBezTo>
                  <a:pt x="385" y="5"/>
                  <a:pt x="389" y="5"/>
                  <a:pt x="390" y="6"/>
                </a:cubicBezTo>
                <a:cubicBezTo>
                  <a:pt x="395" y="5"/>
                  <a:pt x="398" y="6"/>
                  <a:pt x="400" y="5"/>
                </a:cubicBezTo>
                <a:lnTo>
                  <a:pt x="399" y="5"/>
                </a:lnTo>
                <a:close/>
                <a:moveTo>
                  <a:pt x="142" y="101"/>
                </a:moveTo>
                <a:cubicBezTo>
                  <a:pt x="142" y="102"/>
                  <a:pt x="141" y="103"/>
                  <a:pt x="143" y="102"/>
                </a:cubicBezTo>
                <a:cubicBezTo>
                  <a:pt x="147" y="98"/>
                  <a:pt x="152" y="95"/>
                  <a:pt x="156" y="91"/>
                </a:cubicBezTo>
                <a:cubicBezTo>
                  <a:pt x="154" y="92"/>
                  <a:pt x="153" y="93"/>
                  <a:pt x="152" y="94"/>
                </a:cubicBezTo>
                <a:cubicBezTo>
                  <a:pt x="153" y="93"/>
                  <a:pt x="154" y="92"/>
                  <a:pt x="154" y="91"/>
                </a:cubicBezTo>
                <a:cubicBezTo>
                  <a:pt x="149" y="95"/>
                  <a:pt x="141" y="101"/>
                  <a:pt x="134" y="107"/>
                </a:cubicBezTo>
                <a:cubicBezTo>
                  <a:pt x="135" y="107"/>
                  <a:pt x="140" y="103"/>
                  <a:pt x="142" y="101"/>
                </a:cubicBezTo>
                <a:close/>
                <a:moveTo>
                  <a:pt x="84" y="158"/>
                </a:moveTo>
                <a:cubicBezTo>
                  <a:pt x="84" y="159"/>
                  <a:pt x="84" y="160"/>
                  <a:pt x="83" y="160"/>
                </a:cubicBezTo>
                <a:cubicBezTo>
                  <a:pt x="83" y="161"/>
                  <a:pt x="83" y="162"/>
                  <a:pt x="84" y="161"/>
                </a:cubicBezTo>
                <a:cubicBezTo>
                  <a:pt x="84" y="161"/>
                  <a:pt x="84" y="161"/>
                  <a:pt x="84" y="161"/>
                </a:cubicBezTo>
                <a:cubicBezTo>
                  <a:pt x="84" y="160"/>
                  <a:pt x="84" y="160"/>
                  <a:pt x="84" y="160"/>
                </a:cubicBezTo>
                <a:cubicBezTo>
                  <a:pt x="85" y="160"/>
                  <a:pt x="84" y="161"/>
                  <a:pt x="85" y="161"/>
                </a:cubicBezTo>
                <a:cubicBezTo>
                  <a:pt x="85" y="160"/>
                  <a:pt x="86" y="160"/>
                  <a:pt x="85" y="160"/>
                </a:cubicBezTo>
                <a:cubicBezTo>
                  <a:pt x="85" y="160"/>
                  <a:pt x="85" y="160"/>
                  <a:pt x="85" y="160"/>
                </a:cubicBezTo>
                <a:cubicBezTo>
                  <a:pt x="85" y="160"/>
                  <a:pt x="85" y="159"/>
                  <a:pt x="85" y="159"/>
                </a:cubicBezTo>
                <a:cubicBezTo>
                  <a:pt x="85" y="159"/>
                  <a:pt x="86" y="159"/>
                  <a:pt x="87" y="158"/>
                </a:cubicBezTo>
                <a:cubicBezTo>
                  <a:pt x="85" y="159"/>
                  <a:pt x="86" y="157"/>
                  <a:pt x="84" y="158"/>
                </a:cubicBezTo>
                <a:close/>
                <a:moveTo>
                  <a:pt x="103" y="180"/>
                </a:moveTo>
                <a:cubicBezTo>
                  <a:pt x="102" y="180"/>
                  <a:pt x="102" y="181"/>
                  <a:pt x="102" y="181"/>
                </a:cubicBezTo>
                <a:cubicBezTo>
                  <a:pt x="102" y="181"/>
                  <a:pt x="103" y="181"/>
                  <a:pt x="103" y="181"/>
                </a:cubicBezTo>
                <a:cubicBezTo>
                  <a:pt x="103" y="181"/>
                  <a:pt x="102" y="181"/>
                  <a:pt x="103" y="182"/>
                </a:cubicBezTo>
                <a:cubicBezTo>
                  <a:pt x="103" y="182"/>
                  <a:pt x="103" y="181"/>
                  <a:pt x="104" y="181"/>
                </a:cubicBezTo>
                <a:cubicBezTo>
                  <a:pt x="103" y="182"/>
                  <a:pt x="103" y="182"/>
                  <a:pt x="103" y="183"/>
                </a:cubicBezTo>
                <a:cubicBezTo>
                  <a:pt x="103" y="182"/>
                  <a:pt x="104" y="182"/>
                  <a:pt x="104" y="181"/>
                </a:cubicBezTo>
                <a:cubicBezTo>
                  <a:pt x="103" y="182"/>
                  <a:pt x="104" y="180"/>
                  <a:pt x="103" y="180"/>
                </a:cubicBezTo>
                <a:close/>
                <a:moveTo>
                  <a:pt x="77" y="160"/>
                </a:moveTo>
                <a:cubicBezTo>
                  <a:pt x="79" y="161"/>
                  <a:pt x="79" y="158"/>
                  <a:pt x="80" y="158"/>
                </a:cubicBezTo>
                <a:cubicBezTo>
                  <a:pt x="80" y="157"/>
                  <a:pt x="80" y="157"/>
                  <a:pt x="80" y="157"/>
                </a:cubicBezTo>
                <a:cubicBezTo>
                  <a:pt x="79" y="157"/>
                  <a:pt x="78" y="159"/>
                  <a:pt x="77" y="160"/>
                </a:cubicBezTo>
                <a:close/>
                <a:moveTo>
                  <a:pt x="81" y="163"/>
                </a:moveTo>
                <a:cubicBezTo>
                  <a:pt x="81" y="163"/>
                  <a:pt x="81" y="164"/>
                  <a:pt x="81" y="164"/>
                </a:cubicBezTo>
                <a:cubicBezTo>
                  <a:pt x="81" y="164"/>
                  <a:pt x="80" y="165"/>
                  <a:pt x="80" y="165"/>
                </a:cubicBezTo>
                <a:cubicBezTo>
                  <a:pt x="82" y="164"/>
                  <a:pt x="83" y="163"/>
                  <a:pt x="83" y="162"/>
                </a:cubicBezTo>
                <a:cubicBezTo>
                  <a:pt x="83" y="161"/>
                  <a:pt x="83" y="161"/>
                  <a:pt x="82" y="161"/>
                </a:cubicBezTo>
                <a:cubicBezTo>
                  <a:pt x="81" y="161"/>
                  <a:pt x="82" y="163"/>
                  <a:pt x="81" y="163"/>
                </a:cubicBezTo>
                <a:close/>
                <a:moveTo>
                  <a:pt x="95" y="192"/>
                </a:moveTo>
                <a:cubicBezTo>
                  <a:pt x="95" y="192"/>
                  <a:pt x="95" y="192"/>
                  <a:pt x="94" y="192"/>
                </a:cubicBezTo>
                <a:cubicBezTo>
                  <a:pt x="94" y="192"/>
                  <a:pt x="94" y="193"/>
                  <a:pt x="94" y="193"/>
                </a:cubicBezTo>
                <a:cubicBezTo>
                  <a:pt x="93" y="193"/>
                  <a:pt x="93" y="194"/>
                  <a:pt x="94" y="194"/>
                </a:cubicBezTo>
                <a:cubicBezTo>
                  <a:pt x="93" y="194"/>
                  <a:pt x="91" y="196"/>
                  <a:pt x="91" y="197"/>
                </a:cubicBezTo>
                <a:cubicBezTo>
                  <a:pt x="91" y="197"/>
                  <a:pt x="91" y="197"/>
                  <a:pt x="91" y="197"/>
                </a:cubicBezTo>
                <a:cubicBezTo>
                  <a:pt x="91" y="198"/>
                  <a:pt x="90" y="198"/>
                  <a:pt x="90" y="199"/>
                </a:cubicBezTo>
                <a:cubicBezTo>
                  <a:pt x="91" y="197"/>
                  <a:pt x="92" y="197"/>
                  <a:pt x="93" y="197"/>
                </a:cubicBezTo>
                <a:cubicBezTo>
                  <a:pt x="93" y="197"/>
                  <a:pt x="93" y="197"/>
                  <a:pt x="93" y="196"/>
                </a:cubicBezTo>
                <a:cubicBezTo>
                  <a:pt x="93" y="196"/>
                  <a:pt x="94" y="195"/>
                  <a:pt x="94" y="195"/>
                </a:cubicBezTo>
                <a:cubicBezTo>
                  <a:pt x="94" y="195"/>
                  <a:pt x="94" y="195"/>
                  <a:pt x="94" y="196"/>
                </a:cubicBezTo>
                <a:cubicBezTo>
                  <a:pt x="95" y="194"/>
                  <a:pt x="95" y="192"/>
                  <a:pt x="96" y="193"/>
                </a:cubicBezTo>
                <a:cubicBezTo>
                  <a:pt x="96" y="193"/>
                  <a:pt x="96" y="193"/>
                  <a:pt x="96" y="193"/>
                </a:cubicBezTo>
                <a:cubicBezTo>
                  <a:pt x="97" y="193"/>
                  <a:pt x="97" y="193"/>
                  <a:pt x="97" y="192"/>
                </a:cubicBezTo>
                <a:cubicBezTo>
                  <a:pt x="96" y="193"/>
                  <a:pt x="97" y="192"/>
                  <a:pt x="96" y="192"/>
                </a:cubicBezTo>
                <a:cubicBezTo>
                  <a:pt x="96" y="193"/>
                  <a:pt x="96" y="192"/>
                  <a:pt x="95" y="192"/>
                </a:cubicBezTo>
                <a:close/>
                <a:moveTo>
                  <a:pt x="65" y="175"/>
                </a:moveTo>
                <a:cubicBezTo>
                  <a:pt x="64" y="175"/>
                  <a:pt x="64" y="175"/>
                  <a:pt x="63" y="175"/>
                </a:cubicBezTo>
                <a:cubicBezTo>
                  <a:pt x="63" y="175"/>
                  <a:pt x="63" y="175"/>
                  <a:pt x="63" y="176"/>
                </a:cubicBezTo>
                <a:cubicBezTo>
                  <a:pt x="64" y="176"/>
                  <a:pt x="64" y="176"/>
                  <a:pt x="64" y="177"/>
                </a:cubicBezTo>
                <a:cubicBezTo>
                  <a:pt x="65" y="175"/>
                  <a:pt x="66" y="175"/>
                  <a:pt x="67" y="173"/>
                </a:cubicBezTo>
                <a:cubicBezTo>
                  <a:pt x="65" y="173"/>
                  <a:pt x="66" y="174"/>
                  <a:pt x="65" y="175"/>
                </a:cubicBezTo>
                <a:close/>
                <a:moveTo>
                  <a:pt x="45" y="240"/>
                </a:moveTo>
                <a:cubicBezTo>
                  <a:pt x="46" y="241"/>
                  <a:pt x="46" y="241"/>
                  <a:pt x="46" y="241"/>
                </a:cubicBezTo>
                <a:cubicBezTo>
                  <a:pt x="45" y="241"/>
                  <a:pt x="45" y="242"/>
                  <a:pt x="44" y="243"/>
                </a:cubicBezTo>
                <a:cubicBezTo>
                  <a:pt x="44" y="243"/>
                  <a:pt x="43" y="243"/>
                  <a:pt x="43" y="243"/>
                </a:cubicBezTo>
                <a:cubicBezTo>
                  <a:pt x="43" y="244"/>
                  <a:pt x="43" y="244"/>
                  <a:pt x="42" y="245"/>
                </a:cubicBezTo>
                <a:cubicBezTo>
                  <a:pt x="43" y="245"/>
                  <a:pt x="43" y="245"/>
                  <a:pt x="44" y="244"/>
                </a:cubicBezTo>
                <a:cubicBezTo>
                  <a:pt x="44" y="244"/>
                  <a:pt x="44" y="244"/>
                  <a:pt x="44" y="244"/>
                </a:cubicBezTo>
                <a:cubicBezTo>
                  <a:pt x="44" y="244"/>
                  <a:pt x="45" y="243"/>
                  <a:pt x="45" y="244"/>
                </a:cubicBezTo>
                <a:cubicBezTo>
                  <a:pt x="45" y="241"/>
                  <a:pt x="47" y="241"/>
                  <a:pt x="48" y="239"/>
                </a:cubicBezTo>
                <a:cubicBezTo>
                  <a:pt x="47" y="238"/>
                  <a:pt x="48" y="238"/>
                  <a:pt x="48" y="237"/>
                </a:cubicBezTo>
                <a:cubicBezTo>
                  <a:pt x="47" y="238"/>
                  <a:pt x="47" y="240"/>
                  <a:pt x="45" y="240"/>
                </a:cubicBezTo>
                <a:close/>
                <a:moveTo>
                  <a:pt x="820" y="180"/>
                </a:moveTo>
                <a:cubicBezTo>
                  <a:pt x="820" y="181"/>
                  <a:pt x="820" y="181"/>
                  <a:pt x="820" y="181"/>
                </a:cubicBezTo>
                <a:cubicBezTo>
                  <a:pt x="821" y="181"/>
                  <a:pt x="820" y="180"/>
                  <a:pt x="820" y="180"/>
                </a:cubicBezTo>
                <a:close/>
                <a:moveTo>
                  <a:pt x="866" y="171"/>
                </a:moveTo>
                <a:cubicBezTo>
                  <a:pt x="865" y="171"/>
                  <a:pt x="865" y="172"/>
                  <a:pt x="865" y="172"/>
                </a:cubicBezTo>
                <a:cubicBezTo>
                  <a:pt x="865" y="172"/>
                  <a:pt x="866" y="172"/>
                  <a:pt x="866" y="171"/>
                </a:cubicBezTo>
                <a:close/>
                <a:moveTo>
                  <a:pt x="867" y="170"/>
                </a:moveTo>
                <a:cubicBezTo>
                  <a:pt x="867" y="170"/>
                  <a:pt x="866" y="171"/>
                  <a:pt x="866" y="171"/>
                </a:cubicBezTo>
                <a:cubicBezTo>
                  <a:pt x="867" y="171"/>
                  <a:pt x="867" y="170"/>
                  <a:pt x="867" y="170"/>
                </a:cubicBezTo>
                <a:close/>
                <a:moveTo>
                  <a:pt x="861" y="164"/>
                </a:moveTo>
                <a:cubicBezTo>
                  <a:pt x="861" y="164"/>
                  <a:pt x="861" y="165"/>
                  <a:pt x="861" y="165"/>
                </a:cubicBezTo>
                <a:cubicBezTo>
                  <a:pt x="861" y="164"/>
                  <a:pt x="861" y="164"/>
                  <a:pt x="861" y="164"/>
                </a:cubicBezTo>
                <a:close/>
                <a:moveTo>
                  <a:pt x="868" y="162"/>
                </a:moveTo>
                <a:cubicBezTo>
                  <a:pt x="868" y="163"/>
                  <a:pt x="868" y="163"/>
                  <a:pt x="868" y="164"/>
                </a:cubicBezTo>
                <a:cubicBezTo>
                  <a:pt x="868" y="163"/>
                  <a:pt x="868" y="162"/>
                  <a:pt x="868" y="162"/>
                </a:cubicBezTo>
                <a:close/>
                <a:moveTo>
                  <a:pt x="837" y="147"/>
                </a:moveTo>
                <a:cubicBezTo>
                  <a:pt x="837" y="148"/>
                  <a:pt x="837" y="150"/>
                  <a:pt x="836" y="151"/>
                </a:cubicBezTo>
                <a:cubicBezTo>
                  <a:pt x="837" y="150"/>
                  <a:pt x="837" y="148"/>
                  <a:pt x="837" y="147"/>
                </a:cubicBezTo>
                <a:close/>
                <a:moveTo>
                  <a:pt x="852" y="150"/>
                </a:moveTo>
                <a:cubicBezTo>
                  <a:pt x="852" y="149"/>
                  <a:pt x="852" y="149"/>
                  <a:pt x="852" y="149"/>
                </a:cubicBezTo>
                <a:cubicBezTo>
                  <a:pt x="852" y="148"/>
                  <a:pt x="853" y="145"/>
                  <a:pt x="852" y="146"/>
                </a:cubicBezTo>
                <a:cubicBezTo>
                  <a:pt x="852" y="147"/>
                  <a:pt x="851" y="150"/>
                  <a:pt x="851" y="151"/>
                </a:cubicBezTo>
                <a:cubicBezTo>
                  <a:pt x="852" y="151"/>
                  <a:pt x="852" y="150"/>
                  <a:pt x="852" y="150"/>
                </a:cubicBezTo>
                <a:close/>
                <a:moveTo>
                  <a:pt x="857" y="134"/>
                </a:moveTo>
                <a:cubicBezTo>
                  <a:pt x="857" y="134"/>
                  <a:pt x="857" y="134"/>
                  <a:pt x="857" y="134"/>
                </a:cubicBezTo>
                <a:cubicBezTo>
                  <a:pt x="857" y="135"/>
                  <a:pt x="857" y="135"/>
                  <a:pt x="857" y="135"/>
                </a:cubicBezTo>
                <a:lnTo>
                  <a:pt x="857" y="134"/>
                </a:lnTo>
                <a:close/>
                <a:moveTo>
                  <a:pt x="855" y="121"/>
                </a:moveTo>
                <a:cubicBezTo>
                  <a:pt x="855" y="119"/>
                  <a:pt x="855" y="121"/>
                  <a:pt x="855" y="122"/>
                </a:cubicBezTo>
                <a:cubicBezTo>
                  <a:pt x="854" y="122"/>
                  <a:pt x="855" y="122"/>
                  <a:pt x="855" y="122"/>
                </a:cubicBezTo>
                <a:cubicBezTo>
                  <a:pt x="854" y="123"/>
                  <a:pt x="853" y="126"/>
                  <a:pt x="854" y="127"/>
                </a:cubicBezTo>
                <a:cubicBezTo>
                  <a:pt x="854" y="125"/>
                  <a:pt x="855" y="123"/>
                  <a:pt x="855" y="121"/>
                </a:cubicBezTo>
                <a:close/>
                <a:moveTo>
                  <a:pt x="861" y="127"/>
                </a:moveTo>
                <a:cubicBezTo>
                  <a:pt x="861" y="127"/>
                  <a:pt x="861" y="128"/>
                  <a:pt x="861" y="128"/>
                </a:cubicBezTo>
                <a:cubicBezTo>
                  <a:pt x="862" y="128"/>
                  <a:pt x="862" y="127"/>
                  <a:pt x="861" y="127"/>
                </a:cubicBezTo>
                <a:close/>
                <a:moveTo>
                  <a:pt x="843" y="120"/>
                </a:moveTo>
                <a:cubicBezTo>
                  <a:pt x="843" y="121"/>
                  <a:pt x="842" y="121"/>
                  <a:pt x="842" y="122"/>
                </a:cubicBezTo>
                <a:cubicBezTo>
                  <a:pt x="843" y="121"/>
                  <a:pt x="843" y="120"/>
                  <a:pt x="843" y="120"/>
                </a:cubicBezTo>
                <a:close/>
                <a:moveTo>
                  <a:pt x="859" y="124"/>
                </a:moveTo>
                <a:cubicBezTo>
                  <a:pt x="859" y="125"/>
                  <a:pt x="859" y="126"/>
                  <a:pt x="859" y="126"/>
                </a:cubicBezTo>
                <a:cubicBezTo>
                  <a:pt x="859" y="125"/>
                  <a:pt x="860" y="124"/>
                  <a:pt x="859" y="124"/>
                </a:cubicBezTo>
                <a:close/>
                <a:moveTo>
                  <a:pt x="862" y="124"/>
                </a:moveTo>
                <a:cubicBezTo>
                  <a:pt x="862" y="124"/>
                  <a:pt x="861" y="125"/>
                  <a:pt x="862" y="126"/>
                </a:cubicBezTo>
                <a:cubicBezTo>
                  <a:pt x="862" y="125"/>
                  <a:pt x="862" y="124"/>
                  <a:pt x="862" y="124"/>
                </a:cubicBezTo>
                <a:close/>
                <a:moveTo>
                  <a:pt x="839" y="118"/>
                </a:moveTo>
                <a:cubicBezTo>
                  <a:pt x="839" y="118"/>
                  <a:pt x="839" y="119"/>
                  <a:pt x="839" y="119"/>
                </a:cubicBezTo>
                <a:cubicBezTo>
                  <a:pt x="839" y="119"/>
                  <a:pt x="839" y="118"/>
                  <a:pt x="839" y="118"/>
                </a:cubicBezTo>
                <a:close/>
                <a:moveTo>
                  <a:pt x="844" y="116"/>
                </a:moveTo>
                <a:cubicBezTo>
                  <a:pt x="843" y="117"/>
                  <a:pt x="843" y="119"/>
                  <a:pt x="843" y="119"/>
                </a:cubicBezTo>
                <a:cubicBezTo>
                  <a:pt x="843" y="118"/>
                  <a:pt x="844" y="117"/>
                  <a:pt x="844" y="116"/>
                </a:cubicBezTo>
                <a:close/>
                <a:moveTo>
                  <a:pt x="862" y="120"/>
                </a:moveTo>
                <a:cubicBezTo>
                  <a:pt x="862" y="121"/>
                  <a:pt x="861" y="122"/>
                  <a:pt x="862" y="123"/>
                </a:cubicBezTo>
                <a:cubicBezTo>
                  <a:pt x="862" y="122"/>
                  <a:pt x="863" y="121"/>
                  <a:pt x="862" y="120"/>
                </a:cubicBezTo>
                <a:close/>
                <a:moveTo>
                  <a:pt x="855" y="118"/>
                </a:moveTo>
                <a:cubicBezTo>
                  <a:pt x="855" y="118"/>
                  <a:pt x="855" y="119"/>
                  <a:pt x="855" y="119"/>
                </a:cubicBezTo>
                <a:cubicBezTo>
                  <a:pt x="855" y="119"/>
                  <a:pt x="856" y="118"/>
                  <a:pt x="855" y="118"/>
                </a:cubicBezTo>
                <a:close/>
                <a:moveTo>
                  <a:pt x="858" y="117"/>
                </a:moveTo>
                <a:cubicBezTo>
                  <a:pt x="857" y="117"/>
                  <a:pt x="857" y="118"/>
                  <a:pt x="857" y="118"/>
                </a:cubicBezTo>
                <a:cubicBezTo>
                  <a:pt x="857" y="118"/>
                  <a:pt x="858" y="117"/>
                  <a:pt x="858" y="117"/>
                </a:cubicBezTo>
                <a:close/>
                <a:moveTo>
                  <a:pt x="860" y="116"/>
                </a:moveTo>
                <a:cubicBezTo>
                  <a:pt x="860" y="116"/>
                  <a:pt x="860" y="116"/>
                  <a:pt x="860" y="116"/>
                </a:cubicBezTo>
                <a:cubicBezTo>
                  <a:pt x="859" y="115"/>
                  <a:pt x="859" y="117"/>
                  <a:pt x="859" y="117"/>
                </a:cubicBezTo>
                <a:cubicBezTo>
                  <a:pt x="860" y="117"/>
                  <a:pt x="859" y="117"/>
                  <a:pt x="860" y="116"/>
                </a:cubicBezTo>
                <a:close/>
                <a:moveTo>
                  <a:pt x="849" y="110"/>
                </a:moveTo>
                <a:cubicBezTo>
                  <a:pt x="848" y="113"/>
                  <a:pt x="849" y="111"/>
                  <a:pt x="849" y="110"/>
                </a:cubicBezTo>
                <a:close/>
                <a:moveTo>
                  <a:pt x="845" y="105"/>
                </a:moveTo>
                <a:cubicBezTo>
                  <a:pt x="844" y="106"/>
                  <a:pt x="844" y="106"/>
                  <a:pt x="844" y="107"/>
                </a:cubicBezTo>
                <a:cubicBezTo>
                  <a:pt x="844" y="107"/>
                  <a:pt x="845" y="105"/>
                  <a:pt x="845" y="105"/>
                </a:cubicBezTo>
                <a:close/>
                <a:moveTo>
                  <a:pt x="844" y="105"/>
                </a:moveTo>
                <a:cubicBezTo>
                  <a:pt x="843" y="105"/>
                  <a:pt x="843" y="106"/>
                  <a:pt x="843" y="106"/>
                </a:cubicBezTo>
                <a:lnTo>
                  <a:pt x="844" y="105"/>
                </a:lnTo>
                <a:close/>
                <a:moveTo>
                  <a:pt x="836" y="101"/>
                </a:moveTo>
                <a:cubicBezTo>
                  <a:pt x="836" y="102"/>
                  <a:pt x="836" y="102"/>
                  <a:pt x="836" y="102"/>
                </a:cubicBezTo>
                <a:cubicBezTo>
                  <a:pt x="836" y="102"/>
                  <a:pt x="836" y="101"/>
                  <a:pt x="836" y="101"/>
                </a:cubicBezTo>
                <a:close/>
                <a:moveTo>
                  <a:pt x="838" y="98"/>
                </a:moveTo>
                <a:cubicBezTo>
                  <a:pt x="839" y="95"/>
                  <a:pt x="838" y="96"/>
                  <a:pt x="838" y="98"/>
                </a:cubicBezTo>
                <a:close/>
                <a:moveTo>
                  <a:pt x="828" y="135"/>
                </a:moveTo>
                <a:cubicBezTo>
                  <a:pt x="828" y="136"/>
                  <a:pt x="828" y="137"/>
                  <a:pt x="827" y="137"/>
                </a:cubicBezTo>
                <a:cubicBezTo>
                  <a:pt x="828" y="138"/>
                  <a:pt x="828" y="138"/>
                  <a:pt x="828" y="138"/>
                </a:cubicBezTo>
                <a:cubicBezTo>
                  <a:pt x="828" y="137"/>
                  <a:pt x="829" y="136"/>
                  <a:pt x="828" y="135"/>
                </a:cubicBezTo>
                <a:close/>
                <a:moveTo>
                  <a:pt x="846" y="121"/>
                </a:moveTo>
                <a:cubicBezTo>
                  <a:pt x="847" y="121"/>
                  <a:pt x="846" y="122"/>
                  <a:pt x="846" y="123"/>
                </a:cubicBezTo>
                <a:cubicBezTo>
                  <a:pt x="847" y="121"/>
                  <a:pt x="848" y="117"/>
                  <a:pt x="848" y="115"/>
                </a:cubicBezTo>
                <a:cubicBezTo>
                  <a:pt x="848" y="117"/>
                  <a:pt x="846" y="118"/>
                  <a:pt x="847" y="119"/>
                </a:cubicBezTo>
                <a:cubicBezTo>
                  <a:pt x="847" y="119"/>
                  <a:pt x="847" y="119"/>
                  <a:pt x="847" y="118"/>
                </a:cubicBezTo>
                <a:cubicBezTo>
                  <a:pt x="846" y="119"/>
                  <a:pt x="846" y="120"/>
                  <a:pt x="846" y="121"/>
                </a:cubicBezTo>
                <a:cubicBezTo>
                  <a:pt x="846" y="121"/>
                  <a:pt x="846" y="120"/>
                  <a:pt x="846" y="120"/>
                </a:cubicBezTo>
                <a:cubicBezTo>
                  <a:pt x="846" y="121"/>
                  <a:pt x="845" y="121"/>
                  <a:pt x="845" y="121"/>
                </a:cubicBezTo>
                <a:cubicBezTo>
                  <a:pt x="846" y="122"/>
                  <a:pt x="846" y="121"/>
                  <a:pt x="846" y="121"/>
                </a:cubicBezTo>
                <a:close/>
                <a:moveTo>
                  <a:pt x="860" y="122"/>
                </a:moveTo>
                <a:cubicBezTo>
                  <a:pt x="860" y="122"/>
                  <a:pt x="859" y="123"/>
                  <a:pt x="860" y="123"/>
                </a:cubicBezTo>
                <a:cubicBezTo>
                  <a:pt x="860" y="123"/>
                  <a:pt x="860" y="123"/>
                  <a:pt x="860" y="123"/>
                </a:cubicBezTo>
                <a:cubicBezTo>
                  <a:pt x="859" y="124"/>
                  <a:pt x="860" y="122"/>
                  <a:pt x="860" y="122"/>
                </a:cubicBezTo>
                <a:close/>
                <a:moveTo>
                  <a:pt x="861" y="115"/>
                </a:moveTo>
                <a:cubicBezTo>
                  <a:pt x="861" y="115"/>
                  <a:pt x="861" y="115"/>
                  <a:pt x="861" y="115"/>
                </a:cubicBezTo>
                <a:cubicBezTo>
                  <a:pt x="862" y="117"/>
                  <a:pt x="859" y="120"/>
                  <a:pt x="860" y="122"/>
                </a:cubicBezTo>
                <a:cubicBezTo>
                  <a:pt x="860" y="118"/>
                  <a:pt x="862" y="115"/>
                  <a:pt x="862" y="112"/>
                </a:cubicBezTo>
                <a:cubicBezTo>
                  <a:pt x="862" y="112"/>
                  <a:pt x="862" y="111"/>
                  <a:pt x="862" y="111"/>
                </a:cubicBezTo>
                <a:cubicBezTo>
                  <a:pt x="862" y="110"/>
                  <a:pt x="864" y="107"/>
                  <a:pt x="863" y="106"/>
                </a:cubicBezTo>
                <a:cubicBezTo>
                  <a:pt x="863" y="107"/>
                  <a:pt x="862" y="108"/>
                  <a:pt x="862" y="110"/>
                </a:cubicBezTo>
                <a:cubicBezTo>
                  <a:pt x="861" y="109"/>
                  <a:pt x="861" y="109"/>
                  <a:pt x="861" y="109"/>
                </a:cubicBezTo>
                <a:cubicBezTo>
                  <a:pt x="862" y="111"/>
                  <a:pt x="861" y="114"/>
                  <a:pt x="861" y="115"/>
                </a:cubicBezTo>
                <a:close/>
                <a:moveTo>
                  <a:pt x="842" y="104"/>
                </a:moveTo>
                <a:cubicBezTo>
                  <a:pt x="842" y="105"/>
                  <a:pt x="842" y="105"/>
                  <a:pt x="842" y="106"/>
                </a:cubicBezTo>
                <a:cubicBezTo>
                  <a:pt x="843" y="105"/>
                  <a:pt x="842" y="104"/>
                  <a:pt x="842" y="104"/>
                </a:cubicBezTo>
                <a:close/>
                <a:moveTo>
                  <a:pt x="707" y="252"/>
                </a:moveTo>
                <a:cubicBezTo>
                  <a:pt x="708" y="252"/>
                  <a:pt x="709" y="252"/>
                  <a:pt x="710" y="253"/>
                </a:cubicBezTo>
                <a:cubicBezTo>
                  <a:pt x="710" y="254"/>
                  <a:pt x="709" y="255"/>
                  <a:pt x="710" y="256"/>
                </a:cubicBezTo>
                <a:cubicBezTo>
                  <a:pt x="712" y="257"/>
                  <a:pt x="715" y="253"/>
                  <a:pt x="715" y="256"/>
                </a:cubicBezTo>
                <a:cubicBezTo>
                  <a:pt x="717" y="258"/>
                  <a:pt x="720" y="259"/>
                  <a:pt x="723" y="259"/>
                </a:cubicBezTo>
                <a:cubicBezTo>
                  <a:pt x="725" y="260"/>
                  <a:pt x="726" y="261"/>
                  <a:pt x="728" y="262"/>
                </a:cubicBezTo>
                <a:cubicBezTo>
                  <a:pt x="730" y="262"/>
                  <a:pt x="733" y="262"/>
                  <a:pt x="734" y="263"/>
                </a:cubicBezTo>
                <a:cubicBezTo>
                  <a:pt x="736" y="263"/>
                  <a:pt x="737" y="264"/>
                  <a:pt x="739" y="265"/>
                </a:cubicBezTo>
                <a:cubicBezTo>
                  <a:pt x="744" y="267"/>
                  <a:pt x="749" y="267"/>
                  <a:pt x="753" y="269"/>
                </a:cubicBezTo>
                <a:cubicBezTo>
                  <a:pt x="756" y="269"/>
                  <a:pt x="760" y="271"/>
                  <a:pt x="762" y="272"/>
                </a:cubicBezTo>
                <a:cubicBezTo>
                  <a:pt x="765" y="272"/>
                  <a:pt x="768" y="274"/>
                  <a:pt x="771" y="275"/>
                </a:cubicBezTo>
                <a:cubicBezTo>
                  <a:pt x="772" y="275"/>
                  <a:pt x="774" y="275"/>
                  <a:pt x="776" y="276"/>
                </a:cubicBezTo>
                <a:cubicBezTo>
                  <a:pt x="776" y="276"/>
                  <a:pt x="777" y="276"/>
                  <a:pt x="777" y="276"/>
                </a:cubicBezTo>
                <a:cubicBezTo>
                  <a:pt x="779" y="277"/>
                  <a:pt x="781" y="277"/>
                  <a:pt x="782" y="277"/>
                </a:cubicBezTo>
                <a:cubicBezTo>
                  <a:pt x="784" y="278"/>
                  <a:pt x="785" y="279"/>
                  <a:pt x="787" y="279"/>
                </a:cubicBezTo>
                <a:cubicBezTo>
                  <a:pt x="789" y="280"/>
                  <a:pt x="792" y="281"/>
                  <a:pt x="795" y="281"/>
                </a:cubicBezTo>
                <a:cubicBezTo>
                  <a:pt x="796" y="282"/>
                  <a:pt x="798" y="282"/>
                  <a:pt x="799" y="282"/>
                </a:cubicBezTo>
                <a:cubicBezTo>
                  <a:pt x="800" y="283"/>
                  <a:pt x="800" y="283"/>
                  <a:pt x="801" y="283"/>
                </a:cubicBezTo>
                <a:cubicBezTo>
                  <a:pt x="802" y="283"/>
                  <a:pt x="802" y="283"/>
                  <a:pt x="802" y="283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4" y="285"/>
                  <a:pt x="805" y="284"/>
                  <a:pt x="806" y="285"/>
                </a:cubicBezTo>
                <a:cubicBezTo>
                  <a:pt x="807" y="285"/>
                  <a:pt x="808" y="286"/>
                  <a:pt x="809" y="287"/>
                </a:cubicBezTo>
                <a:cubicBezTo>
                  <a:pt x="810" y="286"/>
                  <a:pt x="811" y="287"/>
                  <a:pt x="812" y="288"/>
                </a:cubicBezTo>
                <a:cubicBezTo>
                  <a:pt x="813" y="288"/>
                  <a:pt x="813" y="288"/>
                  <a:pt x="813" y="288"/>
                </a:cubicBezTo>
                <a:cubicBezTo>
                  <a:pt x="813" y="288"/>
                  <a:pt x="813" y="287"/>
                  <a:pt x="813" y="287"/>
                </a:cubicBezTo>
                <a:cubicBezTo>
                  <a:pt x="813" y="287"/>
                  <a:pt x="813" y="287"/>
                  <a:pt x="813" y="286"/>
                </a:cubicBezTo>
                <a:cubicBezTo>
                  <a:pt x="813" y="286"/>
                  <a:pt x="813" y="286"/>
                  <a:pt x="813" y="286"/>
                </a:cubicBezTo>
                <a:cubicBezTo>
                  <a:pt x="813" y="285"/>
                  <a:pt x="813" y="285"/>
                  <a:pt x="813" y="284"/>
                </a:cubicBezTo>
                <a:cubicBezTo>
                  <a:pt x="813" y="282"/>
                  <a:pt x="813" y="282"/>
                  <a:pt x="813" y="282"/>
                </a:cubicBezTo>
                <a:cubicBezTo>
                  <a:pt x="813" y="282"/>
                  <a:pt x="812" y="281"/>
                  <a:pt x="812" y="280"/>
                </a:cubicBezTo>
                <a:cubicBezTo>
                  <a:pt x="812" y="280"/>
                  <a:pt x="813" y="280"/>
                  <a:pt x="813" y="279"/>
                </a:cubicBezTo>
                <a:cubicBezTo>
                  <a:pt x="813" y="279"/>
                  <a:pt x="812" y="279"/>
                  <a:pt x="812" y="279"/>
                </a:cubicBezTo>
                <a:cubicBezTo>
                  <a:pt x="812" y="278"/>
                  <a:pt x="812" y="278"/>
                  <a:pt x="812" y="278"/>
                </a:cubicBezTo>
                <a:cubicBezTo>
                  <a:pt x="812" y="277"/>
                  <a:pt x="812" y="277"/>
                  <a:pt x="812" y="277"/>
                </a:cubicBezTo>
                <a:cubicBezTo>
                  <a:pt x="812" y="276"/>
                  <a:pt x="812" y="276"/>
                  <a:pt x="812" y="275"/>
                </a:cubicBezTo>
                <a:cubicBezTo>
                  <a:pt x="813" y="270"/>
                  <a:pt x="813" y="265"/>
                  <a:pt x="813" y="259"/>
                </a:cubicBezTo>
                <a:cubicBezTo>
                  <a:pt x="813" y="254"/>
                  <a:pt x="813" y="250"/>
                  <a:pt x="813" y="245"/>
                </a:cubicBezTo>
                <a:cubicBezTo>
                  <a:pt x="815" y="226"/>
                  <a:pt x="815" y="226"/>
                  <a:pt x="815" y="226"/>
                </a:cubicBezTo>
                <a:cubicBezTo>
                  <a:pt x="815" y="219"/>
                  <a:pt x="816" y="212"/>
                  <a:pt x="817" y="206"/>
                </a:cubicBezTo>
                <a:cubicBezTo>
                  <a:pt x="817" y="206"/>
                  <a:pt x="818" y="205"/>
                  <a:pt x="818" y="205"/>
                </a:cubicBezTo>
                <a:cubicBezTo>
                  <a:pt x="818" y="204"/>
                  <a:pt x="817" y="204"/>
                  <a:pt x="818" y="204"/>
                </a:cubicBezTo>
                <a:cubicBezTo>
                  <a:pt x="818" y="203"/>
                  <a:pt x="818" y="203"/>
                  <a:pt x="818" y="203"/>
                </a:cubicBezTo>
                <a:cubicBezTo>
                  <a:pt x="819" y="197"/>
                  <a:pt x="820" y="192"/>
                  <a:pt x="822" y="186"/>
                </a:cubicBezTo>
                <a:cubicBezTo>
                  <a:pt x="822" y="185"/>
                  <a:pt x="822" y="186"/>
                  <a:pt x="822" y="186"/>
                </a:cubicBezTo>
                <a:cubicBezTo>
                  <a:pt x="823" y="183"/>
                  <a:pt x="824" y="178"/>
                  <a:pt x="825" y="175"/>
                </a:cubicBezTo>
                <a:cubicBezTo>
                  <a:pt x="825" y="173"/>
                  <a:pt x="825" y="171"/>
                  <a:pt x="826" y="170"/>
                </a:cubicBezTo>
                <a:cubicBezTo>
                  <a:pt x="826" y="169"/>
                  <a:pt x="825" y="169"/>
                  <a:pt x="825" y="169"/>
                </a:cubicBezTo>
                <a:cubicBezTo>
                  <a:pt x="826" y="169"/>
                  <a:pt x="826" y="169"/>
                  <a:pt x="826" y="169"/>
                </a:cubicBezTo>
                <a:cubicBezTo>
                  <a:pt x="826" y="167"/>
                  <a:pt x="826" y="167"/>
                  <a:pt x="826" y="167"/>
                </a:cubicBezTo>
                <a:cubicBezTo>
                  <a:pt x="827" y="164"/>
                  <a:pt x="828" y="160"/>
                  <a:pt x="829" y="156"/>
                </a:cubicBezTo>
                <a:cubicBezTo>
                  <a:pt x="829" y="155"/>
                  <a:pt x="829" y="155"/>
                  <a:pt x="829" y="154"/>
                </a:cubicBezTo>
                <a:cubicBezTo>
                  <a:pt x="830" y="154"/>
                  <a:pt x="830" y="154"/>
                  <a:pt x="829" y="153"/>
                </a:cubicBezTo>
                <a:cubicBezTo>
                  <a:pt x="829" y="153"/>
                  <a:pt x="830" y="151"/>
                  <a:pt x="830" y="152"/>
                </a:cubicBezTo>
                <a:cubicBezTo>
                  <a:pt x="830" y="151"/>
                  <a:pt x="830" y="152"/>
                  <a:pt x="830" y="152"/>
                </a:cubicBezTo>
                <a:cubicBezTo>
                  <a:pt x="831" y="151"/>
                  <a:pt x="831" y="149"/>
                  <a:pt x="831" y="147"/>
                </a:cubicBezTo>
                <a:cubicBezTo>
                  <a:pt x="831" y="146"/>
                  <a:pt x="832" y="144"/>
                  <a:pt x="833" y="142"/>
                </a:cubicBezTo>
                <a:cubicBezTo>
                  <a:pt x="833" y="144"/>
                  <a:pt x="833" y="146"/>
                  <a:pt x="835" y="147"/>
                </a:cubicBezTo>
                <a:cubicBezTo>
                  <a:pt x="836" y="145"/>
                  <a:pt x="836" y="141"/>
                  <a:pt x="837" y="140"/>
                </a:cubicBezTo>
                <a:cubicBezTo>
                  <a:pt x="838" y="135"/>
                  <a:pt x="839" y="130"/>
                  <a:pt x="840" y="125"/>
                </a:cubicBezTo>
                <a:cubicBezTo>
                  <a:pt x="840" y="124"/>
                  <a:pt x="840" y="124"/>
                  <a:pt x="840" y="124"/>
                </a:cubicBezTo>
                <a:cubicBezTo>
                  <a:pt x="842" y="119"/>
                  <a:pt x="842" y="114"/>
                  <a:pt x="844" y="108"/>
                </a:cubicBezTo>
                <a:cubicBezTo>
                  <a:pt x="842" y="119"/>
                  <a:pt x="839" y="128"/>
                  <a:pt x="838" y="138"/>
                </a:cubicBezTo>
                <a:cubicBezTo>
                  <a:pt x="837" y="140"/>
                  <a:pt x="836" y="146"/>
                  <a:pt x="835" y="150"/>
                </a:cubicBezTo>
                <a:cubicBezTo>
                  <a:pt x="835" y="152"/>
                  <a:pt x="836" y="153"/>
                  <a:pt x="838" y="152"/>
                </a:cubicBezTo>
                <a:cubicBezTo>
                  <a:pt x="840" y="150"/>
                  <a:pt x="839" y="147"/>
                  <a:pt x="840" y="145"/>
                </a:cubicBezTo>
                <a:cubicBezTo>
                  <a:pt x="841" y="145"/>
                  <a:pt x="841" y="144"/>
                  <a:pt x="842" y="145"/>
                </a:cubicBezTo>
                <a:cubicBezTo>
                  <a:pt x="842" y="150"/>
                  <a:pt x="840" y="156"/>
                  <a:pt x="840" y="160"/>
                </a:cubicBezTo>
                <a:cubicBezTo>
                  <a:pt x="840" y="161"/>
                  <a:pt x="840" y="162"/>
                  <a:pt x="840" y="163"/>
                </a:cubicBezTo>
                <a:cubicBezTo>
                  <a:pt x="840" y="163"/>
                  <a:pt x="840" y="164"/>
                  <a:pt x="841" y="164"/>
                </a:cubicBezTo>
                <a:cubicBezTo>
                  <a:pt x="841" y="164"/>
                  <a:pt x="841" y="164"/>
                  <a:pt x="842" y="164"/>
                </a:cubicBezTo>
                <a:cubicBezTo>
                  <a:pt x="842" y="159"/>
                  <a:pt x="846" y="156"/>
                  <a:pt x="846" y="151"/>
                </a:cubicBezTo>
                <a:cubicBezTo>
                  <a:pt x="847" y="150"/>
                  <a:pt x="848" y="149"/>
                  <a:pt x="849" y="149"/>
                </a:cubicBezTo>
                <a:cubicBezTo>
                  <a:pt x="849" y="147"/>
                  <a:pt x="850" y="145"/>
                  <a:pt x="850" y="143"/>
                </a:cubicBezTo>
                <a:cubicBezTo>
                  <a:pt x="850" y="142"/>
                  <a:pt x="850" y="142"/>
                  <a:pt x="850" y="142"/>
                </a:cubicBezTo>
                <a:cubicBezTo>
                  <a:pt x="851" y="137"/>
                  <a:pt x="851" y="133"/>
                  <a:pt x="853" y="129"/>
                </a:cubicBezTo>
                <a:cubicBezTo>
                  <a:pt x="853" y="133"/>
                  <a:pt x="852" y="136"/>
                  <a:pt x="851" y="140"/>
                </a:cubicBezTo>
                <a:cubicBezTo>
                  <a:pt x="851" y="140"/>
                  <a:pt x="852" y="141"/>
                  <a:pt x="852" y="141"/>
                </a:cubicBezTo>
                <a:cubicBezTo>
                  <a:pt x="851" y="144"/>
                  <a:pt x="850" y="149"/>
                  <a:pt x="849" y="152"/>
                </a:cubicBezTo>
                <a:cubicBezTo>
                  <a:pt x="850" y="153"/>
                  <a:pt x="851" y="153"/>
                  <a:pt x="851" y="152"/>
                </a:cubicBezTo>
                <a:cubicBezTo>
                  <a:pt x="851" y="152"/>
                  <a:pt x="851" y="153"/>
                  <a:pt x="851" y="153"/>
                </a:cubicBezTo>
                <a:cubicBezTo>
                  <a:pt x="851" y="153"/>
                  <a:pt x="851" y="153"/>
                  <a:pt x="852" y="153"/>
                </a:cubicBezTo>
                <a:cubicBezTo>
                  <a:pt x="851" y="155"/>
                  <a:pt x="851" y="155"/>
                  <a:pt x="851" y="157"/>
                </a:cubicBezTo>
                <a:cubicBezTo>
                  <a:pt x="851" y="158"/>
                  <a:pt x="851" y="158"/>
                  <a:pt x="852" y="158"/>
                </a:cubicBezTo>
                <a:cubicBezTo>
                  <a:pt x="852" y="156"/>
                  <a:pt x="853" y="155"/>
                  <a:pt x="853" y="153"/>
                </a:cubicBezTo>
                <a:cubicBezTo>
                  <a:pt x="853" y="152"/>
                  <a:pt x="853" y="151"/>
                  <a:pt x="853" y="151"/>
                </a:cubicBezTo>
                <a:cubicBezTo>
                  <a:pt x="853" y="150"/>
                  <a:pt x="853" y="150"/>
                  <a:pt x="854" y="150"/>
                </a:cubicBezTo>
                <a:cubicBezTo>
                  <a:pt x="854" y="149"/>
                  <a:pt x="853" y="149"/>
                  <a:pt x="853" y="148"/>
                </a:cubicBezTo>
                <a:cubicBezTo>
                  <a:pt x="853" y="148"/>
                  <a:pt x="854" y="148"/>
                  <a:pt x="854" y="147"/>
                </a:cubicBezTo>
                <a:cubicBezTo>
                  <a:pt x="855" y="145"/>
                  <a:pt x="854" y="143"/>
                  <a:pt x="855" y="141"/>
                </a:cubicBezTo>
                <a:cubicBezTo>
                  <a:pt x="855" y="140"/>
                  <a:pt x="856" y="139"/>
                  <a:pt x="857" y="137"/>
                </a:cubicBezTo>
                <a:cubicBezTo>
                  <a:pt x="857" y="138"/>
                  <a:pt x="856" y="139"/>
                  <a:pt x="856" y="140"/>
                </a:cubicBezTo>
                <a:cubicBezTo>
                  <a:pt x="855" y="144"/>
                  <a:pt x="856" y="148"/>
                  <a:pt x="855" y="151"/>
                </a:cubicBezTo>
                <a:cubicBezTo>
                  <a:pt x="856" y="152"/>
                  <a:pt x="856" y="151"/>
                  <a:pt x="857" y="151"/>
                </a:cubicBezTo>
                <a:cubicBezTo>
                  <a:pt x="857" y="150"/>
                  <a:pt x="857" y="149"/>
                  <a:pt x="857" y="148"/>
                </a:cubicBezTo>
                <a:cubicBezTo>
                  <a:pt x="857" y="148"/>
                  <a:pt x="857" y="149"/>
                  <a:pt x="857" y="148"/>
                </a:cubicBezTo>
                <a:cubicBezTo>
                  <a:pt x="857" y="146"/>
                  <a:pt x="857" y="144"/>
                  <a:pt x="858" y="141"/>
                </a:cubicBezTo>
                <a:cubicBezTo>
                  <a:pt x="858" y="141"/>
                  <a:pt x="858" y="140"/>
                  <a:pt x="859" y="141"/>
                </a:cubicBezTo>
                <a:cubicBezTo>
                  <a:pt x="859" y="140"/>
                  <a:pt x="859" y="140"/>
                  <a:pt x="860" y="140"/>
                </a:cubicBezTo>
                <a:cubicBezTo>
                  <a:pt x="860" y="139"/>
                  <a:pt x="859" y="140"/>
                  <a:pt x="859" y="140"/>
                </a:cubicBezTo>
                <a:cubicBezTo>
                  <a:pt x="860" y="139"/>
                  <a:pt x="859" y="138"/>
                  <a:pt x="860" y="138"/>
                </a:cubicBezTo>
                <a:cubicBezTo>
                  <a:pt x="860" y="134"/>
                  <a:pt x="861" y="132"/>
                  <a:pt x="861" y="128"/>
                </a:cubicBezTo>
                <a:cubicBezTo>
                  <a:pt x="861" y="131"/>
                  <a:pt x="861" y="134"/>
                  <a:pt x="860" y="137"/>
                </a:cubicBezTo>
                <a:cubicBezTo>
                  <a:pt x="860" y="138"/>
                  <a:pt x="861" y="137"/>
                  <a:pt x="861" y="138"/>
                </a:cubicBezTo>
                <a:cubicBezTo>
                  <a:pt x="861" y="139"/>
                  <a:pt x="860" y="139"/>
                  <a:pt x="860" y="140"/>
                </a:cubicBezTo>
                <a:cubicBezTo>
                  <a:pt x="860" y="141"/>
                  <a:pt x="860" y="142"/>
                  <a:pt x="860" y="143"/>
                </a:cubicBezTo>
                <a:cubicBezTo>
                  <a:pt x="860" y="144"/>
                  <a:pt x="859" y="145"/>
                  <a:pt x="859" y="146"/>
                </a:cubicBezTo>
                <a:cubicBezTo>
                  <a:pt x="860" y="147"/>
                  <a:pt x="860" y="148"/>
                  <a:pt x="860" y="149"/>
                </a:cubicBezTo>
                <a:cubicBezTo>
                  <a:pt x="860" y="150"/>
                  <a:pt x="860" y="149"/>
                  <a:pt x="860" y="150"/>
                </a:cubicBezTo>
                <a:cubicBezTo>
                  <a:pt x="861" y="151"/>
                  <a:pt x="861" y="150"/>
                  <a:pt x="862" y="150"/>
                </a:cubicBezTo>
                <a:cubicBezTo>
                  <a:pt x="862" y="151"/>
                  <a:pt x="861" y="150"/>
                  <a:pt x="861" y="151"/>
                </a:cubicBezTo>
                <a:cubicBezTo>
                  <a:pt x="861" y="151"/>
                  <a:pt x="861" y="152"/>
                  <a:pt x="862" y="152"/>
                </a:cubicBezTo>
                <a:cubicBezTo>
                  <a:pt x="861" y="154"/>
                  <a:pt x="861" y="155"/>
                  <a:pt x="861" y="157"/>
                </a:cubicBezTo>
                <a:cubicBezTo>
                  <a:pt x="861" y="157"/>
                  <a:pt x="861" y="156"/>
                  <a:pt x="861" y="157"/>
                </a:cubicBezTo>
                <a:cubicBezTo>
                  <a:pt x="861" y="157"/>
                  <a:pt x="861" y="160"/>
                  <a:pt x="861" y="160"/>
                </a:cubicBezTo>
                <a:cubicBezTo>
                  <a:pt x="861" y="162"/>
                  <a:pt x="861" y="163"/>
                  <a:pt x="860" y="165"/>
                </a:cubicBezTo>
                <a:cubicBezTo>
                  <a:pt x="860" y="166"/>
                  <a:pt x="861" y="165"/>
                  <a:pt x="861" y="166"/>
                </a:cubicBezTo>
                <a:cubicBezTo>
                  <a:pt x="861" y="167"/>
                  <a:pt x="861" y="168"/>
                  <a:pt x="860" y="169"/>
                </a:cubicBezTo>
                <a:cubicBezTo>
                  <a:pt x="861" y="170"/>
                  <a:pt x="861" y="172"/>
                  <a:pt x="860" y="173"/>
                </a:cubicBezTo>
                <a:cubicBezTo>
                  <a:pt x="861" y="173"/>
                  <a:pt x="861" y="172"/>
                  <a:pt x="862" y="172"/>
                </a:cubicBezTo>
                <a:cubicBezTo>
                  <a:pt x="862" y="172"/>
                  <a:pt x="861" y="173"/>
                  <a:pt x="861" y="174"/>
                </a:cubicBezTo>
                <a:cubicBezTo>
                  <a:pt x="861" y="178"/>
                  <a:pt x="862" y="181"/>
                  <a:pt x="861" y="186"/>
                </a:cubicBezTo>
                <a:cubicBezTo>
                  <a:pt x="861" y="187"/>
                  <a:pt x="862" y="187"/>
                  <a:pt x="861" y="188"/>
                </a:cubicBezTo>
                <a:cubicBezTo>
                  <a:pt x="861" y="188"/>
                  <a:pt x="862" y="188"/>
                  <a:pt x="862" y="188"/>
                </a:cubicBezTo>
                <a:cubicBezTo>
                  <a:pt x="862" y="190"/>
                  <a:pt x="860" y="196"/>
                  <a:pt x="862" y="198"/>
                </a:cubicBezTo>
                <a:cubicBezTo>
                  <a:pt x="861" y="198"/>
                  <a:pt x="861" y="197"/>
                  <a:pt x="861" y="198"/>
                </a:cubicBezTo>
                <a:cubicBezTo>
                  <a:pt x="861" y="199"/>
                  <a:pt x="860" y="200"/>
                  <a:pt x="861" y="201"/>
                </a:cubicBezTo>
                <a:cubicBezTo>
                  <a:pt x="861" y="204"/>
                  <a:pt x="860" y="206"/>
                  <a:pt x="861" y="208"/>
                </a:cubicBezTo>
                <a:cubicBezTo>
                  <a:pt x="860" y="209"/>
                  <a:pt x="860" y="210"/>
                  <a:pt x="860" y="210"/>
                </a:cubicBezTo>
                <a:cubicBezTo>
                  <a:pt x="860" y="211"/>
                  <a:pt x="860" y="213"/>
                  <a:pt x="860" y="214"/>
                </a:cubicBezTo>
                <a:cubicBezTo>
                  <a:pt x="859" y="231"/>
                  <a:pt x="857" y="248"/>
                  <a:pt x="857" y="264"/>
                </a:cubicBezTo>
                <a:cubicBezTo>
                  <a:pt x="856" y="268"/>
                  <a:pt x="857" y="273"/>
                  <a:pt x="857" y="277"/>
                </a:cubicBezTo>
                <a:cubicBezTo>
                  <a:pt x="857" y="277"/>
                  <a:pt x="857" y="277"/>
                  <a:pt x="857" y="278"/>
                </a:cubicBezTo>
                <a:cubicBezTo>
                  <a:pt x="857" y="279"/>
                  <a:pt x="857" y="279"/>
                  <a:pt x="857" y="279"/>
                </a:cubicBezTo>
                <a:cubicBezTo>
                  <a:pt x="857" y="280"/>
                  <a:pt x="857" y="281"/>
                  <a:pt x="857" y="282"/>
                </a:cubicBezTo>
                <a:cubicBezTo>
                  <a:pt x="857" y="291"/>
                  <a:pt x="857" y="302"/>
                  <a:pt x="859" y="311"/>
                </a:cubicBezTo>
                <a:cubicBezTo>
                  <a:pt x="858" y="317"/>
                  <a:pt x="860" y="324"/>
                  <a:pt x="860" y="331"/>
                </a:cubicBezTo>
                <a:cubicBezTo>
                  <a:pt x="860" y="334"/>
                  <a:pt x="860" y="336"/>
                  <a:pt x="860" y="339"/>
                </a:cubicBezTo>
                <a:cubicBezTo>
                  <a:pt x="861" y="340"/>
                  <a:pt x="861" y="342"/>
                  <a:pt x="861" y="343"/>
                </a:cubicBezTo>
                <a:cubicBezTo>
                  <a:pt x="861" y="345"/>
                  <a:pt x="861" y="347"/>
                  <a:pt x="861" y="349"/>
                </a:cubicBezTo>
                <a:cubicBezTo>
                  <a:pt x="861" y="350"/>
                  <a:pt x="861" y="350"/>
                  <a:pt x="861" y="350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0" y="350"/>
                  <a:pt x="860" y="350"/>
                </a:cubicBezTo>
                <a:cubicBezTo>
                  <a:pt x="859" y="350"/>
                  <a:pt x="858" y="350"/>
                  <a:pt x="857" y="349"/>
                </a:cubicBezTo>
                <a:cubicBezTo>
                  <a:pt x="854" y="349"/>
                  <a:pt x="853" y="349"/>
                  <a:pt x="851" y="348"/>
                </a:cubicBezTo>
                <a:cubicBezTo>
                  <a:pt x="843" y="346"/>
                  <a:pt x="834" y="342"/>
                  <a:pt x="826" y="340"/>
                </a:cubicBezTo>
                <a:cubicBezTo>
                  <a:pt x="824" y="340"/>
                  <a:pt x="821" y="338"/>
                  <a:pt x="819" y="338"/>
                </a:cubicBezTo>
                <a:cubicBezTo>
                  <a:pt x="818" y="338"/>
                  <a:pt x="817" y="338"/>
                  <a:pt x="816" y="337"/>
                </a:cubicBezTo>
                <a:cubicBezTo>
                  <a:pt x="812" y="336"/>
                  <a:pt x="807" y="334"/>
                  <a:pt x="803" y="334"/>
                </a:cubicBezTo>
                <a:cubicBezTo>
                  <a:pt x="801" y="333"/>
                  <a:pt x="799" y="332"/>
                  <a:pt x="797" y="331"/>
                </a:cubicBezTo>
                <a:cubicBezTo>
                  <a:pt x="794" y="331"/>
                  <a:pt x="792" y="330"/>
                  <a:pt x="790" y="330"/>
                </a:cubicBezTo>
                <a:cubicBezTo>
                  <a:pt x="789" y="329"/>
                  <a:pt x="788" y="329"/>
                  <a:pt x="788" y="329"/>
                </a:cubicBezTo>
                <a:cubicBezTo>
                  <a:pt x="787" y="329"/>
                  <a:pt x="787" y="329"/>
                  <a:pt x="786" y="328"/>
                </a:cubicBezTo>
                <a:cubicBezTo>
                  <a:pt x="783" y="328"/>
                  <a:pt x="779" y="327"/>
                  <a:pt x="776" y="325"/>
                </a:cubicBezTo>
                <a:cubicBezTo>
                  <a:pt x="775" y="325"/>
                  <a:pt x="775" y="325"/>
                  <a:pt x="775" y="326"/>
                </a:cubicBezTo>
                <a:cubicBezTo>
                  <a:pt x="773" y="324"/>
                  <a:pt x="770" y="325"/>
                  <a:pt x="768" y="324"/>
                </a:cubicBezTo>
                <a:cubicBezTo>
                  <a:pt x="767" y="324"/>
                  <a:pt x="767" y="324"/>
                  <a:pt x="767" y="324"/>
                </a:cubicBezTo>
                <a:cubicBezTo>
                  <a:pt x="766" y="323"/>
                  <a:pt x="765" y="323"/>
                  <a:pt x="763" y="323"/>
                </a:cubicBezTo>
                <a:cubicBezTo>
                  <a:pt x="759" y="321"/>
                  <a:pt x="755" y="321"/>
                  <a:pt x="751" y="319"/>
                </a:cubicBezTo>
                <a:cubicBezTo>
                  <a:pt x="749" y="320"/>
                  <a:pt x="746" y="319"/>
                  <a:pt x="744" y="318"/>
                </a:cubicBezTo>
                <a:cubicBezTo>
                  <a:pt x="743" y="318"/>
                  <a:pt x="743" y="319"/>
                  <a:pt x="742" y="318"/>
                </a:cubicBezTo>
                <a:cubicBezTo>
                  <a:pt x="741" y="318"/>
                  <a:pt x="741" y="318"/>
                  <a:pt x="741" y="318"/>
                </a:cubicBezTo>
                <a:cubicBezTo>
                  <a:pt x="740" y="318"/>
                  <a:pt x="740" y="318"/>
                  <a:pt x="739" y="318"/>
                </a:cubicBezTo>
                <a:cubicBezTo>
                  <a:pt x="738" y="317"/>
                  <a:pt x="738" y="317"/>
                  <a:pt x="737" y="316"/>
                </a:cubicBezTo>
                <a:cubicBezTo>
                  <a:pt x="736" y="316"/>
                  <a:pt x="736" y="317"/>
                  <a:pt x="735" y="316"/>
                </a:cubicBezTo>
                <a:cubicBezTo>
                  <a:pt x="734" y="316"/>
                  <a:pt x="733" y="315"/>
                  <a:pt x="733" y="315"/>
                </a:cubicBezTo>
                <a:cubicBezTo>
                  <a:pt x="731" y="315"/>
                  <a:pt x="729" y="316"/>
                  <a:pt x="727" y="314"/>
                </a:cubicBezTo>
                <a:cubicBezTo>
                  <a:pt x="725" y="314"/>
                  <a:pt x="724" y="313"/>
                  <a:pt x="722" y="313"/>
                </a:cubicBezTo>
                <a:cubicBezTo>
                  <a:pt x="721" y="313"/>
                  <a:pt x="720" y="313"/>
                  <a:pt x="719" y="313"/>
                </a:cubicBezTo>
                <a:cubicBezTo>
                  <a:pt x="718" y="313"/>
                  <a:pt x="718" y="313"/>
                  <a:pt x="717" y="313"/>
                </a:cubicBezTo>
                <a:cubicBezTo>
                  <a:pt x="715" y="312"/>
                  <a:pt x="713" y="313"/>
                  <a:pt x="711" y="311"/>
                </a:cubicBezTo>
                <a:cubicBezTo>
                  <a:pt x="708" y="312"/>
                  <a:pt x="703" y="309"/>
                  <a:pt x="701" y="311"/>
                </a:cubicBezTo>
                <a:cubicBezTo>
                  <a:pt x="701" y="312"/>
                  <a:pt x="700" y="313"/>
                  <a:pt x="699" y="313"/>
                </a:cubicBezTo>
                <a:cubicBezTo>
                  <a:pt x="698" y="313"/>
                  <a:pt x="698" y="312"/>
                  <a:pt x="697" y="311"/>
                </a:cubicBezTo>
                <a:cubicBezTo>
                  <a:pt x="696" y="311"/>
                  <a:pt x="693" y="310"/>
                  <a:pt x="692" y="310"/>
                </a:cubicBezTo>
                <a:cubicBezTo>
                  <a:pt x="691" y="310"/>
                  <a:pt x="691" y="311"/>
                  <a:pt x="690" y="311"/>
                </a:cubicBezTo>
                <a:cubicBezTo>
                  <a:pt x="689" y="311"/>
                  <a:pt x="688" y="309"/>
                  <a:pt x="687" y="309"/>
                </a:cubicBezTo>
                <a:cubicBezTo>
                  <a:pt x="686" y="309"/>
                  <a:pt x="685" y="310"/>
                  <a:pt x="684" y="310"/>
                </a:cubicBezTo>
                <a:cubicBezTo>
                  <a:pt x="683" y="309"/>
                  <a:pt x="682" y="308"/>
                  <a:pt x="682" y="307"/>
                </a:cubicBezTo>
                <a:cubicBezTo>
                  <a:pt x="682" y="307"/>
                  <a:pt x="682" y="307"/>
                  <a:pt x="681" y="307"/>
                </a:cubicBezTo>
                <a:cubicBezTo>
                  <a:pt x="680" y="305"/>
                  <a:pt x="677" y="304"/>
                  <a:pt x="674" y="304"/>
                </a:cubicBezTo>
                <a:cubicBezTo>
                  <a:pt x="674" y="303"/>
                  <a:pt x="673" y="303"/>
                  <a:pt x="673" y="303"/>
                </a:cubicBezTo>
                <a:cubicBezTo>
                  <a:pt x="670" y="302"/>
                  <a:pt x="668" y="299"/>
                  <a:pt x="666" y="296"/>
                </a:cubicBezTo>
                <a:cubicBezTo>
                  <a:pt x="666" y="296"/>
                  <a:pt x="665" y="296"/>
                  <a:pt x="665" y="295"/>
                </a:cubicBezTo>
                <a:cubicBezTo>
                  <a:pt x="664" y="294"/>
                  <a:pt x="664" y="293"/>
                  <a:pt x="663" y="292"/>
                </a:cubicBezTo>
                <a:cubicBezTo>
                  <a:pt x="663" y="291"/>
                  <a:pt x="662" y="291"/>
                  <a:pt x="662" y="290"/>
                </a:cubicBezTo>
                <a:cubicBezTo>
                  <a:pt x="662" y="288"/>
                  <a:pt x="661" y="287"/>
                  <a:pt x="660" y="286"/>
                </a:cubicBezTo>
                <a:cubicBezTo>
                  <a:pt x="660" y="285"/>
                  <a:pt x="659" y="284"/>
                  <a:pt x="659" y="283"/>
                </a:cubicBezTo>
                <a:cubicBezTo>
                  <a:pt x="658" y="281"/>
                  <a:pt x="659" y="279"/>
                  <a:pt x="658" y="277"/>
                </a:cubicBezTo>
                <a:cubicBezTo>
                  <a:pt x="659" y="274"/>
                  <a:pt x="659" y="271"/>
                  <a:pt x="660" y="267"/>
                </a:cubicBezTo>
                <a:cubicBezTo>
                  <a:pt x="660" y="267"/>
                  <a:pt x="659" y="267"/>
                  <a:pt x="660" y="266"/>
                </a:cubicBezTo>
                <a:cubicBezTo>
                  <a:pt x="661" y="265"/>
                  <a:pt x="661" y="263"/>
                  <a:pt x="662" y="261"/>
                </a:cubicBezTo>
                <a:cubicBezTo>
                  <a:pt x="663" y="261"/>
                  <a:pt x="663" y="260"/>
                  <a:pt x="664" y="260"/>
                </a:cubicBezTo>
                <a:cubicBezTo>
                  <a:pt x="665" y="259"/>
                  <a:pt x="665" y="258"/>
                  <a:pt x="666" y="257"/>
                </a:cubicBezTo>
                <a:cubicBezTo>
                  <a:pt x="670" y="256"/>
                  <a:pt x="673" y="253"/>
                  <a:pt x="677" y="251"/>
                </a:cubicBezTo>
                <a:cubicBezTo>
                  <a:pt x="677" y="251"/>
                  <a:pt x="678" y="251"/>
                  <a:pt x="678" y="251"/>
                </a:cubicBezTo>
                <a:cubicBezTo>
                  <a:pt x="680" y="250"/>
                  <a:pt x="682" y="250"/>
                  <a:pt x="684" y="249"/>
                </a:cubicBezTo>
                <a:cubicBezTo>
                  <a:pt x="685" y="248"/>
                  <a:pt x="687" y="249"/>
                  <a:pt x="689" y="249"/>
                </a:cubicBezTo>
                <a:cubicBezTo>
                  <a:pt x="690" y="249"/>
                  <a:pt x="690" y="248"/>
                  <a:pt x="692" y="249"/>
                </a:cubicBezTo>
                <a:cubicBezTo>
                  <a:pt x="693" y="249"/>
                  <a:pt x="695" y="248"/>
                  <a:pt x="696" y="248"/>
                </a:cubicBezTo>
                <a:cubicBezTo>
                  <a:pt x="698" y="248"/>
                  <a:pt x="700" y="249"/>
                  <a:pt x="701" y="250"/>
                </a:cubicBezTo>
                <a:cubicBezTo>
                  <a:pt x="702" y="250"/>
                  <a:pt x="703" y="249"/>
                  <a:pt x="704" y="250"/>
                </a:cubicBezTo>
                <a:cubicBezTo>
                  <a:pt x="705" y="250"/>
                  <a:pt x="706" y="252"/>
                  <a:pt x="707" y="252"/>
                </a:cubicBezTo>
                <a:close/>
                <a:moveTo>
                  <a:pt x="858" y="156"/>
                </a:moveTo>
                <a:cubicBezTo>
                  <a:pt x="858" y="156"/>
                  <a:pt x="858" y="156"/>
                  <a:pt x="858" y="156"/>
                </a:cubicBezTo>
                <a:cubicBezTo>
                  <a:pt x="858" y="157"/>
                  <a:pt x="859" y="156"/>
                  <a:pt x="858" y="156"/>
                </a:cubicBezTo>
                <a:close/>
                <a:moveTo>
                  <a:pt x="859" y="156"/>
                </a:moveTo>
                <a:cubicBezTo>
                  <a:pt x="860" y="155"/>
                  <a:pt x="859" y="154"/>
                  <a:pt x="860" y="152"/>
                </a:cubicBezTo>
                <a:cubicBezTo>
                  <a:pt x="859" y="152"/>
                  <a:pt x="859" y="152"/>
                  <a:pt x="860" y="151"/>
                </a:cubicBezTo>
                <a:cubicBezTo>
                  <a:pt x="859" y="150"/>
                  <a:pt x="860" y="148"/>
                  <a:pt x="858" y="148"/>
                </a:cubicBezTo>
                <a:cubicBezTo>
                  <a:pt x="858" y="149"/>
                  <a:pt x="858" y="150"/>
                  <a:pt x="857" y="151"/>
                </a:cubicBezTo>
                <a:cubicBezTo>
                  <a:pt x="857" y="151"/>
                  <a:pt x="858" y="151"/>
                  <a:pt x="858" y="151"/>
                </a:cubicBezTo>
                <a:cubicBezTo>
                  <a:pt x="858" y="152"/>
                  <a:pt x="858" y="154"/>
                  <a:pt x="858" y="156"/>
                </a:cubicBezTo>
                <a:cubicBezTo>
                  <a:pt x="858" y="156"/>
                  <a:pt x="858" y="155"/>
                  <a:pt x="859" y="156"/>
                </a:cubicBezTo>
                <a:close/>
              </a:path>
            </a:pathLst>
          </a:custGeom>
          <a:solidFill>
            <a:srgbClr val="AB244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defTabSz="1218987"/>
            <a:endParaRPr lang="en-US" sz="2399" dirty="0">
              <a:solidFill>
                <a:prstClr val="black"/>
              </a:solidFill>
            </a:endParaRPr>
          </a:p>
        </p:txBody>
      </p:sp>
      <p:pic>
        <p:nvPicPr>
          <p:cNvPr id="32" name="Picture 8">
            <a:extLst>
              <a:ext uri="{FF2B5EF4-FFF2-40B4-BE49-F238E27FC236}">
                <a16:creationId xmlns:a16="http://schemas.microsoft.com/office/drawing/2014/main" id="{5FCDE559-547E-4F4F-AEA8-819C8295DFE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358298">
            <a:off x="5267942" y="3573823"/>
            <a:ext cx="560659" cy="560659"/>
          </a:xfrm>
          <a:prstGeom prst="rect">
            <a:avLst/>
          </a:prstGeom>
        </p:spPr>
      </p:pic>
      <p:sp>
        <p:nvSpPr>
          <p:cNvPr id="2" name="CasellaDiTesto 1">
            <a:extLst>
              <a:ext uri="{FF2B5EF4-FFF2-40B4-BE49-F238E27FC236}">
                <a16:creationId xmlns:a16="http://schemas.microsoft.com/office/drawing/2014/main" id="{AB2C2267-1C5C-432B-ACF4-64E29C929B5A}"/>
              </a:ext>
            </a:extLst>
          </p:cNvPr>
          <p:cNvSpPr txBox="1"/>
          <p:nvPr/>
        </p:nvSpPr>
        <p:spPr>
          <a:xfrm>
            <a:off x="2034073" y="4871027"/>
            <a:ext cx="3130559" cy="722616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endParaRPr lang="it-IT" sz="14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grpSp>
        <p:nvGrpSpPr>
          <p:cNvPr id="33" name="Group 12">
            <a:extLst>
              <a:ext uri="{FF2B5EF4-FFF2-40B4-BE49-F238E27FC236}">
                <a16:creationId xmlns:a16="http://schemas.microsoft.com/office/drawing/2014/main" id="{028695E7-60A2-45FF-80D0-2E2BE576218D}"/>
              </a:ext>
            </a:extLst>
          </p:cNvPr>
          <p:cNvGrpSpPr/>
          <p:nvPr/>
        </p:nvGrpSpPr>
        <p:grpSpPr>
          <a:xfrm>
            <a:off x="366011" y="4704224"/>
            <a:ext cx="4958118" cy="754066"/>
            <a:chOff x="4938087" y="5835138"/>
            <a:chExt cx="4958118" cy="754066"/>
          </a:xfrm>
        </p:grpSpPr>
        <p:sp>
          <p:nvSpPr>
            <p:cNvPr id="34" name="Rectangle: Rounded Corners 54">
              <a:extLst>
                <a:ext uri="{FF2B5EF4-FFF2-40B4-BE49-F238E27FC236}">
                  <a16:creationId xmlns:a16="http://schemas.microsoft.com/office/drawing/2014/main" id="{D17CA06B-53FE-4042-806B-D182EED298A3}"/>
                </a:ext>
              </a:extLst>
            </p:cNvPr>
            <p:cNvSpPr/>
            <p:nvPr/>
          </p:nvSpPr>
          <p:spPr>
            <a:xfrm>
              <a:off x="4938087" y="5920897"/>
              <a:ext cx="4958118" cy="668307"/>
            </a:xfrm>
            <a:prstGeom prst="roundRect">
              <a:avLst>
                <a:gd name="adj" fmla="val 50000"/>
              </a:avLst>
            </a:prstGeom>
            <a:solidFill>
              <a:srgbClr val="179DC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just"/>
              <a:endParaRPr lang="it-IT" sz="1200" i="1" dirty="0">
                <a:solidFill>
                  <a:schemeClr val="tx1"/>
                </a:solidFill>
              </a:endParaRPr>
            </a:p>
          </p:txBody>
        </p:sp>
        <p:sp>
          <p:nvSpPr>
            <p:cNvPr id="35" name="Oval 16">
              <a:extLst>
                <a:ext uri="{FF2B5EF4-FFF2-40B4-BE49-F238E27FC236}">
                  <a16:creationId xmlns:a16="http://schemas.microsoft.com/office/drawing/2014/main" id="{07AEBCCC-BF9C-45A3-BF1A-72F4E408D840}"/>
                </a:ext>
              </a:extLst>
            </p:cNvPr>
            <p:cNvSpPr/>
            <p:nvPr/>
          </p:nvSpPr>
          <p:spPr>
            <a:xfrm>
              <a:off x="4999433" y="5972656"/>
              <a:ext cx="608540" cy="5647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 i="1" dirty="0" err="1">
                <a:solidFill>
                  <a:schemeClr val="bg1"/>
                </a:solidFill>
              </a:endParaRPr>
            </a:p>
          </p:txBody>
        </p:sp>
        <p:sp>
          <p:nvSpPr>
            <p:cNvPr id="36" name="Rectangle 17">
              <a:extLst>
                <a:ext uri="{FF2B5EF4-FFF2-40B4-BE49-F238E27FC236}">
                  <a16:creationId xmlns:a16="http://schemas.microsoft.com/office/drawing/2014/main" id="{8C89583D-C127-424C-85DE-90AB22393072}"/>
                </a:ext>
              </a:extLst>
            </p:cNvPr>
            <p:cNvSpPr/>
            <p:nvPr/>
          </p:nvSpPr>
          <p:spPr>
            <a:xfrm>
              <a:off x="5669319" y="5989203"/>
              <a:ext cx="3860062" cy="52132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>
                <a:spcAft>
                  <a:spcPts val="600"/>
                </a:spcAft>
              </a:pPr>
              <a:r>
                <a:rPr lang="it-IT" sz="1200" b="1" dirty="0">
                  <a:solidFill>
                    <a:prstClr val="black"/>
                  </a:solidFill>
                  <a:cs typeface="Arial" panose="020B0604020202020204" pitchFamily="34" charset="0"/>
                </a:rPr>
                <a:t>L’abilitazione</a:t>
              </a:r>
              <a:r>
                <a:rPr lang="it-IT" sz="600" b="1" dirty="0">
                  <a:solidFill>
                    <a:schemeClr val="tx2"/>
                  </a:solidFill>
                </a:rPr>
                <a:t> </a:t>
              </a:r>
              <a:r>
                <a:rPr lang="it-IT" sz="1200" b="1" dirty="0">
                  <a:solidFill>
                    <a:prstClr val="black"/>
                  </a:solidFill>
                  <a:cs typeface="Arial" panose="020B0604020202020204" pitchFamily="34" charset="0"/>
                </a:rPr>
                <a:t>può avvenire in maniera massiva </a:t>
              </a:r>
              <a:r>
                <a:rPr lang="it-IT" sz="1200" dirty="0">
                  <a:solidFill>
                    <a:prstClr val="black"/>
                  </a:solidFill>
                  <a:cs typeface="Arial" panose="020B0604020202020204" pitchFamily="34" charset="0"/>
                </a:rPr>
                <a:t>per tutta la classe o in maniera puntuale</a:t>
              </a:r>
            </a:p>
          </p:txBody>
        </p:sp>
        <p:pic>
          <p:nvPicPr>
            <p:cNvPr id="37" name="Graphic 57" descr="Magnifying glass">
              <a:extLst>
                <a:ext uri="{FF2B5EF4-FFF2-40B4-BE49-F238E27FC236}">
                  <a16:creationId xmlns:a16="http://schemas.microsoft.com/office/drawing/2014/main" id="{57C26CED-630D-4E3D-BC0F-C1007C3984B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5400000">
              <a:off x="5108168" y="5835138"/>
              <a:ext cx="567771" cy="567771"/>
            </a:xfrm>
            <a:prstGeom prst="rect">
              <a:avLst/>
            </a:prstGeom>
          </p:spPr>
        </p:pic>
      </p:grpSp>
      <p:sp>
        <p:nvSpPr>
          <p:cNvPr id="38" name="Title 8">
            <a:extLst>
              <a:ext uri="{FF2B5EF4-FFF2-40B4-BE49-F238E27FC236}">
                <a16:creationId xmlns:a16="http://schemas.microsoft.com/office/drawing/2014/main" id="{D329E37B-C93A-4982-A0CE-D48B04CBE910}"/>
              </a:ext>
            </a:extLst>
          </p:cNvPr>
          <p:cNvSpPr txBox="1">
            <a:spLocks/>
          </p:cNvSpPr>
          <p:nvPr/>
        </p:nvSpPr>
        <p:spPr>
          <a:xfrm>
            <a:off x="247521" y="29301"/>
            <a:ext cx="10254886" cy="1325563"/>
          </a:xfrm>
          <a:prstGeom prst="rect">
            <a:avLst/>
          </a:prstGeom>
        </p:spPr>
        <p:txBody>
          <a:bodyPr vert="horz" lIns="0" tIns="0" rIns="0" bIns="0" rtlCol="0" anchor="ctr" anchorCtr="0">
            <a:normAutofit/>
          </a:bodyPr>
          <a:lstStyle>
            <a:lvl1pPr algn="l" defTabSz="844083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lang="en-US" sz="4000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it-IT" sz="3600" dirty="0">
                <a:solidFill>
                  <a:prstClr val="black"/>
                </a:solidFill>
                <a:sym typeface="Dosis Light"/>
              </a:rPr>
              <a:t>Le funzioni a disposizione delle scuole</a:t>
            </a:r>
          </a:p>
          <a:p>
            <a:pPr>
              <a:lnSpc>
                <a:spcPct val="100000"/>
              </a:lnSpc>
            </a:pPr>
            <a:r>
              <a:rPr lang="it-IT" sz="2500" b="0" i="1" dirty="0">
                <a:solidFill>
                  <a:prstClr val="black"/>
                </a:solidFill>
                <a:sym typeface="Dosis Light"/>
              </a:rPr>
              <a:t>Abilitazione docenti/studenti</a:t>
            </a:r>
            <a:endParaRPr lang="it-IT" sz="2500" b="0" i="1" dirty="0">
              <a:sym typeface="Dosis Light"/>
            </a:endParaRPr>
          </a:p>
        </p:txBody>
      </p:sp>
    </p:spTree>
    <p:extLst>
      <p:ext uri="{BB962C8B-B14F-4D97-AF65-F5344CB8AC3E}">
        <p14:creationId xmlns:p14="http://schemas.microsoft.com/office/powerpoint/2010/main" val="36998588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1000"/>
                            </p:stCondLst>
                            <p:childTnLst>
                              <p:par>
                                <p:cTn id="3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8" grpId="0" animBg="1"/>
      <p:bldP spid="30" grpId="0" animBg="1"/>
      <p:bldP spid="31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6B7A3B3-3E02-43E4-8A7A-C25CE854DB51}"/>
              </a:ext>
            </a:extLst>
          </p:cNvPr>
          <p:cNvSpPr/>
          <p:nvPr/>
        </p:nvSpPr>
        <p:spPr>
          <a:xfrm>
            <a:off x="514357" y="1387441"/>
            <a:ext cx="5428070" cy="2889919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solidamento </a:t>
            </a:r>
            <a:r>
              <a:rPr kumimoji="0" lang="it-IT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e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esame</a:t>
            </a:r>
          </a:p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it-IT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88900" lvl="0" algn="ctr">
              <a:spcAft>
                <a:spcPts val="600"/>
              </a:spcAft>
              <a:defRPr/>
            </a:pP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ne eseguito sull’intero documento </a:t>
            </a:r>
            <a:r>
              <a:rPr lang="it-IT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ma dello svolgimento dell’esame di Stato</a:t>
            </a: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per mettere il documento a disposizione delle Commissioni d’esame completo in tutte le parti compilate, compresa l’informazione relativa al credito scolastico.</a:t>
            </a:r>
          </a:p>
          <a:p>
            <a:pPr marL="88900" lvl="0" algn="ctr">
              <a:spcAft>
                <a:spcPts val="600"/>
              </a:spcAft>
              <a:defRPr/>
            </a:pP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ma di consolidare il Curriculum, le scuole </a:t>
            </a:r>
            <a:r>
              <a:rPr lang="it-IT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sualizzano le informazioni </a:t>
            </a:r>
            <a:r>
              <a:rPr lang="it-IT" sz="1600" b="1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</a:t>
            </a:r>
            <a:r>
              <a:rPr lang="it-IT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caricate ed eventualmente le integrano</a:t>
            </a: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it-IT" sz="1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id="{6F2F723C-9F71-4302-AE17-024193A221EF}"/>
              </a:ext>
            </a:extLst>
          </p:cNvPr>
          <p:cNvSpPr/>
          <p:nvPr/>
        </p:nvSpPr>
        <p:spPr>
          <a:xfrm>
            <a:off x="6197847" y="1393781"/>
            <a:ext cx="5106957" cy="2883579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lvl="0" algn="ctr">
              <a:spcAft>
                <a:spcPts val="600"/>
              </a:spcAft>
              <a:defRPr/>
            </a:pPr>
            <a:r>
              <a:rPr lang="it-IT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olidamento post-esame</a:t>
            </a:r>
          </a:p>
          <a:p>
            <a:pPr marL="88900" lvl="0" algn="ctr">
              <a:spcAft>
                <a:spcPts val="600"/>
              </a:spcAft>
              <a:defRPr/>
            </a:pPr>
            <a:endParaRPr lang="it-IT" sz="16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8900" lvl="0" algn="ctr">
              <a:spcAft>
                <a:spcPts val="600"/>
              </a:spcAft>
              <a:defRPr/>
            </a:pP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ene effettuato una volta </a:t>
            </a:r>
            <a:r>
              <a:rPr lang="it-IT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luso l’esame di Stato:</a:t>
            </a: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po aver verificato </a:t>
            </a:r>
            <a:r>
              <a:rPr lang="it-IT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presenza dell’esito conseguito,</a:t>
            </a: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le scuole consolidano definitivamente il Curriculum, </a:t>
            </a:r>
            <a:r>
              <a:rPr lang="it-IT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legandolo in maniera univoca al diploma </a:t>
            </a: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mite il riferimento al numero identificativo di quest’ultimo</a:t>
            </a:r>
          </a:p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it-IT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it-IT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it-IT" sz="16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4E486C4B-B0FF-40E7-B54D-4A5875718DA4}"/>
              </a:ext>
            </a:extLst>
          </p:cNvPr>
          <p:cNvSpPr txBox="1">
            <a:spLocks/>
          </p:cNvSpPr>
          <p:nvPr/>
        </p:nvSpPr>
        <p:spPr>
          <a:xfrm>
            <a:off x="571550" y="1237811"/>
            <a:ext cx="10988675" cy="609650"/>
          </a:xfrm>
          <a:prstGeom prst="rect">
            <a:avLst/>
          </a:prstGeom>
        </p:spPr>
        <p:txBody>
          <a:bodyPr/>
          <a:lstStyle>
            <a:lvl1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99390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32316" indent="-132926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1706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13564" indent="-212682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66124" indent="-26253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518684" indent="-211021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lnSpc>
                <a:spcPct val="90000"/>
              </a:lnSpc>
              <a:spcBef>
                <a:spcPts val="462"/>
              </a:spcBef>
              <a:buFont typeface="Arial" panose="020B0604020202020204" pitchFamily="34" charset="0"/>
              <a:buChar char="•"/>
              <a:defRPr sz="16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it-IT" sz="1600" b="0" dirty="0">
              <a:solidFill>
                <a:schemeClr val="tx1"/>
              </a:solidFill>
            </a:endParaRPr>
          </a:p>
        </p:txBody>
      </p:sp>
      <p:sp>
        <p:nvSpPr>
          <p:cNvPr id="3" name="Freccia in giù 2">
            <a:extLst>
              <a:ext uri="{FF2B5EF4-FFF2-40B4-BE49-F238E27FC236}">
                <a16:creationId xmlns:a16="http://schemas.microsoft.com/office/drawing/2014/main" id="{0CE57D39-5190-48F7-92E9-3E2BD9664EC7}"/>
              </a:ext>
            </a:extLst>
          </p:cNvPr>
          <p:cNvSpPr/>
          <p:nvPr/>
        </p:nvSpPr>
        <p:spPr>
          <a:xfrm>
            <a:off x="2985796" y="4433330"/>
            <a:ext cx="485192" cy="634481"/>
          </a:xfrm>
          <a:prstGeom prst="down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13" name="Freccia in giù 12">
            <a:extLst>
              <a:ext uri="{FF2B5EF4-FFF2-40B4-BE49-F238E27FC236}">
                <a16:creationId xmlns:a16="http://schemas.microsoft.com/office/drawing/2014/main" id="{24E57C41-5127-40FC-9483-195B625D6B32}"/>
              </a:ext>
            </a:extLst>
          </p:cNvPr>
          <p:cNvSpPr/>
          <p:nvPr/>
        </p:nvSpPr>
        <p:spPr>
          <a:xfrm>
            <a:off x="8655699" y="4433330"/>
            <a:ext cx="485192" cy="634481"/>
          </a:xfrm>
          <a:prstGeom prst="downArrow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5" name="Ovale 4">
            <a:extLst>
              <a:ext uri="{FF2B5EF4-FFF2-40B4-BE49-F238E27FC236}">
                <a16:creationId xmlns:a16="http://schemas.microsoft.com/office/drawing/2014/main" id="{CA00B72E-9FB6-44CF-865E-E9970EBCB436}"/>
              </a:ext>
            </a:extLst>
          </p:cNvPr>
          <p:cNvSpPr/>
          <p:nvPr/>
        </p:nvSpPr>
        <p:spPr>
          <a:xfrm>
            <a:off x="1277435" y="5223782"/>
            <a:ext cx="3811555" cy="1132523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sz="1400" b="1" dirty="0">
                <a:solidFill>
                  <a:schemeClr val="bg1"/>
                </a:solidFill>
              </a:rPr>
              <a:t>Il Curriculum è messo direttamente a disposizione delle Commissioni tramite «Commissione web»</a:t>
            </a:r>
          </a:p>
        </p:txBody>
      </p:sp>
      <p:sp>
        <p:nvSpPr>
          <p:cNvPr id="15" name="Ovale 14">
            <a:extLst>
              <a:ext uri="{FF2B5EF4-FFF2-40B4-BE49-F238E27FC236}">
                <a16:creationId xmlns:a16="http://schemas.microsoft.com/office/drawing/2014/main" id="{71080D82-99E3-4606-90EA-5A726710289A}"/>
              </a:ext>
            </a:extLst>
          </p:cNvPr>
          <p:cNvSpPr/>
          <p:nvPr/>
        </p:nvSpPr>
        <p:spPr>
          <a:xfrm>
            <a:off x="6882024" y="5223781"/>
            <a:ext cx="4032541" cy="1132524"/>
          </a:xfrm>
          <a:prstGeom prst="ellips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sz="1400" b="1" dirty="0">
                <a:solidFill>
                  <a:schemeClr val="tx1"/>
                </a:solidFill>
              </a:rPr>
              <a:t>Il Curriculum è messo direttamente a disposizione dello studente in piattaforma assieme al Supplemento Europass</a:t>
            </a:r>
          </a:p>
        </p:txBody>
      </p:sp>
      <p:sp>
        <p:nvSpPr>
          <p:cNvPr id="16" name="Title 8">
            <a:extLst>
              <a:ext uri="{FF2B5EF4-FFF2-40B4-BE49-F238E27FC236}">
                <a16:creationId xmlns:a16="http://schemas.microsoft.com/office/drawing/2014/main" id="{67B0585C-0E28-4217-9C78-3C450F8566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710" y="478594"/>
            <a:ext cx="10254886" cy="864902"/>
          </a:xfrm>
        </p:spPr>
        <p:txBody>
          <a:bodyPr>
            <a:normAutofit fontScale="900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Dosis Light"/>
              </a:rPr>
              <a:t>Le funzioni a disposizione delle scuole</a:t>
            </a:r>
            <a:br>
              <a:rPr kumimoji="0" lang="it-IT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Dosis Light"/>
              </a:rPr>
            </a:br>
            <a:r>
              <a:rPr kumimoji="0" lang="it-IT" sz="2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Dosis Light"/>
              </a:rPr>
              <a:t>Consolidamento Curriculum</a:t>
            </a:r>
            <a:br>
              <a:rPr kumimoji="0" lang="it-IT" sz="2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Dosis Light"/>
              </a:rPr>
            </a:br>
            <a:endParaRPr lang="it-IT" dirty="0">
              <a:sym typeface="Dosis Light"/>
            </a:endParaRPr>
          </a:p>
        </p:txBody>
      </p:sp>
    </p:spTree>
    <p:extLst>
      <p:ext uri="{BB962C8B-B14F-4D97-AF65-F5344CB8AC3E}">
        <p14:creationId xmlns:p14="http://schemas.microsoft.com/office/powerpoint/2010/main" val="41716713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000"/>
                            </p:stCondLst>
                            <p:childTnLst>
                              <p:par>
                                <p:cTn id="3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1" grpId="0" animBg="1"/>
      <p:bldP spid="3" grpId="0" animBg="1"/>
      <p:bldP spid="13" grpId="0" animBg="1"/>
      <p:bldP spid="5" grpId="0" animBg="1"/>
      <p:bldP spid="15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180043B0-0601-4631-822D-7FAB56BE36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9710" y="478594"/>
            <a:ext cx="10254886" cy="864902"/>
          </a:xfrm>
        </p:spPr>
        <p:txBody>
          <a:bodyPr>
            <a:normAutofit fontScale="900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Dosis Light"/>
              </a:rPr>
              <a:t>Le funzioni a disposizione delle scuole</a:t>
            </a:r>
            <a:br>
              <a:rPr kumimoji="0" lang="it-IT" sz="4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Dosis Light"/>
              </a:rPr>
            </a:br>
            <a:r>
              <a:rPr kumimoji="0" lang="it-IT" sz="2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Dosis Light"/>
              </a:rPr>
              <a:t>Consolidamento Curriculum</a:t>
            </a:r>
            <a:br>
              <a:rPr kumimoji="0" lang="it-IT" sz="28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Dosis Light"/>
              </a:rPr>
            </a:br>
            <a:endParaRPr lang="it-IT" dirty="0">
              <a:sym typeface="Dosis Light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5632" y="5052197"/>
            <a:ext cx="1333674" cy="1333674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B9F7077-930F-407C-93FC-96D76360FF79}"/>
              </a:ext>
            </a:extLst>
          </p:cNvPr>
          <p:cNvSpPr/>
          <p:nvPr/>
        </p:nvSpPr>
        <p:spPr>
          <a:xfrm>
            <a:off x="6259306" y="5417219"/>
            <a:ext cx="4722825" cy="834292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lvl="0" algn="ctr">
              <a:spcAft>
                <a:spcPts val="600"/>
              </a:spcAft>
              <a:defRPr/>
            </a:pPr>
            <a:r>
              <a:rPr kumimoji="0" lang="it-IT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e scuole possono effettuare il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onsolidamento</a:t>
            </a:r>
            <a:r>
              <a:rPr kumimoji="0" lang="it-IT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sia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assivamente</a:t>
            </a:r>
            <a:r>
              <a:rPr kumimoji="0" lang="it-IT" sz="16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per l’intera </a:t>
            </a:r>
            <a:r>
              <a:rPr lang="it-IT" sz="16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asse sia sulle informazioni del </a:t>
            </a:r>
            <a:r>
              <a:rPr lang="it-IT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golo studente</a:t>
            </a:r>
            <a:endParaRPr kumimoji="0" lang="it-IT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Immagine 22" descr="Immagine che contiene tavolo&#10;&#10;Descrizione generata automaticamente">
            <a:extLst>
              <a:ext uri="{FF2B5EF4-FFF2-40B4-BE49-F238E27FC236}">
                <a16:creationId xmlns:a16="http://schemas.microsoft.com/office/drawing/2014/main" id="{6CF71E01-6302-4D24-93B0-DF0D3A05788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55" y="1801558"/>
            <a:ext cx="10400677" cy="2725148"/>
          </a:xfrm>
          <a:prstGeom prst="rect">
            <a:avLst/>
          </a:prstGeom>
        </p:spPr>
      </p:pic>
      <p:sp>
        <p:nvSpPr>
          <p:cNvPr id="22" name="Ovale 21">
            <a:extLst>
              <a:ext uri="{FF2B5EF4-FFF2-40B4-BE49-F238E27FC236}">
                <a16:creationId xmlns:a16="http://schemas.microsoft.com/office/drawing/2014/main" id="{87B59457-BA2B-44B8-8BC6-D4AC03EAF54C}"/>
              </a:ext>
            </a:extLst>
          </p:cNvPr>
          <p:cNvSpPr/>
          <p:nvPr/>
        </p:nvSpPr>
        <p:spPr>
          <a:xfrm>
            <a:off x="6343070" y="1801558"/>
            <a:ext cx="1389210" cy="452937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21" name="Ovale 20">
            <a:extLst>
              <a:ext uri="{FF2B5EF4-FFF2-40B4-BE49-F238E27FC236}">
                <a16:creationId xmlns:a16="http://schemas.microsoft.com/office/drawing/2014/main" id="{572065E2-3345-45FB-81D1-7B4FD503C6AD}"/>
              </a:ext>
            </a:extLst>
          </p:cNvPr>
          <p:cNvSpPr/>
          <p:nvPr/>
        </p:nvSpPr>
        <p:spPr>
          <a:xfrm>
            <a:off x="7798646" y="1801558"/>
            <a:ext cx="1598157" cy="452937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pic>
        <p:nvPicPr>
          <p:cNvPr id="24" name="Picture 16">
            <a:extLst>
              <a:ext uri="{FF2B5EF4-FFF2-40B4-BE49-F238E27FC236}">
                <a16:creationId xmlns:a16="http://schemas.microsoft.com/office/drawing/2014/main" id="{9AD50D4F-7E6C-4A61-BE00-9300AA8BE59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7345" y="2271244"/>
            <a:ext cx="560659" cy="560659"/>
          </a:xfrm>
          <a:prstGeom prst="rect">
            <a:avLst/>
          </a:prstGeom>
        </p:spPr>
      </p:pic>
      <p:pic>
        <p:nvPicPr>
          <p:cNvPr id="25" name="Picture 16">
            <a:extLst>
              <a:ext uri="{FF2B5EF4-FFF2-40B4-BE49-F238E27FC236}">
                <a16:creationId xmlns:a16="http://schemas.microsoft.com/office/drawing/2014/main" id="{CD6DD5E0-0D4D-4A65-B95E-F8A2398481F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7394" y="2272620"/>
            <a:ext cx="560659" cy="560659"/>
          </a:xfrm>
          <a:prstGeom prst="rect">
            <a:avLst/>
          </a:prstGeom>
        </p:spPr>
      </p:pic>
      <p:sp>
        <p:nvSpPr>
          <p:cNvPr id="26" name="Ovale 25">
            <a:extLst>
              <a:ext uri="{FF2B5EF4-FFF2-40B4-BE49-F238E27FC236}">
                <a16:creationId xmlns:a16="http://schemas.microsoft.com/office/drawing/2014/main" id="{A9C7621D-87A5-4AA1-9575-8AB39E8C88D0}"/>
              </a:ext>
            </a:extLst>
          </p:cNvPr>
          <p:cNvSpPr/>
          <p:nvPr/>
        </p:nvSpPr>
        <p:spPr>
          <a:xfrm>
            <a:off x="9499615" y="1801558"/>
            <a:ext cx="1389210" cy="452937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pic>
        <p:nvPicPr>
          <p:cNvPr id="27" name="Picture 16">
            <a:extLst>
              <a:ext uri="{FF2B5EF4-FFF2-40B4-BE49-F238E27FC236}">
                <a16:creationId xmlns:a16="http://schemas.microsoft.com/office/drawing/2014/main" id="{2910F2C3-BD6F-41EF-B390-CCB57B80B63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13890" y="2271244"/>
            <a:ext cx="560659" cy="560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86164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1" grpId="0" animBg="1"/>
      <p:bldP spid="26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180043B0-0601-4631-822D-7FAB56BE36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074" y="180829"/>
            <a:ext cx="10254886" cy="775186"/>
          </a:xfrm>
        </p:spPr>
        <p:txBody>
          <a:bodyPr>
            <a:normAutofit/>
          </a:bodyPr>
          <a:lstStyle/>
          <a:p>
            <a:r>
              <a:rPr lang="it-IT" sz="3600" dirty="0">
                <a:sym typeface="Dosis Light"/>
              </a:rPr>
              <a:t>La Piattaforma informatica per gli studenti</a:t>
            </a: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8E46EB49-7AAF-42F1-90F9-3F72DCABE24F}"/>
              </a:ext>
            </a:extLst>
          </p:cNvPr>
          <p:cNvSpPr/>
          <p:nvPr/>
        </p:nvSpPr>
        <p:spPr>
          <a:xfrm>
            <a:off x="4235117" y="5992895"/>
            <a:ext cx="7454348" cy="62217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er </a:t>
            </a:r>
            <a:r>
              <a:rPr lang="it-IT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i studenti è stata predisposta </a:t>
            </a:r>
            <a:r>
              <a:rPr lang="it-IT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’apposita piattaforma «</a:t>
            </a:r>
            <a:r>
              <a:rPr kumimoji="0" lang="it-IT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urriculum dello studente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»</a:t>
            </a:r>
          </a:p>
        </p:txBody>
      </p:sp>
      <p:pic>
        <p:nvPicPr>
          <p:cNvPr id="6" name="Immagine 1">
            <a:extLst>
              <a:ext uri="{FF2B5EF4-FFF2-40B4-BE49-F238E27FC236}">
                <a16:creationId xmlns:a16="http://schemas.microsoft.com/office/drawing/2014/main" id="{4C29222B-FDBF-4B8D-98C6-B88DCA0D2F69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03"/>
          <a:stretch/>
        </p:blipFill>
        <p:spPr bwMode="auto">
          <a:xfrm>
            <a:off x="1665040" y="1101013"/>
            <a:ext cx="8861920" cy="480097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55373932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77929840-D590-4C5B-B1A9-AFD34250D60F}"/>
              </a:ext>
            </a:extLst>
          </p:cNvPr>
          <p:cNvGrpSpPr/>
          <p:nvPr/>
        </p:nvGrpSpPr>
        <p:grpSpPr>
          <a:xfrm>
            <a:off x="758608" y="1382054"/>
            <a:ext cx="7166025" cy="2519386"/>
            <a:chOff x="758608" y="1382054"/>
            <a:chExt cx="7166025" cy="2519386"/>
          </a:xfrm>
        </p:grpSpPr>
        <p:pic>
          <p:nvPicPr>
            <p:cNvPr id="10" name="Immagine 1">
              <a:extLst>
                <a:ext uri="{FF2B5EF4-FFF2-40B4-BE49-F238E27FC236}">
                  <a16:creationId xmlns:a16="http://schemas.microsoft.com/office/drawing/2014/main" id="{3C4F42FD-5A8F-4025-866E-7322164F5E4A}"/>
                </a:ext>
              </a:extLst>
            </p:cNvPr>
            <p:cNvPicPr/>
            <p:nvPr/>
          </p:nvPicPr>
          <p:blipFill rotWithShape="1">
            <a:blip r:embed="rId3"/>
            <a:srcRect t="10386" r="1061" b="34422"/>
            <a:stretch/>
          </p:blipFill>
          <p:spPr bwMode="auto">
            <a:xfrm>
              <a:off x="758608" y="1382054"/>
              <a:ext cx="7166025" cy="2519386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53173438-0B94-4BBA-9EA9-48C8D398C3B9}"/>
                </a:ext>
              </a:extLst>
            </p:cNvPr>
            <p:cNvSpPr/>
            <p:nvPr/>
          </p:nvSpPr>
          <p:spPr>
            <a:xfrm>
              <a:off x="1583138" y="2736850"/>
              <a:ext cx="361950" cy="1651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en-US" sz="9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9" name="Title 8">
            <a:extLst>
              <a:ext uri="{FF2B5EF4-FFF2-40B4-BE49-F238E27FC236}">
                <a16:creationId xmlns:a16="http://schemas.microsoft.com/office/drawing/2014/main" id="{180043B0-0601-4631-822D-7FAB56BE36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sym typeface="Dosis Light"/>
              </a:rPr>
              <a:t>La Piattaforma informatica per gli studenti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6B7A3B3-3E02-43E4-8A7A-C25CE854DB51}"/>
              </a:ext>
            </a:extLst>
          </p:cNvPr>
          <p:cNvSpPr/>
          <p:nvPr/>
        </p:nvSpPr>
        <p:spPr>
          <a:xfrm>
            <a:off x="8420852" y="1820475"/>
            <a:ext cx="3218865" cy="13255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li studenti possono consultare il Curriculum e inserire certificazioni e attività extrascolastiche</a:t>
            </a:r>
          </a:p>
        </p:txBody>
      </p:sp>
      <p:pic>
        <p:nvPicPr>
          <p:cNvPr id="11" name="Immagine 16">
            <a:extLst>
              <a:ext uri="{FF2B5EF4-FFF2-40B4-BE49-F238E27FC236}">
                <a16:creationId xmlns:a16="http://schemas.microsoft.com/office/drawing/2014/main" id="{76477CC8-E6F3-4BE8-A0D0-D851A1E1B11E}"/>
              </a:ext>
            </a:extLst>
          </p:cNvPr>
          <p:cNvPicPr/>
          <p:nvPr/>
        </p:nvPicPr>
        <p:blipFill rotWithShape="1">
          <a:blip r:embed="rId4"/>
          <a:srcRect t="10386" r="2064" b="35466"/>
          <a:stretch/>
        </p:blipFill>
        <p:spPr bwMode="auto">
          <a:xfrm>
            <a:off x="3850640" y="3761707"/>
            <a:ext cx="7377816" cy="262080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Freeform 19">
            <a:extLst>
              <a:ext uri="{FF2B5EF4-FFF2-40B4-BE49-F238E27FC236}">
                <a16:creationId xmlns:a16="http://schemas.microsoft.com/office/drawing/2014/main" id="{E2CC2173-4E5E-41AC-BBF3-ECD910D3E862}"/>
              </a:ext>
            </a:extLst>
          </p:cNvPr>
          <p:cNvSpPr>
            <a:spLocks noChangeAspect="1" noEditPoints="1"/>
          </p:cNvSpPr>
          <p:nvPr/>
        </p:nvSpPr>
        <p:spPr bwMode="auto">
          <a:xfrm rot="12519011" flipH="1" flipV="1">
            <a:off x="7408863" y="3322048"/>
            <a:ext cx="1365287" cy="590424"/>
          </a:xfrm>
          <a:custGeom>
            <a:avLst/>
            <a:gdLst>
              <a:gd name="T0" fmla="*/ 715 w 868"/>
              <a:gd name="T1" fmla="*/ 128 h 351"/>
              <a:gd name="T2" fmla="*/ 363 w 868"/>
              <a:gd name="T3" fmla="*/ 50 h 351"/>
              <a:gd name="T4" fmla="*/ 226 w 868"/>
              <a:gd name="T5" fmla="*/ 94 h 351"/>
              <a:gd name="T6" fmla="*/ 155 w 868"/>
              <a:gd name="T7" fmla="*/ 112 h 351"/>
              <a:gd name="T8" fmla="*/ 111 w 868"/>
              <a:gd name="T9" fmla="*/ 138 h 351"/>
              <a:gd name="T10" fmla="*/ 85 w 868"/>
              <a:gd name="T11" fmla="*/ 163 h 351"/>
              <a:gd name="T12" fmla="*/ 104 w 868"/>
              <a:gd name="T13" fmla="*/ 185 h 351"/>
              <a:gd name="T14" fmla="*/ 69 w 868"/>
              <a:gd name="T15" fmla="*/ 174 h 351"/>
              <a:gd name="T16" fmla="*/ 92 w 868"/>
              <a:gd name="T17" fmla="*/ 203 h 351"/>
              <a:gd name="T18" fmla="*/ 66 w 868"/>
              <a:gd name="T19" fmla="*/ 192 h 351"/>
              <a:gd name="T20" fmla="*/ 75 w 868"/>
              <a:gd name="T21" fmla="*/ 207 h 351"/>
              <a:gd name="T22" fmla="*/ 72 w 868"/>
              <a:gd name="T23" fmla="*/ 224 h 351"/>
              <a:gd name="T24" fmla="*/ 64 w 868"/>
              <a:gd name="T25" fmla="*/ 228 h 351"/>
              <a:gd name="T26" fmla="*/ 29 w 868"/>
              <a:gd name="T27" fmla="*/ 217 h 351"/>
              <a:gd name="T28" fmla="*/ 31 w 868"/>
              <a:gd name="T29" fmla="*/ 228 h 351"/>
              <a:gd name="T30" fmla="*/ 53 w 868"/>
              <a:gd name="T31" fmla="*/ 253 h 351"/>
              <a:gd name="T32" fmla="*/ 36 w 868"/>
              <a:gd name="T33" fmla="*/ 257 h 351"/>
              <a:gd name="T34" fmla="*/ 774 w 868"/>
              <a:gd name="T35" fmla="*/ 258 h 351"/>
              <a:gd name="T36" fmla="*/ 640 w 868"/>
              <a:gd name="T37" fmla="*/ 136 h 351"/>
              <a:gd name="T38" fmla="*/ 376 w 868"/>
              <a:gd name="T39" fmla="*/ 47 h 351"/>
              <a:gd name="T40" fmla="*/ 235 w 868"/>
              <a:gd name="T41" fmla="*/ 76 h 351"/>
              <a:gd name="T42" fmla="*/ 221 w 868"/>
              <a:gd name="T43" fmla="*/ 70 h 351"/>
              <a:gd name="T44" fmla="*/ 180 w 868"/>
              <a:gd name="T45" fmla="*/ 89 h 351"/>
              <a:gd name="T46" fmla="*/ 168 w 868"/>
              <a:gd name="T47" fmla="*/ 110 h 351"/>
              <a:gd name="T48" fmla="*/ 140 w 868"/>
              <a:gd name="T49" fmla="*/ 145 h 351"/>
              <a:gd name="T50" fmla="*/ 81 w 868"/>
              <a:gd name="T51" fmla="*/ 192 h 351"/>
              <a:gd name="T52" fmla="*/ 126 w 868"/>
              <a:gd name="T53" fmla="*/ 134 h 351"/>
              <a:gd name="T54" fmla="*/ 253 w 868"/>
              <a:gd name="T55" fmla="*/ 36 h 351"/>
              <a:gd name="T56" fmla="*/ 399 w 868"/>
              <a:gd name="T57" fmla="*/ 2 h 351"/>
              <a:gd name="T58" fmla="*/ 510 w 868"/>
              <a:gd name="T59" fmla="*/ 14 h 351"/>
              <a:gd name="T60" fmla="*/ 732 w 868"/>
              <a:gd name="T61" fmla="*/ 145 h 351"/>
              <a:gd name="T62" fmla="*/ 794 w 868"/>
              <a:gd name="T63" fmla="*/ 260 h 351"/>
              <a:gd name="T64" fmla="*/ 787 w 868"/>
              <a:gd name="T65" fmla="*/ 222 h 351"/>
              <a:gd name="T66" fmla="*/ 721 w 868"/>
              <a:gd name="T67" fmla="*/ 150 h 351"/>
              <a:gd name="T68" fmla="*/ 533 w 868"/>
              <a:gd name="T69" fmla="*/ 22 h 351"/>
              <a:gd name="T70" fmla="*/ 380 w 868"/>
              <a:gd name="T71" fmla="*/ 47 h 351"/>
              <a:gd name="T72" fmla="*/ 307 w 868"/>
              <a:gd name="T73" fmla="*/ 53 h 351"/>
              <a:gd name="T74" fmla="*/ 281 w 868"/>
              <a:gd name="T75" fmla="*/ 47 h 351"/>
              <a:gd name="T76" fmla="*/ 242 w 868"/>
              <a:gd name="T77" fmla="*/ 43 h 351"/>
              <a:gd name="T78" fmla="*/ 222 w 868"/>
              <a:gd name="T79" fmla="*/ 51 h 351"/>
              <a:gd name="T80" fmla="*/ 197 w 868"/>
              <a:gd name="T81" fmla="*/ 73 h 351"/>
              <a:gd name="T82" fmla="*/ 164 w 868"/>
              <a:gd name="T83" fmla="*/ 99 h 351"/>
              <a:gd name="T84" fmla="*/ 142 w 868"/>
              <a:gd name="T85" fmla="*/ 117 h 351"/>
              <a:gd name="T86" fmla="*/ 141 w 868"/>
              <a:gd name="T87" fmla="*/ 138 h 351"/>
              <a:gd name="T88" fmla="*/ 124 w 868"/>
              <a:gd name="T89" fmla="*/ 129 h 351"/>
              <a:gd name="T90" fmla="*/ 113 w 868"/>
              <a:gd name="T91" fmla="*/ 142 h 351"/>
              <a:gd name="T92" fmla="*/ 337 w 868"/>
              <a:gd name="T93" fmla="*/ 9 h 351"/>
              <a:gd name="T94" fmla="*/ 168 w 868"/>
              <a:gd name="T95" fmla="*/ 125 h 351"/>
              <a:gd name="T96" fmla="*/ 197 w 868"/>
              <a:gd name="T97" fmla="*/ 105 h 351"/>
              <a:gd name="T98" fmla="*/ 131 w 868"/>
              <a:gd name="T99" fmla="*/ 159 h 351"/>
              <a:gd name="T100" fmla="*/ 88 w 868"/>
              <a:gd name="T101" fmla="*/ 171 h 351"/>
              <a:gd name="T102" fmla="*/ 85 w 868"/>
              <a:gd name="T103" fmla="*/ 191 h 351"/>
              <a:gd name="T104" fmla="*/ 79 w 868"/>
              <a:gd name="T105" fmla="*/ 215 h 351"/>
              <a:gd name="T106" fmla="*/ 48 w 868"/>
              <a:gd name="T107" fmla="*/ 193 h 351"/>
              <a:gd name="T108" fmla="*/ 64 w 868"/>
              <a:gd name="T109" fmla="*/ 238 h 351"/>
              <a:gd name="T110" fmla="*/ 17 w 868"/>
              <a:gd name="T111" fmla="*/ 235 h 351"/>
              <a:gd name="T112" fmla="*/ 87 w 868"/>
              <a:gd name="T113" fmla="*/ 158 h 351"/>
              <a:gd name="T114" fmla="*/ 865 w 868"/>
              <a:gd name="T115" fmla="*/ 172 h 351"/>
              <a:gd name="T116" fmla="*/ 859 w 868"/>
              <a:gd name="T117" fmla="*/ 117 h 351"/>
              <a:gd name="T118" fmla="*/ 782 w 868"/>
              <a:gd name="T119" fmla="*/ 277 h 351"/>
              <a:gd name="T120" fmla="*/ 841 w 868"/>
              <a:gd name="T121" fmla="*/ 164 h 351"/>
              <a:gd name="T122" fmla="*/ 861 w 868"/>
              <a:gd name="T123" fmla="*/ 201 h 351"/>
              <a:gd name="T124" fmla="*/ 666 w 868"/>
              <a:gd name="T125" fmla="*/ 296 h 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68" h="351">
                <a:moveTo>
                  <a:pt x="813" y="278"/>
                </a:moveTo>
                <a:cubicBezTo>
                  <a:pt x="812" y="276"/>
                  <a:pt x="811" y="275"/>
                  <a:pt x="812" y="275"/>
                </a:cubicBezTo>
                <a:cubicBezTo>
                  <a:pt x="813" y="277"/>
                  <a:pt x="813" y="278"/>
                  <a:pt x="813" y="278"/>
                </a:cubicBezTo>
                <a:close/>
                <a:moveTo>
                  <a:pt x="812" y="266"/>
                </a:moveTo>
                <a:cubicBezTo>
                  <a:pt x="813" y="269"/>
                  <a:pt x="814" y="269"/>
                  <a:pt x="814" y="271"/>
                </a:cubicBezTo>
                <a:cubicBezTo>
                  <a:pt x="813" y="267"/>
                  <a:pt x="813" y="271"/>
                  <a:pt x="813" y="270"/>
                </a:cubicBezTo>
                <a:cubicBezTo>
                  <a:pt x="815" y="276"/>
                  <a:pt x="814" y="270"/>
                  <a:pt x="815" y="272"/>
                </a:cubicBezTo>
                <a:cubicBezTo>
                  <a:pt x="814" y="268"/>
                  <a:pt x="813" y="267"/>
                  <a:pt x="812" y="266"/>
                </a:cubicBezTo>
                <a:close/>
                <a:moveTo>
                  <a:pt x="781" y="282"/>
                </a:moveTo>
                <a:cubicBezTo>
                  <a:pt x="782" y="285"/>
                  <a:pt x="783" y="285"/>
                  <a:pt x="784" y="284"/>
                </a:cubicBezTo>
                <a:cubicBezTo>
                  <a:pt x="782" y="282"/>
                  <a:pt x="782" y="282"/>
                  <a:pt x="781" y="282"/>
                </a:cubicBezTo>
                <a:close/>
                <a:moveTo>
                  <a:pt x="798" y="267"/>
                </a:moveTo>
                <a:cubicBezTo>
                  <a:pt x="798" y="268"/>
                  <a:pt x="801" y="272"/>
                  <a:pt x="801" y="272"/>
                </a:cubicBezTo>
                <a:cubicBezTo>
                  <a:pt x="801" y="269"/>
                  <a:pt x="799" y="267"/>
                  <a:pt x="798" y="267"/>
                </a:cubicBezTo>
                <a:close/>
                <a:moveTo>
                  <a:pt x="791" y="270"/>
                </a:moveTo>
                <a:cubicBezTo>
                  <a:pt x="791" y="272"/>
                  <a:pt x="793" y="275"/>
                  <a:pt x="793" y="276"/>
                </a:cubicBezTo>
                <a:cubicBezTo>
                  <a:pt x="793" y="274"/>
                  <a:pt x="791" y="271"/>
                  <a:pt x="791" y="270"/>
                </a:cubicBezTo>
                <a:close/>
                <a:moveTo>
                  <a:pt x="789" y="269"/>
                </a:moveTo>
                <a:cubicBezTo>
                  <a:pt x="788" y="269"/>
                  <a:pt x="791" y="272"/>
                  <a:pt x="790" y="273"/>
                </a:cubicBezTo>
                <a:cubicBezTo>
                  <a:pt x="789" y="270"/>
                  <a:pt x="788" y="270"/>
                  <a:pt x="787" y="270"/>
                </a:cubicBezTo>
                <a:cubicBezTo>
                  <a:pt x="789" y="273"/>
                  <a:pt x="790" y="274"/>
                  <a:pt x="791" y="276"/>
                </a:cubicBezTo>
                <a:cubicBezTo>
                  <a:pt x="792" y="276"/>
                  <a:pt x="792" y="274"/>
                  <a:pt x="793" y="276"/>
                </a:cubicBezTo>
                <a:cubicBezTo>
                  <a:pt x="792" y="273"/>
                  <a:pt x="791" y="272"/>
                  <a:pt x="789" y="269"/>
                </a:cubicBezTo>
                <a:close/>
                <a:moveTo>
                  <a:pt x="801" y="266"/>
                </a:moveTo>
                <a:cubicBezTo>
                  <a:pt x="800" y="266"/>
                  <a:pt x="800" y="268"/>
                  <a:pt x="801" y="271"/>
                </a:cubicBezTo>
                <a:cubicBezTo>
                  <a:pt x="802" y="271"/>
                  <a:pt x="801" y="267"/>
                  <a:pt x="801" y="266"/>
                </a:cubicBezTo>
                <a:close/>
                <a:moveTo>
                  <a:pt x="799" y="270"/>
                </a:moveTo>
                <a:cubicBezTo>
                  <a:pt x="799" y="270"/>
                  <a:pt x="798" y="270"/>
                  <a:pt x="798" y="269"/>
                </a:cubicBezTo>
                <a:cubicBezTo>
                  <a:pt x="797" y="269"/>
                  <a:pt x="797" y="270"/>
                  <a:pt x="798" y="272"/>
                </a:cubicBezTo>
                <a:cubicBezTo>
                  <a:pt x="798" y="271"/>
                  <a:pt x="800" y="273"/>
                  <a:pt x="799" y="270"/>
                </a:cubicBezTo>
                <a:close/>
                <a:moveTo>
                  <a:pt x="770" y="269"/>
                </a:moveTo>
                <a:cubicBezTo>
                  <a:pt x="771" y="271"/>
                  <a:pt x="772" y="272"/>
                  <a:pt x="773" y="272"/>
                </a:cubicBezTo>
                <a:cubicBezTo>
                  <a:pt x="772" y="270"/>
                  <a:pt x="771" y="269"/>
                  <a:pt x="770" y="269"/>
                </a:cubicBezTo>
                <a:close/>
                <a:moveTo>
                  <a:pt x="807" y="248"/>
                </a:moveTo>
                <a:cubicBezTo>
                  <a:pt x="808" y="250"/>
                  <a:pt x="810" y="253"/>
                  <a:pt x="810" y="252"/>
                </a:cubicBezTo>
                <a:cubicBezTo>
                  <a:pt x="809" y="249"/>
                  <a:pt x="808" y="247"/>
                  <a:pt x="807" y="248"/>
                </a:cubicBezTo>
                <a:close/>
                <a:moveTo>
                  <a:pt x="802" y="246"/>
                </a:moveTo>
                <a:cubicBezTo>
                  <a:pt x="803" y="247"/>
                  <a:pt x="803" y="248"/>
                  <a:pt x="804" y="251"/>
                </a:cubicBezTo>
                <a:cubicBezTo>
                  <a:pt x="805" y="251"/>
                  <a:pt x="803" y="245"/>
                  <a:pt x="802" y="246"/>
                </a:cubicBezTo>
                <a:close/>
                <a:moveTo>
                  <a:pt x="805" y="245"/>
                </a:moveTo>
                <a:cubicBezTo>
                  <a:pt x="803" y="240"/>
                  <a:pt x="804" y="239"/>
                  <a:pt x="802" y="235"/>
                </a:cubicBezTo>
                <a:cubicBezTo>
                  <a:pt x="800" y="234"/>
                  <a:pt x="796" y="236"/>
                  <a:pt x="801" y="245"/>
                </a:cubicBezTo>
                <a:cubicBezTo>
                  <a:pt x="801" y="242"/>
                  <a:pt x="806" y="248"/>
                  <a:pt x="805" y="245"/>
                </a:cubicBezTo>
                <a:close/>
                <a:moveTo>
                  <a:pt x="759" y="246"/>
                </a:moveTo>
                <a:cubicBezTo>
                  <a:pt x="759" y="247"/>
                  <a:pt x="758" y="246"/>
                  <a:pt x="758" y="246"/>
                </a:cubicBezTo>
                <a:cubicBezTo>
                  <a:pt x="759" y="248"/>
                  <a:pt x="760" y="248"/>
                  <a:pt x="759" y="248"/>
                </a:cubicBezTo>
                <a:cubicBezTo>
                  <a:pt x="760" y="250"/>
                  <a:pt x="760" y="250"/>
                  <a:pt x="761" y="250"/>
                </a:cubicBezTo>
                <a:cubicBezTo>
                  <a:pt x="759" y="248"/>
                  <a:pt x="760" y="248"/>
                  <a:pt x="759" y="246"/>
                </a:cubicBezTo>
                <a:close/>
                <a:moveTo>
                  <a:pt x="766" y="178"/>
                </a:moveTo>
                <a:cubicBezTo>
                  <a:pt x="766" y="178"/>
                  <a:pt x="766" y="178"/>
                  <a:pt x="767" y="180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67" y="179"/>
                  <a:pt x="768" y="180"/>
                  <a:pt x="766" y="178"/>
                </a:cubicBezTo>
                <a:close/>
                <a:moveTo>
                  <a:pt x="756" y="167"/>
                </a:moveTo>
                <a:cubicBezTo>
                  <a:pt x="757" y="168"/>
                  <a:pt x="758" y="169"/>
                  <a:pt x="757" y="169"/>
                </a:cubicBezTo>
                <a:cubicBezTo>
                  <a:pt x="762" y="175"/>
                  <a:pt x="758" y="167"/>
                  <a:pt x="756" y="167"/>
                </a:cubicBezTo>
                <a:close/>
                <a:moveTo>
                  <a:pt x="713" y="128"/>
                </a:moveTo>
                <a:cubicBezTo>
                  <a:pt x="713" y="127"/>
                  <a:pt x="714" y="127"/>
                  <a:pt x="715" y="128"/>
                </a:cubicBezTo>
                <a:cubicBezTo>
                  <a:pt x="712" y="125"/>
                  <a:pt x="710" y="125"/>
                  <a:pt x="713" y="128"/>
                </a:cubicBezTo>
                <a:close/>
                <a:moveTo>
                  <a:pt x="640" y="70"/>
                </a:moveTo>
                <a:cubicBezTo>
                  <a:pt x="634" y="64"/>
                  <a:pt x="636" y="68"/>
                  <a:pt x="640" y="70"/>
                </a:cubicBezTo>
                <a:close/>
                <a:moveTo>
                  <a:pt x="545" y="23"/>
                </a:moveTo>
                <a:cubicBezTo>
                  <a:pt x="544" y="24"/>
                  <a:pt x="548" y="25"/>
                  <a:pt x="549" y="24"/>
                </a:cubicBezTo>
                <a:cubicBezTo>
                  <a:pt x="546" y="24"/>
                  <a:pt x="547" y="24"/>
                  <a:pt x="545" y="23"/>
                </a:cubicBezTo>
                <a:close/>
                <a:moveTo>
                  <a:pt x="539" y="20"/>
                </a:moveTo>
                <a:cubicBezTo>
                  <a:pt x="539" y="20"/>
                  <a:pt x="538" y="20"/>
                  <a:pt x="538" y="20"/>
                </a:cubicBezTo>
                <a:cubicBezTo>
                  <a:pt x="540" y="21"/>
                  <a:pt x="543" y="22"/>
                  <a:pt x="543" y="21"/>
                </a:cubicBezTo>
                <a:cubicBezTo>
                  <a:pt x="540" y="20"/>
                  <a:pt x="540" y="21"/>
                  <a:pt x="539" y="20"/>
                </a:cubicBezTo>
                <a:close/>
                <a:moveTo>
                  <a:pt x="530" y="17"/>
                </a:moveTo>
                <a:cubicBezTo>
                  <a:pt x="529" y="18"/>
                  <a:pt x="534" y="19"/>
                  <a:pt x="534" y="18"/>
                </a:cubicBezTo>
                <a:lnTo>
                  <a:pt x="530" y="17"/>
                </a:lnTo>
                <a:close/>
                <a:moveTo>
                  <a:pt x="524" y="16"/>
                </a:moveTo>
                <a:cubicBezTo>
                  <a:pt x="524" y="16"/>
                  <a:pt x="522" y="16"/>
                  <a:pt x="522" y="17"/>
                </a:cubicBezTo>
                <a:cubicBezTo>
                  <a:pt x="524" y="17"/>
                  <a:pt x="527" y="18"/>
                  <a:pt x="529" y="18"/>
                </a:cubicBezTo>
                <a:cubicBezTo>
                  <a:pt x="528" y="17"/>
                  <a:pt x="526" y="17"/>
                  <a:pt x="524" y="16"/>
                </a:cubicBezTo>
                <a:close/>
                <a:moveTo>
                  <a:pt x="498" y="10"/>
                </a:moveTo>
                <a:cubicBezTo>
                  <a:pt x="501" y="10"/>
                  <a:pt x="502" y="10"/>
                  <a:pt x="503" y="10"/>
                </a:cubicBezTo>
                <a:cubicBezTo>
                  <a:pt x="502" y="10"/>
                  <a:pt x="498" y="9"/>
                  <a:pt x="498" y="10"/>
                </a:cubicBezTo>
                <a:close/>
                <a:moveTo>
                  <a:pt x="467" y="7"/>
                </a:moveTo>
                <a:cubicBezTo>
                  <a:pt x="468" y="7"/>
                  <a:pt x="473" y="8"/>
                  <a:pt x="473" y="7"/>
                </a:cubicBezTo>
                <a:cubicBezTo>
                  <a:pt x="470" y="7"/>
                  <a:pt x="467" y="6"/>
                  <a:pt x="467" y="7"/>
                </a:cubicBezTo>
                <a:close/>
                <a:moveTo>
                  <a:pt x="443" y="52"/>
                </a:moveTo>
                <a:cubicBezTo>
                  <a:pt x="443" y="52"/>
                  <a:pt x="443" y="52"/>
                  <a:pt x="443" y="53"/>
                </a:cubicBezTo>
                <a:cubicBezTo>
                  <a:pt x="445" y="53"/>
                  <a:pt x="444" y="54"/>
                  <a:pt x="447" y="54"/>
                </a:cubicBezTo>
                <a:cubicBezTo>
                  <a:pt x="446" y="53"/>
                  <a:pt x="446" y="53"/>
                  <a:pt x="448" y="53"/>
                </a:cubicBezTo>
                <a:cubicBezTo>
                  <a:pt x="447" y="52"/>
                  <a:pt x="446" y="52"/>
                  <a:pt x="443" y="52"/>
                </a:cubicBezTo>
                <a:close/>
                <a:moveTo>
                  <a:pt x="435" y="51"/>
                </a:moveTo>
                <a:cubicBezTo>
                  <a:pt x="435" y="52"/>
                  <a:pt x="430" y="51"/>
                  <a:pt x="431" y="51"/>
                </a:cubicBezTo>
                <a:cubicBezTo>
                  <a:pt x="432" y="51"/>
                  <a:pt x="436" y="52"/>
                  <a:pt x="437" y="52"/>
                </a:cubicBezTo>
                <a:cubicBezTo>
                  <a:pt x="435" y="52"/>
                  <a:pt x="437" y="51"/>
                  <a:pt x="435" y="51"/>
                </a:cubicBezTo>
                <a:close/>
                <a:moveTo>
                  <a:pt x="402" y="50"/>
                </a:moveTo>
                <a:cubicBezTo>
                  <a:pt x="404" y="50"/>
                  <a:pt x="406" y="50"/>
                  <a:pt x="406" y="49"/>
                </a:cubicBezTo>
                <a:cubicBezTo>
                  <a:pt x="404" y="49"/>
                  <a:pt x="402" y="49"/>
                  <a:pt x="402" y="50"/>
                </a:cubicBezTo>
                <a:close/>
                <a:moveTo>
                  <a:pt x="391" y="1"/>
                </a:moveTo>
                <a:cubicBezTo>
                  <a:pt x="391" y="2"/>
                  <a:pt x="395" y="2"/>
                  <a:pt x="397" y="2"/>
                </a:cubicBezTo>
                <a:cubicBezTo>
                  <a:pt x="397" y="2"/>
                  <a:pt x="395" y="2"/>
                  <a:pt x="395" y="3"/>
                </a:cubicBezTo>
                <a:cubicBezTo>
                  <a:pt x="396" y="3"/>
                  <a:pt x="397" y="3"/>
                  <a:pt x="398" y="3"/>
                </a:cubicBezTo>
                <a:cubicBezTo>
                  <a:pt x="397" y="2"/>
                  <a:pt x="401" y="4"/>
                  <a:pt x="402" y="3"/>
                </a:cubicBezTo>
                <a:cubicBezTo>
                  <a:pt x="400" y="2"/>
                  <a:pt x="396" y="3"/>
                  <a:pt x="399" y="2"/>
                </a:cubicBezTo>
                <a:cubicBezTo>
                  <a:pt x="393" y="2"/>
                  <a:pt x="395" y="1"/>
                  <a:pt x="391" y="1"/>
                </a:cubicBezTo>
                <a:close/>
                <a:moveTo>
                  <a:pt x="394" y="3"/>
                </a:moveTo>
                <a:cubicBezTo>
                  <a:pt x="391" y="3"/>
                  <a:pt x="389" y="3"/>
                  <a:pt x="388" y="3"/>
                </a:cubicBezTo>
                <a:cubicBezTo>
                  <a:pt x="391" y="3"/>
                  <a:pt x="394" y="4"/>
                  <a:pt x="395" y="3"/>
                </a:cubicBezTo>
                <a:cubicBezTo>
                  <a:pt x="394" y="3"/>
                  <a:pt x="394" y="3"/>
                  <a:pt x="394" y="3"/>
                </a:cubicBezTo>
                <a:close/>
                <a:moveTo>
                  <a:pt x="384" y="2"/>
                </a:moveTo>
                <a:cubicBezTo>
                  <a:pt x="386" y="2"/>
                  <a:pt x="388" y="2"/>
                  <a:pt x="389" y="2"/>
                </a:cubicBezTo>
                <a:cubicBezTo>
                  <a:pt x="387" y="2"/>
                  <a:pt x="384" y="2"/>
                  <a:pt x="384" y="2"/>
                </a:cubicBezTo>
                <a:close/>
                <a:moveTo>
                  <a:pt x="371" y="5"/>
                </a:moveTo>
                <a:cubicBezTo>
                  <a:pt x="370" y="6"/>
                  <a:pt x="367" y="6"/>
                  <a:pt x="365" y="6"/>
                </a:cubicBezTo>
                <a:cubicBezTo>
                  <a:pt x="367" y="7"/>
                  <a:pt x="377" y="6"/>
                  <a:pt x="377" y="5"/>
                </a:cubicBezTo>
                <a:cubicBezTo>
                  <a:pt x="374" y="5"/>
                  <a:pt x="374" y="5"/>
                  <a:pt x="371" y="5"/>
                </a:cubicBezTo>
                <a:close/>
                <a:moveTo>
                  <a:pt x="364" y="51"/>
                </a:moveTo>
                <a:cubicBezTo>
                  <a:pt x="364" y="52"/>
                  <a:pt x="367" y="51"/>
                  <a:pt x="370" y="51"/>
                </a:cubicBezTo>
                <a:cubicBezTo>
                  <a:pt x="370" y="51"/>
                  <a:pt x="366" y="51"/>
                  <a:pt x="364" y="51"/>
                </a:cubicBezTo>
                <a:close/>
                <a:moveTo>
                  <a:pt x="363" y="50"/>
                </a:moveTo>
                <a:cubicBezTo>
                  <a:pt x="365" y="49"/>
                  <a:pt x="366" y="49"/>
                  <a:pt x="367" y="49"/>
                </a:cubicBezTo>
                <a:cubicBezTo>
                  <a:pt x="365" y="48"/>
                  <a:pt x="363" y="49"/>
                  <a:pt x="363" y="50"/>
                </a:cubicBezTo>
                <a:close/>
                <a:moveTo>
                  <a:pt x="326" y="13"/>
                </a:moveTo>
                <a:cubicBezTo>
                  <a:pt x="327" y="12"/>
                  <a:pt x="332" y="11"/>
                  <a:pt x="333" y="11"/>
                </a:cubicBezTo>
                <a:cubicBezTo>
                  <a:pt x="329" y="11"/>
                  <a:pt x="328" y="12"/>
                  <a:pt x="326" y="13"/>
                </a:cubicBezTo>
                <a:close/>
                <a:moveTo>
                  <a:pt x="321" y="10"/>
                </a:moveTo>
                <a:cubicBezTo>
                  <a:pt x="322" y="11"/>
                  <a:pt x="325" y="10"/>
                  <a:pt x="329" y="9"/>
                </a:cubicBezTo>
                <a:cubicBezTo>
                  <a:pt x="329" y="9"/>
                  <a:pt x="329" y="9"/>
                  <a:pt x="328" y="9"/>
                </a:cubicBezTo>
                <a:cubicBezTo>
                  <a:pt x="326" y="10"/>
                  <a:pt x="323" y="10"/>
                  <a:pt x="321" y="10"/>
                </a:cubicBezTo>
                <a:close/>
                <a:moveTo>
                  <a:pt x="322" y="58"/>
                </a:moveTo>
                <a:cubicBezTo>
                  <a:pt x="323" y="58"/>
                  <a:pt x="326" y="58"/>
                  <a:pt x="328" y="58"/>
                </a:cubicBezTo>
                <a:cubicBezTo>
                  <a:pt x="327" y="57"/>
                  <a:pt x="325" y="57"/>
                  <a:pt x="322" y="58"/>
                </a:cubicBezTo>
                <a:close/>
                <a:moveTo>
                  <a:pt x="313" y="59"/>
                </a:moveTo>
                <a:cubicBezTo>
                  <a:pt x="314" y="60"/>
                  <a:pt x="309" y="60"/>
                  <a:pt x="309" y="61"/>
                </a:cubicBezTo>
                <a:cubicBezTo>
                  <a:pt x="311" y="61"/>
                  <a:pt x="312" y="61"/>
                  <a:pt x="316" y="60"/>
                </a:cubicBezTo>
                <a:cubicBezTo>
                  <a:pt x="315" y="60"/>
                  <a:pt x="316" y="59"/>
                  <a:pt x="313" y="59"/>
                </a:cubicBezTo>
                <a:close/>
                <a:moveTo>
                  <a:pt x="286" y="24"/>
                </a:moveTo>
                <a:cubicBezTo>
                  <a:pt x="286" y="24"/>
                  <a:pt x="280" y="25"/>
                  <a:pt x="280" y="26"/>
                </a:cubicBezTo>
                <a:cubicBezTo>
                  <a:pt x="281" y="26"/>
                  <a:pt x="280" y="26"/>
                  <a:pt x="281" y="26"/>
                </a:cubicBezTo>
                <a:cubicBezTo>
                  <a:pt x="282" y="26"/>
                  <a:pt x="284" y="25"/>
                  <a:pt x="285" y="24"/>
                </a:cubicBezTo>
                <a:cubicBezTo>
                  <a:pt x="285" y="25"/>
                  <a:pt x="286" y="25"/>
                  <a:pt x="287" y="25"/>
                </a:cubicBezTo>
                <a:cubicBezTo>
                  <a:pt x="290" y="24"/>
                  <a:pt x="290" y="24"/>
                  <a:pt x="294" y="23"/>
                </a:cubicBezTo>
                <a:cubicBezTo>
                  <a:pt x="293" y="22"/>
                  <a:pt x="293" y="22"/>
                  <a:pt x="293" y="22"/>
                </a:cubicBezTo>
                <a:cubicBezTo>
                  <a:pt x="290" y="23"/>
                  <a:pt x="288" y="23"/>
                  <a:pt x="286" y="24"/>
                </a:cubicBezTo>
                <a:close/>
                <a:moveTo>
                  <a:pt x="287" y="68"/>
                </a:moveTo>
                <a:cubicBezTo>
                  <a:pt x="289" y="67"/>
                  <a:pt x="289" y="67"/>
                  <a:pt x="289" y="66"/>
                </a:cubicBezTo>
                <a:cubicBezTo>
                  <a:pt x="287" y="67"/>
                  <a:pt x="287" y="67"/>
                  <a:pt x="287" y="68"/>
                </a:cubicBezTo>
                <a:close/>
                <a:moveTo>
                  <a:pt x="237" y="80"/>
                </a:moveTo>
                <a:cubicBezTo>
                  <a:pt x="236" y="81"/>
                  <a:pt x="235" y="83"/>
                  <a:pt x="230" y="86"/>
                </a:cubicBezTo>
                <a:cubicBezTo>
                  <a:pt x="227" y="86"/>
                  <a:pt x="224" y="88"/>
                  <a:pt x="221" y="89"/>
                </a:cubicBezTo>
                <a:cubicBezTo>
                  <a:pt x="221" y="89"/>
                  <a:pt x="221" y="90"/>
                  <a:pt x="220" y="91"/>
                </a:cubicBezTo>
                <a:cubicBezTo>
                  <a:pt x="219" y="91"/>
                  <a:pt x="215" y="92"/>
                  <a:pt x="215" y="93"/>
                </a:cubicBezTo>
                <a:cubicBezTo>
                  <a:pt x="217" y="93"/>
                  <a:pt x="218" y="93"/>
                  <a:pt x="220" y="92"/>
                </a:cubicBezTo>
                <a:cubicBezTo>
                  <a:pt x="222" y="91"/>
                  <a:pt x="219" y="91"/>
                  <a:pt x="221" y="90"/>
                </a:cubicBezTo>
                <a:cubicBezTo>
                  <a:pt x="227" y="88"/>
                  <a:pt x="233" y="84"/>
                  <a:pt x="238" y="81"/>
                </a:cubicBezTo>
                <a:cubicBezTo>
                  <a:pt x="237" y="81"/>
                  <a:pt x="237" y="81"/>
                  <a:pt x="236" y="81"/>
                </a:cubicBezTo>
                <a:cubicBezTo>
                  <a:pt x="239" y="80"/>
                  <a:pt x="241" y="79"/>
                  <a:pt x="242" y="78"/>
                </a:cubicBezTo>
                <a:cubicBezTo>
                  <a:pt x="239" y="79"/>
                  <a:pt x="238" y="79"/>
                  <a:pt x="237" y="80"/>
                </a:cubicBezTo>
                <a:close/>
                <a:moveTo>
                  <a:pt x="228" y="79"/>
                </a:moveTo>
                <a:cubicBezTo>
                  <a:pt x="228" y="80"/>
                  <a:pt x="230" y="79"/>
                  <a:pt x="228" y="80"/>
                </a:cubicBezTo>
                <a:cubicBezTo>
                  <a:pt x="228" y="80"/>
                  <a:pt x="224" y="82"/>
                  <a:pt x="224" y="81"/>
                </a:cubicBezTo>
                <a:cubicBezTo>
                  <a:pt x="219" y="84"/>
                  <a:pt x="214" y="86"/>
                  <a:pt x="212" y="89"/>
                </a:cubicBezTo>
                <a:cubicBezTo>
                  <a:pt x="217" y="86"/>
                  <a:pt x="220" y="83"/>
                  <a:pt x="224" y="82"/>
                </a:cubicBezTo>
                <a:cubicBezTo>
                  <a:pt x="224" y="82"/>
                  <a:pt x="222" y="83"/>
                  <a:pt x="223" y="83"/>
                </a:cubicBezTo>
                <a:cubicBezTo>
                  <a:pt x="226" y="82"/>
                  <a:pt x="228" y="80"/>
                  <a:pt x="232" y="79"/>
                </a:cubicBezTo>
                <a:cubicBezTo>
                  <a:pt x="231" y="78"/>
                  <a:pt x="231" y="78"/>
                  <a:pt x="228" y="79"/>
                </a:cubicBezTo>
                <a:close/>
                <a:moveTo>
                  <a:pt x="209" y="55"/>
                </a:moveTo>
                <a:cubicBezTo>
                  <a:pt x="212" y="54"/>
                  <a:pt x="215" y="52"/>
                  <a:pt x="216" y="50"/>
                </a:cubicBezTo>
                <a:cubicBezTo>
                  <a:pt x="212" y="52"/>
                  <a:pt x="211" y="53"/>
                  <a:pt x="209" y="55"/>
                </a:cubicBezTo>
                <a:close/>
                <a:moveTo>
                  <a:pt x="220" y="66"/>
                </a:moveTo>
                <a:cubicBezTo>
                  <a:pt x="223" y="64"/>
                  <a:pt x="220" y="67"/>
                  <a:pt x="223" y="65"/>
                </a:cubicBezTo>
                <a:cubicBezTo>
                  <a:pt x="224" y="64"/>
                  <a:pt x="223" y="65"/>
                  <a:pt x="223" y="64"/>
                </a:cubicBezTo>
                <a:cubicBezTo>
                  <a:pt x="222" y="65"/>
                  <a:pt x="220" y="65"/>
                  <a:pt x="220" y="66"/>
                </a:cubicBezTo>
                <a:close/>
                <a:moveTo>
                  <a:pt x="217" y="67"/>
                </a:moveTo>
                <a:cubicBezTo>
                  <a:pt x="214" y="69"/>
                  <a:pt x="216" y="70"/>
                  <a:pt x="219" y="67"/>
                </a:cubicBezTo>
                <a:cubicBezTo>
                  <a:pt x="214" y="69"/>
                  <a:pt x="222" y="65"/>
                  <a:pt x="217" y="67"/>
                </a:cubicBezTo>
                <a:close/>
                <a:moveTo>
                  <a:pt x="226" y="94"/>
                </a:moveTo>
                <a:cubicBezTo>
                  <a:pt x="225" y="94"/>
                  <a:pt x="224" y="95"/>
                  <a:pt x="224" y="96"/>
                </a:cubicBezTo>
                <a:cubicBezTo>
                  <a:pt x="226" y="94"/>
                  <a:pt x="226" y="95"/>
                  <a:pt x="228" y="94"/>
                </a:cubicBezTo>
                <a:cubicBezTo>
                  <a:pt x="228" y="93"/>
                  <a:pt x="227" y="94"/>
                  <a:pt x="226" y="94"/>
                </a:cubicBezTo>
                <a:close/>
                <a:moveTo>
                  <a:pt x="216" y="80"/>
                </a:moveTo>
                <a:cubicBezTo>
                  <a:pt x="215" y="80"/>
                  <a:pt x="213" y="82"/>
                  <a:pt x="211" y="82"/>
                </a:cubicBezTo>
                <a:cubicBezTo>
                  <a:pt x="211" y="83"/>
                  <a:pt x="214" y="82"/>
                  <a:pt x="216" y="80"/>
                </a:cubicBezTo>
                <a:close/>
                <a:moveTo>
                  <a:pt x="206" y="79"/>
                </a:moveTo>
                <a:cubicBezTo>
                  <a:pt x="206" y="79"/>
                  <a:pt x="208" y="78"/>
                  <a:pt x="207" y="79"/>
                </a:cubicBezTo>
                <a:cubicBezTo>
                  <a:pt x="209" y="77"/>
                  <a:pt x="210" y="78"/>
                  <a:pt x="212" y="75"/>
                </a:cubicBezTo>
                <a:cubicBezTo>
                  <a:pt x="210" y="76"/>
                  <a:pt x="208" y="77"/>
                  <a:pt x="206" y="79"/>
                </a:cubicBezTo>
                <a:close/>
                <a:moveTo>
                  <a:pt x="192" y="65"/>
                </a:moveTo>
                <a:cubicBezTo>
                  <a:pt x="191" y="66"/>
                  <a:pt x="190" y="67"/>
                  <a:pt x="190" y="67"/>
                </a:cubicBezTo>
                <a:cubicBezTo>
                  <a:pt x="193" y="65"/>
                  <a:pt x="197" y="64"/>
                  <a:pt x="198" y="63"/>
                </a:cubicBezTo>
                <a:cubicBezTo>
                  <a:pt x="194" y="64"/>
                  <a:pt x="195" y="64"/>
                  <a:pt x="192" y="65"/>
                </a:cubicBezTo>
                <a:close/>
                <a:moveTo>
                  <a:pt x="208" y="90"/>
                </a:moveTo>
                <a:cubicBezTo>
                  <a:pt x="207" y="91"/>
                  <a:pt x="206" y="91"/>
                  <a:pt x="206" y="92"/>
                </a:cubicBezTo>
                <a:cubicBezTo>
                  <a:pt x="207" y="91"/>
                  <a:pt x="206" y="93"/>
                  <a:pt x="209" y="91"/>
                </a:cubicBezTo>
                <a:cubicBezTo>
                  <a:pt x="210" y="90"/>
                  <a:pt x="208" y="91"/>
                  <a:pt x="208" y="90"/>
                </a:cubicBezTo>
                <a:close/>
                <a:moveTo>
                  <a:pt x="207" y="101"/>
                </a:moveTo>
                <a:cubicBezTo>
                  <a:pt x="208" y="101"/>
                  <a:pt x="212" y="98"/>
                  <a:pt x="214" y="97"/>
                </a:cubicBezTo>
                <a:cubicBezTo>
                  <a:pt x="211" y="99"/>
                  <a:pt x="207" y="101"/>
                  <a:pt x="207" y="101"/>
                </a:cubicBezTo>
                <a:close/>
                <a:moveTo>
                  <a:pt x="190" y="86"/>
                </a:moveTo>
                <a:cubicBezTo>
                  <a:pt x="191" y="85"/>
                  <a:pt x="196" y="82"/>
                  <a:pt x="196" y="82"/>
                </a:cubicBezTo>
                <a:cubicBezTo>
                  <a:pt x="194" y="83"/>
                  <a:pt x="192" y="85"/>
                  <a:pt x="190" y="86"/>
                </a:cubicBezTo>
                <a:close/>
                <a:moveTo>
                  <a:pt x="198" y="111"/>
                </a:moveTo>
                <a:cubicBezTo>
                  <a:pt x="199" y="112"/>
                  <a:pt x="204" y="109"/>
                  <a:pt x="205" y="107"/>
                </a:cubicBezTo>
                <a:cubicBezTo>
                  <a:pt x="203" y="109"/>
                  <a:pt x="201" y="110"/>
                  <a:pt x="198" y="111"/>
                </a:cubicBezTo>
                <a:close/>
                <a:moveTo>
                  <a:pt x="185" y="86"/>
                </a:moveTo>
                <a:cubicBezTo>
                  <a:pt x="185" y="86"/>
                  <a:pt x="189" y="84"/>
                  <a:pt x="188" y="84"/>
                </a:cubicBezTo>
                <a:cubicBezTo>
                  <a:pt x="184" y="85"/>
                  <a:pt x="184" y="87"/>
                  <a:pt x="183" y="89"/>
                </a:cubicBezTo>
                <a:cubicBezTo>
                  <a:pt x="184" y="88"/>
                  <a:pt x="184" y="88"/>
                  <a:pt x="184" y="88"/>
                </a:cubicBezTo>
                <a:cubicBezTo>
                  <a:pt x="187" y="87"/>
                  <a:pt x="190" y="84"/>
                  <a:pt x="188" y="84"/>
                </a:cubicBezTo>
                <a:cubicBezTo>
                  <a:pt x="188" y="84"/>
                  <a:pt x="186" y="86"/>
                  <a:pt x="185" y="86"/>
                </a:cubicBezTo>
                <a:close/>
                <a:moveTo>
                  <a:pt x="175" y="77"/>
                </a:moveTo>
                <a:cubicBezTo>
                  <a:pt x="177" y="75"/>
                  <a:pt x="182" y="73"/>
                  <a:pt x="180" y="73"/>
                </a:cubicBezTo>
                <a:cubicBezTo>
                  <a:pt x="179" y="75"/>
                  <a:pt x="174" y="76"/>
                  <a:pt x="175" y="77"/>
                </a:cubicBezTo>
                <a:close/>
                <a:moveTo>
                  <a:pt x="186" y="115"/>
                </a:moveTo>
                <a:cubicBezTo>
                  <a:pt x="187" y="115"/>
                  <a:pt x="191" y="112"/>
                  <a:pt x="191" y="111"/>
                </a:cubicBezTo>
                <a:cubicBezTo>
                  <a:pt x="190" y="112"/>
                  <a:pt x="187" y="113"/>
                  <a:pt x="186" y="115"/>
                </a:cubicBezTo>
                <a:close/>
                <a:moveTo>
                  <a:pt x="177" y="93"/>
                </a:moveTo>
                <a:cubicBezTo>
                  <a:pt x="170" y="97"/>
                  <a:pt x="177" y="95"/>
                  <a:pt x="177" y="93"/>
                </a:cubicBezTo>
                <a:close/>
                <a:moveTo>
                  <a:pt x="183" y="114"/>
                </a:moveTo>
                <a:cubicBezTo>
                  <a:pt x="185" y="113"/>
                  <a:pt x="188" y="111"/>
                  <a:pt x="188" y="110"/>
                </a:cubicBezTo>
                <a:cubicBezTo>
                  <a:pt x="185" y="112"/>
                  <a:pt x="184" y="113"/>
                  <a:pt x="183" y="114"/>
                </a:cubicBezTo>
                <a:close/>
                <a:moveTo>
                  <a:pt x="158" y="89"/>
                </a:moveTo>
                <a:cubicBezTo>
                  <a:pt x="160" y="88"/>
                  <a:pt x="165" y="84"/>
                  <a:pt x="163" y="85"/>
                </a:cubicBezTo>
                <a:cubicBezTo>
                  <a:pt x="163" y="85"/>
                  <a:pt x="157" y="89"/>
                  <a:pt x="158" y="89"/>
                </a:cubicBezTo>
                <a:close/>
                <a:moveTo>
                  <a:pt x="166" y="104"/>
                </a:moveTo>
                <a:cubicBezTo>
                  <a:pt x="168" y="103"/>
                  <a:pt x="170" y="102"/>
                  <a:pt x="171" y="101"/>
                </a:cubicBezTo>
                <a:cubicBezTo>
                  <a:pt x="169" y="103"/>
                  <a:pt x="166" y="103"/>
                  <a:pt x="166" y="104"/>
                </a:cubicBezTo>
                <a:close/>
                <a:moveTo>
                  <a:pt x="172" y="122"/>
                </a:moveTo>
                <a:cubicBezTo>
                  <a:pt x="172" y="122"/>
                  <a:pt x="176" y="120"/>
                  <a:pt x="176" y="120"/>
                </a:cubicBezTo>
                <a:cubicBezTo>
                  <a:pt x="175" y="120"/>
                  <a:pt x="175" y="120"/>
                  <a:pt x="172" y="122"/>
                </a:cubicBezTo>
                <a:close/>
                <a:moveTo>
                  <a:pt x="142" y="97"/>
                </a:moveTo>
                <a:cubicBezTo>
                  <a:pt x="145" y="95"/>
                  <a:pt x="147" y="93"/>
                  <a:pt x="148" y="92"/>
                </a:cubicBezTo>
                <a:cubicBezTo>
                  <a:pt x="146" y="93"/>
                  <a:pt x="142" y="96"/>
                  <a:pt x="142" y="97"/>
                </a:cubicBezTo>
                <a:close/>
                <a:moveTo>
                  <a:pt x="155" y="112"/>
                </a:moveTo>
                <a:cubicBezTo>
                  <a:pt x="155" y="112"/>
                  <a:pt x="156" y="111"/>
                  <a:pt x="156" y="111"/>
                </a:cubicBezTo>
                <a:cubicBezTo>
                  <a:pt x="155" y="112"/>
                  <a:pt x="156" y="112"/>
                  <a:pt x="157" y="111"/>
                </a:cubicBezTo>
                <a:cubicBezTo>
                  <a:pt x="157" y="111"/>
                  <a:pt x="158" y="110"/>
                  <a:pt x="158" y="109"/>
                </a:cubicBezTo>
                <a:cubicBezTo>
                  <a:pt x="157" y="110"/>
                  <a:pt x="155" y="111"/>
                  <a:pt x="155" y="112"/>
                </a:cubicBezTo>
                <a:close/>
                <a:moveTo>
                  <a:pt x="164" y="129"/>
                </a:moveTo>
                <a:cubicBezTo>
                  <a:pt x="165" y="128"/>
                  <a:pt x="170" y="125"/>
                  <a:pt x="169" y="124"/>
                </a:cubicBezTo>
                <a:cubicBezTo>
                  <a:pt x="167" y="126"/>
                  <a:pt x="165" y="127"/>
                  <a:pt x="164" y="129"/>
                </a:cubicBezTo>
                <a:close/>
                <a:moveTo>
                  <a:pt x="153" y="112"/>
                </a:moveTo>
                <a:cubicBezTo>
                  <a:pt x="155" y="111"/>
                  <a:pt x="158" y="109"/>
                  <a:pt x="157" y="109"/>
                </a:cubicBezTo>
                <a:cubicBezTo>
                  <a:pt x="154" y="110"/>
                  <a:pt x="154" y="111"/>
                  <a:pt x="153" y="112"/>
                </a:cubicBezTo>
                <a:close/>
                <a:moveTo>
                  <a:pt x="164" y="125"/>
                </a:moveTo>
                <a:cubicBezTo>
                  <a:pt x="165" y="124"/>
                  <a:pt x="167" y="122"/>
                  <a:pt x="167" y="122"/>
                </a:cubicBezTo>
                <a:cubicBezTo>
                  <a:pt x="166" y="122"/>
                  <a:pt x="162" y="125"/>
                  <a:pt x="164" y="125"/>
                </a:cubicBezTo>
                <a:close/>
                <a:moveTo>
                  <a:pt x="162" y="131"/>
                </a:moveTo>
                <a:cubicBezTo>
                  <a:pt x="162" y="131"/>
                  <a:pt x="161" y="132"/>
                  <a:pt x="161" y="133"/>
                </a:cubicBezTo>
                <a:cubicBezTo>
                  <a:pt x="164" y="130"/>
                  <a:pt x="164" y="130"/>
                  <a:pt x="164" y="130"/>
                </a:cubicBezTo>
                <a:cubicBezTo>
                  <a:pt x="162" y="131"/>
                  <a:pt x="170" y="126"/>
                  <a:pt x="167" y="127"/>
                </a:cubicBezTo>
                <a:cubicBezTo>
                  <a:pt x="165" y="129"/>
                  <a:pt x="163" y="130"/>
                  <a:pt x="162" y="131"/>
                </a:cubicBezTo>
                <a:close/>
                <a:moveTo>
                  <a:pt x="153" y="115"/>
                </a:moveTo>
                <a:cubicBezTo>
                  <a:pt x="153" y="115"/>
                  <a:pt x="154" y="114"/>
                  <a:pt x="153" y="114"/>
                </a:cubicBezTo>
                <a:cubicBezTo>
                  <a:pt x="149" y="118"/>
                  <a:pt x="155" y="114"/>
                  <a:pt x="153" y="116"/>
                </a:cubicBezTo>
                <a:cubicBezTo>
                  <a:pt x="155" y="115"/>
                  <a:pt x="155" y="115"/>
                  <a:pt x="155" y="115"/>
                </a:cubicBezTo>
                <a:cubicBezTo>
                  <a:pt x="155" y="115"/>
                  <a:pt x="155" y="114"/>
                  <a:pt x="155" y="114"/>
                </a:cubicBezTo>
                <a:cubicBezTo>
                  <a:pt x="154" y="115"/>
                  <a:pt x="153" y="115"/>
                  <a:pt x="153" y="115"/>
                </a:cubicBezTo>
                <a:close/>
                <a:moveTo>
                  <a:pt x="132" y="105"/>
                </a:moveTo>
                <a:cubicBezTo>
                  <a:pt x="135" y="103"/>
                  <a:pt x="140" y="99"/>
                  <a:pt x="140" y="98"/>
                </a:cubicBezTo>
                <a:cubicBezTo>
                  <a:pt x="136" y="101"/>
                  <a:pt x="133" y="104"/>
                  <a:pt x="132" y="105"/>
                </a:cubicBezTo>
                <a:close/>
                <a:moveTo>
                  <a:pt x="158" y="134"/>
                </a:moveTo>
                <a:cubicBezTo>
                  <a:pt x="159" y="132"/>
                  <a:pt x="163" y="130"/>
                  <a:pt x="163" y="130"/>
                </a:cubicBezTo>
                <a:cubicBezTo>
                  <a:pt x="161" y="131"/>
                  <a:pt x="157" y="133"/>
                  <a:pt x="158" y="134"/>
                </a:cubicBezTo>
                <a:close/>
                <a:moveTo>
                  <a:pt x="149" y="141"/>
                </a:moveTo>
                <a:cubicBezTo>
                  <a:pt x="151" y="141"/>
                  <a:pt x="153" y="139"/>
                  <a:pt x="153" y="138"/>
                </a:cubicBezTo>
                <a:cubicBezTo>
                  <a:pt x="154" y="138"/>
                  <a:pt x="157" y="136"/>
                  <a:pt x="158" y="135"/>
                </a:cubicBezTo>
                <a:cubicBezTo>
                  <a:pt x="155" y="136"/>
                  <a:pt x="151" y="139"/>
                  <a:pt x="149" y="141"/>
                </a:cubicBezTo>
                <a:close/>
                <a:moveTo>
                  <a:pt x="132" y="110"/>
                </a:moveTo>
                <a:cubicBezTo>
                  <a:pt x="132" y="108"/>
                  <a:pt x="128" y="112"/>
                  <a:pt x="127" y="113"/>
                </a:cubicBezTo>
                <a:cubicBezTo>
                  <a:pt x="126" y="114"/>
                  <a:pt x="128" y="114"/>
                  <a:pt x="129" y="112"/>
                </a:cubicBezTo>
                <a:cubicBezTo>
                  <a:pt x="129" y="111"/>
                  <a:pt x="131" y="110"/>
                  <a:pt x="131" y="110"/>
                </a:cubicBezTo>
                <a:cubicBezTo>
                  <a:pt x="131" y="110"/>
                  <a:pt x="131" y="110"/>
                  <a:pt x="132" y="110"/>
                </a:cubicBezTo>
                <a:close/>
                <a:moveTo>
                  <a:pt x="137" y="153"/>
                </a:moveTo>
                <a:cubicBezTo>
                  <a:pt x="139" y="150"/>
                  <a:pt x="143" y="148"/>
                  <a:pt x="143" y="147"/>
                </a:cubicBezTo>
                <a:cubicBezTo>
                  <a:pt x="140" y="149"/>
                  <a:pt x="138" y="151"/>
                  <a:pt x="137" y="153"/>
                </a:cubicBezTo>
                <a:close/>
                <a:moveTo>
                  <a:pt x="105" y="131"/>
                </a:moveTo>
                <a:cubicBezTo>
                  <a:pt x="110" y="128"/>
                  <a:pt x="114" y="123"/>
                  <a:pt x="118" y="120"/>
                </a:cubicBezTo>
                <a:cubicBezTo>
                  <a:pt x="117" y="119"/>
                  <a:pt x="117" y="119"/>
                  <a:pt x="117" y="119"/>
                </a:cubicBezTo>
                <a:cubicBezTo>
                  <a:pt x="113" y="123"/>
                  <a:pt x="107" y="128"/>
                  <a:pt x="105" y="131"/>
                </a:cubicBezTo>
                <a:close/>
                <a:moveTo>
                  <a:pt x="144" y="153"/>
                </a:moveTo>
                <a:cubicBezTo>
                  <a:pt x="144" y="154"/>
                  <a:pt x="143" y="155"/>
                  <a:pt x="143" y="155"/>
                </a:cubicBezTo>
                <a:cubicBezTo>
                  <a:pt x="146" y="153"/>
                  <a:pt x="146" y="153"/>
                  <a:pt x="146" y="153"/>
                </a:cubicBezTo>
                <a:cubicBezTo>
                  <a:pt x="145" y="153"/>
                  <a:pt x="146" y="152"/>
                  <a:pt x="144" y="153"/>
                </a:cubicBezTo>
                <a:close/>
                <a:moveTo>
                  <a:pt x="124" y="137"/>
                </a:moveTo>
                <a:cubicBezTo>
                  <a:pt x="125" y="137"/>
                  <a:pt x="126" y="136"/>
                  <a:pt x="126" y="136"/>
                </a:cubicBezTo>
                <a:cubicBezTo>
                  <a:pt x="125" y="136"/>
                  <a:pt x="123" y="138"/>
                  <a:pt x="122" y="139"/>
                </a:cubicBezTo>
                <a:cubicBezTo>
                  <a:pt x="121" y="140"/>
                  <a:pt x="121" y="140"/>
                  <a:pt x="122" y="140"/>
                </a:cubicBezTo>
                <a:cubicBezTo>
                  <a:pt x="124" y="138"/>
                  <a:pt x="123" y="138"/>
                  <a:pt x="124" y="137"/>
                </a:cubicBezTo>
                <a:close/>
                <a:moveTo>
                  <a:pt x="112" y="136"/>
                </a:moveTo>
                <a:cubicBezTo>
                  <a:pt x="109" y="139"/>
                  <a:pt x="114" y="135"/>
                  <a:pt x="111" y="138"/>
                </a:cubicBezTo>
                <a:cubicBezTo>
                  <a:pt x="113" y="136"/>
                  <a:pt x="113" y="136"/>
                  <a:pt x="115" y="135"/>
                </a:cubicBezTo>
                <a:cubicBezTo>
                  <a:pt x="115" y="135"/>
                  <a:pt x="116" y="134"/>
                  <a:pt x="115" y="134"/>
                </a:cubicBezTo>
                <a:cubicBezTo>
                  <a:pt x="113" y="136"/>
                  <a:pt x="114" y="134"/>
                  <a:pt x="112" y="136"/>
                </a:cubicBezTo>
                <a:close/>
                <a:moveTo>
                  <a:pt x="125" y="156"/>
                </a:moveTo>
                <a:cubicBezTo>
                  <a:pt x="126" y="156"/>
                  <a:pt x="128" y="154"/>
                  <a:pt x="129" y="152"/>
                </a:cubicBezTo>
                <a:cubicBezTo>
                  <a:pt x="128" y="153"/>
                  <a:pt x="126" y="154"/>
                  <a:pt x="125" y="156"/>
                </a:cubicBezTo>
                <a:close/>
                <a:moveTo>
                  <a:pt x="113" y="150"/>
                </a:moveTo>
                <a:cubicBezTo>
                  <a:pt x="117" y="147"/>
                  <a:pt x="116" y="148"/>
                  <a:pt x="120" y="145"/>
                </a:cubicBezTo>
                <a:cubicBezTo>
                  <a:pt x="118" y="145"/>
                  <a:pt x="121" y="143"/>
                  <a:pt x="120" y="143"/>
                </a:cubicBezTo>
                <a:cubicBezTo>
                  <a:pt x="119" y="145"/>
                  <a:pt x="113" y="149"/>
                  <a:pt x="113" y="150"/>
                </a:cubicBezTo>
                <a:close/>
                <a:moveTo>
                  <a:pt x="112" y="138"/>
                </a:moveTo>
                <a:cubicBezTo>
                  <a:pt x="110" y="140"/>
                  <a:pt x="110" y="138"/>
                  <a:pt x="108" y="140"/>
                </a:cubicBezTo>
                <a:cubicBezTo>
                  <a:pt x="107" y="142"/>
                  <a:pt x="109" y="140"/>
                  <a:pt x="110" y="141"/>
                </a:cubicBezTo>
                <a:cubicBezTo>
                  <a:pt x="111" y="140"/>
                  <a:pt x="114" y="137"/>
                  <a:pt x="112" y="138"/>
                </a:cubicBezTo>
                <a:close/>
                <a:moveTo>
                  <a:pt x="96" y="141"/>
                </a:moveTo>
                <a:cubicBezTo>
                  <a:pt x="99" y="138"/>
                  <a:pt x="99" y="138"/>
                  <a:pt x="99" y="138"/>
                </a:cubicBezTo>
                <a:cubicBezTo>
                  <a:pt x="98" y="137"/>
                  <a:pt x="98" y="137"/>
                  <a:pt x="98" y="137"/>
                </a:cubicBezTo>
                <a:cubicBezTo>
                  <a:pt x="96" y="139"/>
                  <a:pt x="97" y="139"/>
                  <a:pt x="96" y="141"/>
                </a:cubicBezTo>
                <a:close/>
                <a:moveTo>
                  <a:pt x="119" y="170"/>
                </a:moveTo>
                <a:cubicBezTo>
                  <a:pt x="119" y="171"/>
                  <a:pt x="120" y="168"/>
                  <a:pt x="120" y="169"/>
                </a:cubicBezTo>
                <a:cubicBezTo>
                  <a:pt x="121" y="168"/>
                  <a:pt x="125" y="165"/>
                  <a:pt x="123" y="166"/>
                </a:cubicBezTo>
                <a:cubicBezTo>
                  <a:pt x="121" y="168"/>
                  <a:pt x="121" y="168"/>
                  <a:pt x="119" y="170"/>
                </a:cubicBezTo>
                <a:close/>
                <a:moveTo>
                  <a:pt x="111" y="161"/>
                </a:moveTo>
                <a:cubicBezTo>
                  <a:pt x="113" y="159"/>
                  <a:pt x="114" y="159"/>
                  <a:pt x="115" y="158"/>
                </a:cubicBezTo>
                <a:cubicBezTo>
                  <a:pt x="114" y="158"/>
                  <a:pt x="115" y="157"/>
                  <a:pt x="114" y="157"/>
                </a:cubicBezTo>
                <a:cubicBezTo>
                  <a:pt x="113" y="159"/>
                  <a:pt x="111" y="160"/>
                  <a:pt x="111" y="161"/>
                </a:cubicBezTo>
                <a:close/>
                <a:moveTo>
                  <a:pt x="85" y="151"/>
                </a:moveTo>
                <a:cubicBezTo>
                  <a:pt x="83" y="153"/>
                  <a:pt x="82" y="154"/>
                  <a:pt x="81" y="155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2" y="156"/>
                  <a:pt x="82" y="156"/>
                  <a:pt x="82" y="156"/>
                </a:cubicBezTo>
                <a:cubicBezTo>
                  <a:pt x="83" y="155"/>
                  <a:pt x="83" y="155"/>
                  <a:pt x="83" y="155"/>
                </a:cubicBezTo>
                <a:cubicBezTo>
                  <a:pt x="84" y="154"/>
                  <a:pt x="85" y="152"/>
                  <a:pt x="86" y="151"/>
                </a:cubicBezTo>
                <a:cubicBezTo>
                  <a:pt x="89" y="149"/>
                  <a:pt x="91" y="146"/>
                  <a:pt x="93" y="143"/>
                </a:cubicBezTo>
                <a:cubicBezTo>
                  <a:pt x="90" y="146"/>
                  <a:pt x="87" y="149"/>
                  <a:pt x="85" y="151"/>
                </a:cubicBezTo>
                <a:close/>
                <a:moveTo>
                  <a:pt x="88" y="156"/>
                </a:moveTo>
                <a:cubicBezTo>
                  <a:pt x="90" y="154"/>
                  <a:pt x="91" y="154"/>
                  <a:pt x="93" y="152"/>
                </a:cubicBezTo>
                <a:cubicBezTo>
                  <a:pt x="93" y="151"/>
                  <a:pt x="93" y="150"/>
                  <a:pt x="94" y="149"/>
                </a:cubicBezTo>
                <a:cubicBezTo>
                  <a:pt x="91" y="152"/>
                  <a:pt x="87" y="156"/>
                  <a:pt x="88" y="156"/>
                </a:cubicBezTo>
                <a:close/>
                <a:moveTo>
                  <a:pt x="86" y="154"/>
                </a:moveTo>
                <a:cubicBezTo>
                  <a:pt x="88" y="153"/>
                  <a:pt x="87" y="154"/>
                  <a:pt x="89" y="152"/>
                </a:cubicBezTo>
                <a:cubicBezTo>
                  <a:pt x="89" y="152"/>
                  <a:pt x="89" y="152"/>
                  <a:pt x="90" y="151"/>
                </a:cubicBezTo>
                <a:cubicBezTo>
                  <a:pt x="89" y="151"/>
                  <a:pt x="89" y="151"/>
                  <a:pt x="90" y="151"/>
                </a:cubicBezTo>
                <a:cubicBezTo>
                  <a:pt x="90" y="150"/>
                  <a:pt x="90" y="150"/>
                  <a:pt x="90" y="150"/>
                </a:cubicBezTo>
                <a:cubicBezTo>
                  <a:pt x="89" y="152"/>
                  <a:pt x="86" y="154"/>
                  <a:pt x="86" y="154"/>
                </a:cubicBezTo>
                <a:close/>
                <a:moveTo>
                  <a:pt x="96" y="160"/>
                </a:moveTo>
                <a:cubicBezTo>
                  <a:pt x="96" y="161"/>
                  <a:pt x="94" y="163"/>
                  <a:pt x="94" y="164"/>
                </a:cubicBezTo>
                <a:cubicBezTo>
                  <a:pt x="96" y="162"/>
                  <a:pt x="96" y="161"/>
                  <a:pt x="98" y="160"/>
                </a:cubicBezTo>
                <a:cubicBezTo>
                  <a:pt x="97" y="159"/>
                  <a:pt x="97" y="160"/>
                  <a:pt x="96" y="160"/>
                </a:cubicBezTo>
                <a:close/>
                <a:moveTo>
                  <a:pt x="95" y="158"/>
                </a:moveTo>
                <a:cubicBezTo>
                  <a:pt x="95" y="158"/>
                  <a:pt x="95" y="158"/>
                  <a:pt x="95" y="158"/>
                </a:cubicBezTo>
                <a:cubicBezTo>
                  <a:pt x="93" y="159"/>
                  <a:pt x="94" y="159"/>
                  <a:pt x="92" y="160"/>
                </a:cubicBezTo>
                <a:cubicBezTo>
                  <a:pt x="93" y="161"/>
                  <a:pt x="93" y="161"/>
                  <a:pt x="93" y="161"/>
                </a:cubicBezTo>
                <a:cubicBezTo>
                  <a:pt x="94" y="159"/>
                  <a:pt x="94" y="160"/>
                  <a:pt x="95" y="158"/>
                </a:cubicBezTo>
                <a:close/>
                <a:moveTo>
                  <a:pt x="85" y="163"/>
                </a:moveTo>
                <a:cubicBezTo>
                  <a:pt x="86" y="162"/>
                  <a:pt x="86" y="162"/>
                  <a:pt x="86" y="162"/>
                </a:cubicBezTo>
                <a:cubicBezTo>
                  <a:pt x="86" y="162"/>
                  <a:pt x="85" y="162"/>
                  <a:pt x="85" y="163"/>
                </a:cubicBezTo>
                <a:close/>
                <a:moveTo>
                  <a:pt x="91" y="167"/>
                </a:moveTo>
                <a:cubicBezTo>
                  <a:pt x="91" y="167"/>
                  <a:pt x="91" y="167"/>
                  <a:pt x="91" y="168"/>
                </a:cubicBezTo>
                <a:cubicBezTo>
                  <a:pt x="92" y="168"/>
                  <a:pt x="92" y="168"/>
                  <a:pt x="92" y="167"/>
                </a:cubicBezTo>
                <a:cubicBezTo>
                  <a:pt x="92" y="167"/>
                  <a:pt x="92" y="167"/>
                  <a:pt x="92" y="167"/>
                </a:cubicBezTo>
                <a:cubicBezTo>
                  <a:pt x="92" y="167"/>
                  <a:pt x="91" y="166"/>
                  <a:pt x="91" y="167"/>
                </a:cubicBezTo>
                <a:close/>
                <a:moveTo>
                  <a:pt x="101" y="179"/>
                </a:moveTo>
                <a:cubicBezTo>
                  <a:pt x="101" y="179"/>
                  <a:pt x="101" y="179"/>
                  <a:pt x="102" y="180"/>
                </a:cubicBezTo>
                <a:cubicBezTo>
                  <a:pt x="102" y="179"/>
                  <a:pt x="102" y="178"/>
                  <a:pt x="103" y="178"/>
                </a:cubicBezTo>
                <a:cubicBezTo>
                  <a:pt x="103" y="178"/>
                  <a:pt x="103" y="178"/>
                  <a:pt x="103" y="177"/>
                </a:cubicBezTo>
                <a:cubicBezTo>
                  <a:pt x="102" y="178"/>
                  <a:pt x="102" y="178"/>
                  <a:pt x="101" y="179"/>
                </a:cubicBezTo>
                <a:close/>
                <a:moveTo>
                  <a:pt x="111" y="187"/>
                </a:moveTo>
                <a:cubicBezTo>
                  <a:pt x="111" y="188"/>
                  <a:pt x="112" y="187"/>
                  <a:pt x="112" y="187"/>
                </a:cubicBezTo>
                <a:cubicBezTo>
                  <a:pt x="111" y="187"/>
                  <a:pt x="112" y="187"/>
                  <a:pt x="112" y="186"/>
                </a:cubicBezTo>
                <a:cubicBezTo>
                  <a:pt x="111" y="186"/>
                  <a:pt x="112" y="187"/>
                  <a:pt x="111" y="187"/>
                </a:cubicBezTo>
                <a:close/>
                <a:moveTo>
                  <a:pt x="100" y="178"/>
                </a:moveTo>
                <a:cubicBezTo>
                  <a:pt x="100" y="179"/>
                  <a:pt x="101" y="179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0" y="178"/>
                  <a:pt x="100" y="178"/>
                </a:cubicBezTo>
                <a:close/>
                <a:moveTo>
                  <a:pt x="101" y="180"/>
                </a:moveTo>
                <a:cubicBezTo>
                  <a:pt x="101" y="179"/>
                  <a:pt x="101" y="181"/>
                  <a:pt x="102" y="180"/>
                </a:cubicBezTo>
                <a:cubicBezTo>
                  <a:pt x="102" y="180"/>
                  <a:pt x="101" y="179"/>
                  <a:pt x="101" y="179"/>
                </a:cubicBezTo>
                <a:cubicBezTo>
                  <a:pt x="101" y="179"/>
                  <a:pt x="100" y="180"/>
                  <a:pt x="101" y="180"/>
                </a:cubicBezTo>
                <a:close/>
                <a:moveTo>
                  <a:pt x="76" y="157"/>
                </a:moveTo>
                <a:cubicBezTo>
                  <a:pt x="76" y="157"/>
                  <a:pt x="77" y="156"/>
                  <a:pt x="76" y="156"/>
                </a:cubicBezTo>
                <a:cubicBezTo>
                  <a:pt x="76" y="156"/>
                  <a:pt x="76" y="157"/>
                  <a:pt x="76" y="157"/>
                </a:cubicBezTo>
                <a:close/>
                <a:moveTo>
                  <a:pt x="99" y="179"/>
                </a:moveTo>
                <a:cubicBezTo>
                  <a:pt x="99" y="178"/>
                  <a:pt x="100" y="180"/>
                  <a:pt x="100" y="179"/>
                </a:cubicBezTo>
                <a:cubicBezTo>
                  <a:pt x="99" y="179"/>
                  <a:pt x="100" y="179"/>
                  <a:pt x="100" y="178"/>
                </a:cubicBezTo>
                <a:cubicBezTo>
                  <a:pt x="100" y="178"/>
                  <a:pt x="99" y="179"/>
                  <a:pt x="99" y="179"/>
                </a:cubicBezTo>
                <a:close/>
                <a:moveTo>
                  <a:pt x="104" y="186"/>
                </a:moveTo>
                <a:cubicBezTo>
                  <a:pt x="105" y="185"/>
                  <a:pt x="105" y="185"/>
                  <a:pt x="105" y="185"/>
                </a:cubicBezTo>
                <a:cubicBezTo>
                  <a:pt x="105" y="184"/>
                  <a:pt x="104" y="185"/>
                  <a:pt x="104" y="186"/>
                </a:cubicBezTo>
                <a:close/>
                <a:moveTo>
                  <a:pt x="100" y="181"/>
                </a:move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1" y="181"/>
                  <a:pt x="101" y="181"/>
                </a:cubicBezTo>
                <a:cubicBezTo>
                  <a:pt x="100" y="181"/>
                  <a:pt x="100" y="180"/>
                  <a:pt x="100" y="181"/>
                </a:cubicBezTo>
                <a:close/>
                <a:moveTo>
                  <a:pt x="108" y="192"/>
                </a:moveTo>
                <a:cubicBezTo>
                  <a:pt x="108" y="191"/>
                  <a:pt x="109" y="190"/>
                  <a:pt x="109" y="190"/>
                </a:cubicBezTo>
                <a:cubicBezTo>
                  <a:pt x="108" y="191"/>
                  <a:pt x="107" y="191"/>
                  <a:pt x="108" y="192"/>
                </a:cubicBezTo>
                <a:close/>
                <a:moveTo>
                  <a:pt x="76" y="161"/>
                </a:moveTo>
                <a:cubicBezTo>
                  <a:pt x="76" y="161"/>
                  <a:pt x="77" y="162"/>
                  <a:pt x="77" y="161"/>
                </a:cubicBezTo>
                <a:cubicBezTo>
                  <a:pt x="77" y="161"/>
                  <a:pt x="77" y="161"/>
                  <a:pt x="77" y="161"/>
                </a:cubicBezTo>
                <a:cubicBezTo>
                  <a:pt x="77" y="161"/>
                  <a:pt x="78" y="161"/>
                  <a:pt x="77" y="161"/>
                </a:cubicBezTo>
                <a:cubicBezTo>
                  <a:pt x="77" y="161"/>
                  <a:pt x="77" y="161"/>
                  <a:pt x="76" y="161"/>
                </a:cubicBezTo>
                <a:close/>
                <a:moveTo>
                  <a:pt x="99" y="182"/>
                </a:moveTo>
                <a:cubicBezTo>
                  <a:pt x="99" y="182"/>
                  <a:pt x="99" y="182"/>
                  <a:pt x="99" y="182"/>
                </a:cubicBezTo>
                <a:cubicBezTo>
                  <a:pt x="100" y="182"/>
                  <a:pt x="100" y="182"/>
                  <a:pt x="100" y="181"/>
                </a:cubicBezTo>
                <a:cubicBezTo>
                  <a:pt x="99" y="181"/>
                  <a:pt x="99" y="182"/>
                  <a:pt x="99" y="182"/>
                </a:cubicBezTo>
                <a:close/>
                <a:moveTo>
                  <a:pt x="102" y="184"/>
                </a:moveTo>
                <a:cubicBezTo>
                  <a:pt x="102" y="184"/>
                  <a:pt x="102" y="185"/>
                  <a:pt x="102" y="185"/>
                </a:cubicBezTo>
                <a:cubicBezTo>
                  <a:pt x="102" y="185"/>
                  <a:pt x="102" y="185"/>
                  <a:pt x="102" y="185"/>
                </a:cubicBezTo>
                <a:cubicBezTo>
                  <a:pt x="102" y="185"/>
                  <a:pt x="103" y="185"/>
                  <a:pt x="103" y="184"/>
                </a:cubicBezTo>
                <a:cubicBezTo>
                  <a:pt x="103" y="185"/>
                  <a:pt x="102" y="184"/>
                  <a:pt x="102" y="184"/>
                </a:cubicBezTo>
                <a:close/>
                <a:moveTo>
                  <a:pt x="103" y="187"/>
                </a:moveTo>
                <a:cubicBezTo>
                  <a:pt x="104" y="186"/>
                  <a:pt x="104" y="186"/>
                  <a:pt x="104" y="185"/>
                </a:cubicBezTo>
                <a:cubicBezTo>
                  <a:pt x="104" y="186"/>
                  <a:pt x="103" y="186"/>
                  <a:pt x="103" y="187"/>
                </a:cubicBezTo>
                <a:close/>
                <a:moveTo>
                  <a:pt x="99" y="185"/>
                </a:moveTo>
                <a:cubicBezTo>
                  <a:pt x="99" y="185"/>
                  <a:pt x="100" y="185"/>
                  <a:pt x="100" y="185"/>
                </a:cubicBezTo>
                <a:cubicBezTo>
                  <a:pt x="100" y="185"/>
                  <a:pt x="101" y="185"/>
                  <a:pt x="101" y="186"/>
                </a:cubicBezTo>
                <a:cubicBezTo>
                  <a:pt x="102" y="186"/>
                  <a:pt x="100" y="184"/>
                  <a:pt x="102" y="184"/>
                </a:cubicBezTo>
                <a:cubicBezTo>
                  <a:pt x="101" y="184"/>
                  <a:pt x="101" y="184"/>
                  <a:pt x="101" y="183"/>
                </a:cubicBezTo>
                <a:cubicBezTo>
                  <a:pt x="100" y="184"/>
                  <a:pt x="99" y="184"/>
                  <a:pt x="99" y="185"/>
                </a:cubicBezTo>
                <a:close/>
                <a:moveTo>
                  <a:pt x="84" y="169"/>
                </a:moveTo>
                <a:cubicBezTo>
                  <a:pt x="84" y="169"/>
                  <a:pt x="85" y="169"/>
                  <a:pt x="85" y="168"/>
                </a:cubicBezTo>
                <a:cubicBezTo>
                  <a:pt x="85" y="169"/>
                  <a:pt x="84" y="169"/>
                  <a:pt x="84" y="169"/>
                </a:cubicBezTo>
                <a:close/>
                <a:moveTo>
                  <a:pt x="97" y="181"/>
                </a:moveTo>
                <a:cubicBezTo>
                  <a:pt x="98" y="181"/>
                  <a:pt x="97" y="182"/>
                  <a:pt x="98" y="182"/>
                </a:cubicBezTo>
                <a:cubicBezTo>
                  <a:pt x="98" y="181"/>
                  <a:pt x="98" y="181"/>
                  <a:pt x="98" y="181"/>
                </a:cubicBezTo>
                <a:cubicBezTo>
                  <a:pt x="98" y="181"/>
                  <a:pt x="98" y="181"/>
                  <a:pt x="97" y="181"/>
                </a:cubicBezTo>
                <a:close/>
                <a:moveTo>
                  <a:pt x="105" y="194"/>
                </a:moveTo>
                <a:cubicBezTo>
                  <a:pt x="106" y="194"/>
                  <a:pt x="106" y="192"/>
                  <a:pt x="107" y="192"/>
                </a:cubicBezTo>
                <a:cubicBezTo>
                  <a:pt x="107" y="192"/>
                  <a:pt x="107" y="192"/>
                  <a:pt x="107" y="192"/>
                </a:cubicBezTo>
                <a:cubicBezTo>
                  <a:pt x="106" y="192"/>
                  <a:pt x="105" y="193"/>
                  <a:pt x="105" y="194"/>
                </a:cubicBezTo>
                <a:close/>
                <a:moveTo>
                  <a:pt x="91" y="184"/>
                </a:moveTo>
                <a:cubicBezTo>
                  <a:pt x="92" y="184"/>
                  <a:pt x="91" y="185"/>
                  <a:pt x="91" y="185"/>
                </a:cubicBezTo>
                <a:cubicBezTo>
                  <a:pt x="92" y="185"/>
                  <a:pt x="92" y="184"/>
                  <a:pt x="93" y="184"/>
                </a:cubicBezTo>
                <a:cubicBezTo>
                  <a:pt x="92" y="184"/>
                  <a:pt x="92" y="184"/>
                  <a:pt x="92" y="183"/>
                </a:cubicBezTo>
                <a:cubicBezTo>
                  <a:pt x="92" y="184"/>
                  <a:pt x="92" y="184"/>
                  <a:pt x="91" y="184"/>
                </a:cubicBezTo>
                <a:close/>
                <a:moveTo>
                  <a:pt x="72" y="169"/>
                </a:moveTo>
                <a:cubicBezTo>
                  <a:pt x="73" y="170"/>
                  <a:pt x="73" y="170"/>
                  <a:pt x="73" y="170"/>
                </a:cubicBezTo>
                <a:cubicBezTo>
                  <a:pt x="73" y="169"/>
                  <a:pt x="75" y="168"/>
                  <a:pt x="74" y="167"/>
                </a:cubicBezTo>
                <a:cubicBezTo>
                  <a:pt x="73" y="168"/>
                  <a:pt x="73" y="169"/>
                  <a:pt x="72" y="169"/>
                </a:cubicBezTo>
                <a:close/>
                <a:moveTo>
                  <a:pt x="74" y="170"/>
                </a:moveTo>
                <a:cubicBezTo>
                  <a:pt x="75" y="170"/>
                  <a:pt x="76" y="169"/>
                  <a:pt x="76" y="168"/>
                </a:cubicBezTo>
                <a:cubicBezTo>
                  <a:pt x="75" y="169"/>
                  <a:pt x="74" y="170"/>
                  <a:pt x="74" y="170"/>
                </a:cubicBezTo>
                <a:close/>
                <a:moveTo>
                  <a:pt x="88" y="184"/>
                </a:moveTo>
                <a:cubicBezTo>
                  <a:pt x="89" y="185"/>
                  <a:pt x="89" y="185"/>
                  <a:pt x="89" y="185"/>
                </a:cubicBezTo>
                <a:cubicBezTo>
                  <a:pt x="90" y="184"/>
                  <a:pt x="90" y="184"/>
                  <a:pt x="90" y="183"/>
                </a:cubicBezTo>
                <a:cubicBezTo>
                  <a:pt x="90" y="183"/>
                  <a:pt x="89" y="184"/>
                  <a:pt x="88" y="184"/>
                </a:cubicBezTo>
                <a:close/>
                <a:moveTo>
                  <a:pt x="71" y="168"/>
                </a:moveTo>
                <a:cubicBezTo>
                  <a:pt x="71" y="168"/>
                  <a:pt x="71" y="167"/>
                  <a:pt x="71" y="167"/>
                </a:cubicBezTo>
                <a:cubicBezTo>
                  <a:pt x="71" y="167"/>
                  <a:pt x="71" y="168"/>
                  <a:pt x="71" y="168"/>
                </a:cubicBezTo>
                <a:close/>
                <a:moveTo>
                  <a:pt x="89" y="187"/>
                </a:moveTo>
                <a:cubicBezTo>
                  <a:pt x="90" y="188"/>
                  <a:pt x="90" y="187"/>
                  <a:pt x="90" y="187"/>
                </a:cubicBezTo>
                <a:cubicBezTo>
                  <a:pt x="91" y="187"/>
                  <a:pt x="91" y="186"/>
                  <a:pt x="91" y="186"/>
                </a:cubicBezTo>
                <a:cubicBezTo>
                  <a:pt x="90" y="186"/>
                  <a:pt x="90" y="187"/>
                  <a:pt x="89" y="186"/>
                </a:cubicBezTo>
                <a:cubicBezTo>
                  <a:pt x="89" y="186"/>
                  <a:pt x="90" y="187"/>
                  <a:pt x="89" y="187"/>
                </a:cubicBezTo>
                <a:close/>
                <a:moveTo>
                  <a:pt x="84" y="182"/>
                </a:moveTo>
                <a:cubicBezTo>
                  <a:pt x="84" y="182"/>
                  <a:pt x="85" y="180"/>
                  <a:pt x="84" y="180"/>
                </a:cubicBezTo>
                <a:cubicBezTo>
                  <a:pt x="84" y="181"/>
                  <a:pt x="83" y="181"/>
                  <a:pt x="84" y="182"/>
                </a:cubicBezTo>
                <a:close/>
                <a:moveTo>
                  <a:pt x="72" y="173"/>
                </a:moveTo>
                <a:cubicBezTo>
                  <a:pt x="72" y="173"/>
                  <a:pt x="73" y="173"/>
                  <a:pt x="73" y="173"/>
                </a:cubicBezTo>
                <a:cubicBezTo>
                  <a:pt x="73" y="173"/>
                  <a:pt x="73" y="173"/>
                  <a:pt x="73" y="172"/>
                </a:cubicBezTo>
                <a:cubicBezTo>
                  <a:pt x="72" y="172"/>
                  <a:pt x="75" y="172"/>
                  <a:pt x="74" y="171"/>
                </a:cubicBezTo>
                <a:cubicBezTo>
                  <a:pt x="73" y="171"/>
                  <a:pt x="73" y="172"/>
                  <a:pt x="72" y="173"/>
                </a:cubicBezTo>
                <a:close/>
                <a:moveTo>
                  <a:pt x="97" y="197"/>
                </a:moveTo>
                <a:cubicBezTo>
                  <a:pt x="98" y="196"/>
                  <a:pt x="99" y="195"/>
                  <a:pt x="99" y="194"/>
                </a:cubicBezTo>
                <a:cubicBezTo>
                  <a:pt x="99" y="195"/>
                  <a:pt x="97" y="195"/>
                  <a:pt x="97" y="197"/>
                </a:cubicBezTo>
                <a:close/>
                <a:moveTo>
                  <a:pt x="69" y="174"/>
                </a:moveTo>
                <a:cubicBezTo>
                  <a:pt x="70" y="173"/>
                  <a:pt x="71" y="172"/>
                  <a:pt x="72" y="171"/>
                </a:cubicBezTo>
                <a:cubicBezTo>
                  <a:pt x="72" y="170"/>
                  <a:pt x="72" y="170"/>
                  <a:pt x="72" y="170"/>
                </a:cubicBezTo>
                <a:cubicBezTo>
                  <a:pt x="71" y="172"/>
                  <a:pt x="69" y="172"/>
                  <a:pt x="69" y="174"/>
                </a:cubicBezTo>
                <a:close/>
                <a:moveTo>
                  <a:pt x="91" y="189"/>
                </a:moveTo>
                <a:cubicBezTo>
                  <a:pt x="91" y="189"/>
                  <a:pt x="92" y="189"/>
                  <a:pt x="91" y="188"/>
                </a:cubicBezTo>
                <a:cubicBezTo>
                  <a:pt x="91" y="189"/>
                  <a:pt x="90" y="189"/>
                  <a:pt x="91" y="189"/>
                </a:cubicBezTo>
                <a:close/>
                <a:moveTo>
                  <a:pt x="69" y="171"/>
                </a:moveTo>
                <a:cubicBezTo>
                  <a:pt x="69" y="170"/>
                  <a:pt x="70" y="169"/>
                  <a:pt x="70" y="169"/>
                </a:cubicBezTo>
                <a:cubicBezTo>
                  <a:pt x="69" y="169"/>
                  <a:pt x="68" y="170"/>
                  <a:pt x="69" y="171"/>
                </a:cubicBezTo>
                <a:close/>
                <a:moveTo>
                  <a:pt x="67" y="172"/>
                </a:moveTo>
                <a:cubicBezTo>
                  <a:pt x="68" y="173"/>
                  <a:pt x="68" y="172"/>
                  <a:pt x="68" y="171"/>
                </a:cubicBezTo>
                <a:lnTo>
                  <a:pt x="67" y="172"/>
                </a:lnTo>
                <a:close/>
                <a:moveTo>
                  <a:pt x="96" y="198"/>
                </a:moveTo>
                <a:cubicBezTo>
                  <a:pt x="97" y="198"/>
                  <a:pt x="97" y="197"/>
                  <a:pt x="97" y="197"/>
                </a:cubicBezTo>
                <a:cubicBezTo>
                  <a:pt x="96" y="197"/>
                  <a:pt x="96" y="198"/>
                  <a:pt x="96" y="198"/>
                </a:cubicBezTo>
                <a:close/>
                <a:moveTo>
                  <a:pt x="75" y="181"/>
                </a:moveTo>
                <a:cubicBezTo>
                  <a:pt x="76" y="181"/>
                  <a:pt x="77" y="180"/>
                  <a:pt x="76" y="180"/>
                </a:cubicBezTo>
                <a:cubicBezTo>
                  <a:pt x="76" y="180"/>
                  <a:pt x="75" y="181"/>
                  <a:pt x="75" y="181"/>
                </a:cubicBezTo>
                <a:close/>
                <a:moveTo>
                  <a:pt x="90" y="195"/>
                </a:moveTo>
                <a:cubicBezTo>
                  <a:pt x="91" y="196"/>
                  <a:pt x="91" y="194"/>
                  <a:pt x="92" y="194"/>
                </a:cubicBezTo>
                <a:cubicBezTo>
                  <a:pt x="92" y="194"/>
                  <a:pt x="92" y="194"/>
                  <a:pt x="91" y="193"/>
                </a:cubicBezTo>
                <a:cubicBezTo>
                  <a:pt x="91" y="194"/>
                  <a:pt x="91" y="195"/>
                  <a:pt x="90" y="195"/>
                </a:cubicBezTo>
                <a:close/>
                <a:moveTo>
                  <a:pt x="65" y="173"/>
                </a:moveTo>
                <a:cubicBezTo>
                  <a:pt x="66" y="173"/>
                  <a:pt x="66" y="172"/>
                  <a:pt x="66" y="172"/>
                </a:cubicBezTo>
                <a:cubicBezTo>
                  <a:pt x="66" y="172"/>
                  <a:pt x="65" y="173"/>
                  <a:pt x="65" y="173"/>
                </a:cubicBezTo>
                <a:close/>
                <a:moveTo>
                  <a:pt x="67" y="176"/>
                </a:moveTo>
                <a:cubicBezTo>
                  <a:pt x="68" y="177"/>
                  <a:pt x="69" y="175"/>
                  <a:pt x="68" y="175"/>
                </a:cubicBezTo>
                <a:cubicBezTo>
                  <a:pt x="68" y="176"/>
                  <a:pt x="67" y="176"/>
                  <a:pt x="67" y="176"/>
                </a:cubicBezTo>
                <a:close/>
                <a:moveTo>
                  <a:pt x="70" y="178"/>
                </a:moveTo>
                <a:cubicBezTo>
                  <a:pt x="70" y="179"/>
                  <a:pt x="70" y="178"/>
                  <a:pt x="70" y="177"/>
                </a:cubicBezTo>
                <a:cubicBezTo>
                  <a:pt x="70" y="177"/>
                  <a:pt x="70" y="178"/>
                  <a:pt x="70" y="178"/>
                </a:cubicBezTo>
                <a:close/>
                <a:moveTo>
                  <a:pt x="88" y="196"/>
                </a:moveTo>
                <a:cubicBezTo>
                  <a:pt x="89" y="196"/>
                  <a:pt x="90" y="195"/>
                  <a:pt x="89" y="194"/>
                </a:cubicBezTo>
                <a:cubicBezTo>
                  <a:pt x="89" y="196"/>
                  <a:pt x="87" y="195"/>
                  <a:pt x="88" y="196"/>
                </a:cubicBezTo>
                <a:close/>
                <a:moveTo>
                  <a:pt x="63" y="174"/>
                </a:moveTo>
                <a:cubicBezTo>
                  <a:pt x="63" y="174"/>
                  <a:pt x="63" y="174"/>
                  <a:pt x="63" y="174"/>
                </a:cubicBezTo>
                <a:cubicBezTo>
                  <a:pt x="64" y="174"/>
                  <a:pt x="64" y="173"/>
                  <a:pt x="64" y="172"/>
                </a:cubicBezTo>
                <a:cubicBezTo>
                  <a:pt x="64" y="172"/>
                  <a:pt x="64" y="173"/>
                  <a:pt x="63" y="174"/>
                </a:cubicBezTo>
                <a:close/>
                <a:moveTo>
                  <a:pt x="87" y="195"/>
                </a:moveTo>
                <a:cubicBezTo>
                  <a:pt x="87" y="194"/>
                  <a:pt x="87" y="194"/>
                  <a:pt x="88" y="194"/>
                </a:cubicBezTo>
                <a:cubicBezTo>
                  <a:pt x="87" y="193"/>
                  <a:pt x="87" y="193"/>
                  <a:pt x="87" y="193"/>
                </a:cubicBezTo>
                <a:cubicBezTo>
                  <a:pt x="87" y="194"/>
                  <a:pt x="86" y="194"/>
                  <a:pt x="87" y="195"/>
                </a:cubicBezTo>
                <a:close/>
                <a:moveTo>
                  <a:pt x="89" y="196"/>
                </a:moveTo>
                <a:cubicBezTo>
                  <a:pt x="89" y="196"/>
                  <a:pt x="90" y="197"/>
                  <a:pt x="90" y="197"/>
                </a:cubicBezTo>
                <a:cubicBezTo>
                  <a:pt x="90" y="196"/>
                  <a:pt x="90" y="196"/>
                  <a:pt x="89" y="196"/>
                </a:cubicBezTo>
                <a:close/>
                <a:moveTo>
                  <a:pt x="70" y="180"/>
                </a:moveTo>
                <a:cubicBezTo>
                  <a:pt x="70" y="180"/>
                  <a:pt x="70" y="180"/>
                  <a:pt x="70" y="179"/>
                </a:cubicBezTo>
                <a:cubicBezTo>
                  <a:pt x="70" y="179"/>
                  <a:pt x="69" y="179"/>
                  <a:pt x="69" y="180"/>
                </a:cubicBezTo>
                <a:cubicBezTo>
                  <a:pt x="69" y="180"/>
                  <a:pt x="69" y="180"/>
                  <a:pt x="70" y="180"/>
                </a:cubicBezTo>
                <a:close/>
                <a:moveTo>
                  <a:pt x="63" y="175"/>
                </a:moveTo>
                <a:cubicBezTo>
                  <a:pt x="62" y="175"/>
                  <a:pt x="61" y="176"/>
                  <a:pt x="61" y="177"/>
                </a:cubicBezTo>
                <a:cubicBezTo>
                  <a:pt x="62" y="177"/>
                  <a:pt x="63" y="175"/>
                  <a:pt x="63" y="174"/>
                </a:cubicBezTo>
                <a:cubicBezTo>
                  <a:pt x="63" y="174"/>
                  <a:pt x="63" y="175"/>
                  <a:pt x="63" y="175"/>
                </a:cubicBezTo>
                <a:close/>
                <a:moveTo>
                  <a:pt x="88" y="201"/>
                </a:moveTo>
                <a:cubicBezTo>
                  <a:pt x="88" y="202"/>
                  <a:pt x="88" y="202"/>
                  <a:pt x="89" y="202"/>
                </a:cubicBezTo>
                <a:cubicBezTo>
                  <a:pt x="89" y="201"/>
                  <a:pt x="89" y="201"/>
                  <a:pt x="90" y="200"/>
                </a:cubicBezTo>
                <a:cubicBezTo>
                  <a:pt x="90" y="200"/>
                  <a:pt x="90" y="200"/>
                  <a:pt x="90" y="199"/>
                </a:cubicBezTo>
                <a:cubicBezTo>
                  <a:pt x="90" y="199"/>
                  <a:pt x="90" y="199"/>
                  <a:pt x="90" y="199"/>
                </a:cubicBezTo>
                <a:cubicBezTo>
                  <a:pt x="89" y="200"/>
                  <a:pt x="89" y="201"/>
                  <a:pt x="88" y="201"/>
                </a:cubicBezTo>
                <a:close/>
                <a:moveTo>
                  <a:pt x="92" y="203"/>
                </a:moveTo>
                <a:cubicBezTo>
                  <a:pt x="92" y="203"/>
                  <a:pt x="93" y="202"/>
                  <a:pt x="93" y="202"/>
                </a:cubicBezTo>
                <a:cubicBezTo>
                  <a:pt x="92" y="202"/>
                  <a:pt x="92" y="202"/>
                  <a:pt x="92" y="203"/>
                </a:cubicBezTo>
                <a:close/>
                <a:moveTo>
                  <a:pt x="62" y="177"/>
                </a:moveTo>
                <a:cubicBezTo>
                  <a:pt x="62" y="177"/>
                  <a:pt x="63" y="177"/>
                  <a:pt x="63" y="176"/>
                </a:cubicBezTo>
                <a:cubicBezTo>
                  <a:pt x="62" y="176"/>
                  <a:pt x="62" y="177"/>
                  <a:pt x="62" y="177"/>
                </a:cubicBezTo>
                <a:close/>
                <a:moveTo>
                  <a:pt x="62" y="177"/>
                </a:moveTo>
                <a:cubicBezTo>
                  <a:pt x="62" y="178"/>
                  <a:pt x="63" y="178"/>
                  <a:pt x="63" y="178"/>
                </a:cubicBezTo>
                <a:cubicBezTo>
                  <a:pt x="63" y="177"/>
                  <a:pt x="63" y="177"/>
                  <a:pt x="62" y="177"/>
                </a:cubicBezTo>
                <a:close/>
                <a:moveTo>
                  <a:pt x="90" y="205"/>
                </a:moveTo>
                <a:cubicBezTo>
                  <a:pt x="90" y="205"/>
                  <a:pt x="92" y="204"/>
                  <a:pt x="91" y="203"/>
                </a:cubicBezTo>
                <a:cubicBezTo>
                  <a:pt x="91" y="203"/>
                  <a:pt x="90" y="204"/>
                  <a:pt x="90" y="205"/>
                </a:cubicBezTo>
                <a:close/>
                <a:moveTo>
                  <a:pt x="89" y="203"/>
                </a:moveTo>
                <a:cubicBezTo>
                  <a:pt x="90" y="204"/>
                  <a:pt x="91" y="202"/>
                  <a:pt x="90" y="202"/>
                </a:cubicBezTo>
                <a:cubicBezTo>
                  <a:pt x="90" y="203"/>
                  <a:pt x="90" y="203"/>
                  <a:pt x="89" y="203"/>
                </a:cubicBezTo>
                <a:close/>
                <a:moveTo>
                  <a:pt x="78" y="193"/>
                </a:moveTo>
                <a:cubicBezTo>
                  <a:pt x="76" y="194"/>
                  <a:pt x="79" y="195"/>
                  <a:pt x="78" y="196"/>
                </a:cubicBezTo>
                <a:cubicBezTo>
                  <a:pt x="79" y="196"/>
                  <a:pt x="80" y="194"/>
                  <a:pt x="80" y="194"/>
                </a:cubicBezTo>
                <a:cubicBezTo>
                  <a:pt x="79" y="195"/>
                  <a:pt x="78" y="194"/>
                  <a:pt x="78" y="193"/>
                </a:cubicBezTo>
                <a:close/>
                <a:moveTo>
                  <a:pt x="70" y="188"/>
                </a:moveTo>
                <a:cubicBezTo>
                  <a:pt x="69" y="188"/>
                  <a:pt x="70" y="188"/>
                  <a:pt x="69" y="188"/>
                </a:cubicBezTo>
                <a:cubicBezTo>
                  <a:pt x="69" y="189"/>
                  <a:pt x="67" y="189"/>
                  <a:pt x="68" y="190"/>
                </a:cubicBezTo>
                <a:cubicBezTo>
                  <a:pt x="68" y="189"/>
                  <a:pt x="70" y="190"/>
                  <a:pt x="70" y="188"/>
                </a:cubicBezTo>
                <a:cubicBezTo>
                  <a:pt x="70" y="188"/>
                  <a:pt x="70" y="188"/>
                  <a:pt x="70" y="188"/>
                </a:cubicBezTo>
                <a:close/>
                <a:moveTo>
                  <a:pt x="66" y="185"/>
                </a:moveTo>
                <a:cubicBezTo>
                  <a:pt x="65" y="185"/>
                  <a:pt x="65" y="185"/>
                  <a:pt x="66" y="186"/>
                </a:cubicBezTo>
                <a:cubicBezTo>
                  <a:pt x="66" y="185"/>
                  <a:pt x="66" y="184"/>
                  <a:pt x="66" y="185"/>
                </a:cubicBezTo>
                <a:close/>
                <a:moveTo>
                  <a:pt x="79" y="199"/>
                </a:moveTo>
                <a:cubicBezTo>
                  <a:pt x="80" y="199"/>
                  <a:pt x="81" y="198"/>
                  <a:pt x="81" y="198"/>
                </a:cubicBezTo>
                <a:cubicBezTo>
                  <a:pt x="80" y="198"/>
                  <a:pt x="79" y="199"/>
                  <a:pt x="79" y="199"/>
                </a:cubicBezTo>
                <a:close/>
                <a:moveTo>
                  <a:pt x="84" y="202"/>
                </a:moveTo>
                <a:cubicBezTo>
                  <a:pt x="85" y="202"/>
                  <a:pt x="85" y="201"/>
                  <a:pt x="85" y="201"/>
                </a:cubicBezTo>
                <a:cubicBezTo>
                  <a:pt x="84" y="201"/>
                  <a:pt x="84" y="202"/>
                  <a:pt x="84" y="202"/>
                </a:cubicBezTo>
                <a:close/>
                <a:moveTo>
                  <a:pt x="58" y="182"/>
                </a:moveTo>
                <a:cubicBezTo>
                  <a:pt x="58" y="183"/>
                  <a:pt x="60" y="181"/>
                  <a:pt x="59" y="181"/>
                </a:cubicBezTo>
                <a:cubicBezTo>
                  <a:pt x="59" y="181"/>
                  <a:pt x="57" y="182"/>
                  <a:pt x="58" y="182"/>
                </a:cubicBezTo>
                <a:close/>
                <a:moveTo>
                  <a:pt x="76" y="197"/>
                </a:moveTo>
                <a:cubicBezTo>
                  <a:pt x="77" y="198"/>
                  <a:pt x="78" y="196"/>
                  <a:pt x="77" y="197"/>
                </a:cubicBezTo>
                <a:cubicBezTo>
                  <a:pt x="77" y="197"/>
                  <a:pt x="76" y="197"/>
                  <a:pt x="76" y="197"/>
                </a:cubicBezTo>
                <a:close/>
                <a:moveTo>
                  <a:pt x="68" y="191"/>
                </a:moveTo>
                <a:cubicBezTo>
                  <a:pt x="68" y="191"/>
                  <a:pt x="68" y="191"/>
                  <a:pt x="69" y="191"/>
                </a:cubicBezTo>
                <a:cubicBezTo>
                  <a:pt x="68" y="191"/>
                  <a:pt x="69" y="190"/>
                  <a:pt x="69" y="190"/>
                </a:cubicBezTo>
                <a:cubicBezTo>
                  <a:pt x="68" y="190"/>
                  <a:pt x="68" y="191"/>
                  <a:pt x="68" y="191"/>
                </a:cubicBezTo>
                <a:close/>
                <a:moveTo>
                  <a:pt x="69" y="194"/>
                </a:moveTo>
                <a:cubicBezTo>
                  <a:pt x="70" y="195"/>
                  <a:pt x="70" y="194"/>
                  <a:pt x="71" y="194"/>
                </a:cubicBezTo>
                <a:cubicBezTo>
                  <a:pt x="70" y="193"/>
                  <a:pt x="71" y="193"/>
                  <a:pt x="70" y="193"/>
                </a:cubicBezTo>
                <a:cubicBezTo>
                  <a:pt x="70" y="193"/>
                  <a:pt x="70" y="194"/>
                  <a:pt x="69" y="194"/>
                </a:cubicBezTo>
                <a:close/>
                <a:moveTo>
                  <a:pt x="64" y="195"/>
                </a:moveTo>
                <a:cubicBezTo>
                  <a:pt x="64" y="194"/>
                  <a:pt x="64" y="195"/>
                  <a:pt x="64" y="194"/>
                </a:cubicBezTo>
                <a:cubicBezTo>
                  <a:pt x="65" y="193"/>
                  <a:pt x="65" y="191"/>
                  <a:pt x="67" y="190"/>
                </a:cubicBezTo>
                <a:cubicBezTo>
                  <a:pt x="67" y="191"/>
                  <a:pt x="67" y="192"/>
                  <a:pt x="68" y="191"/>
                </a:cubicBezTo>
                <a:cubicBezTo>
                  <a:pt x="67" y="193"/>
                  <a:pt x="66" y="194"/>
                  <a:pt x="65" y="195"/>
                </a:cubicBezTo>
                <a:cubicBezTo>
                  <a:pt x="65" y="194"/>
                  <a:pt x="66" y="194"/>
                  <a:pt x="66" y="193"/>
                </a:cubicBezTo>
                <a:cubicBezTo>
                  <a:pt x="65" y="192"/>
                  <a:pt x="65" y="195"/>
                  <a:pt x="64" y="195"/>
                </a:cubicBezTo>
                <a:cubicBezTo>
                  <a:pt x="64" y="195"/>
                  <a:pt x="64" y="195"/>
                  <a:pt x="64" y="195"/>
                </a:cubicBezTo>
                <a:close/>
                <a:moveTo>
                  <a:pt x="66" y="192"/>
                </a:moveTo>
                <a:cubicBezTo>
                  <a:pt x="66" y="192"/>
                  <a:pt x="68" y="192"/>
                  <a:pt x="67" y="191"/>
                </a:cubicBezTo>
                <a:cubicBezTo>
                  <a:pt x="67" y="192"/>
                  <a:pt x="66" y="192"/>
                  <a:pt x="66" y="192"/>
                </a:cubicBezTo>
                <a:close/>
                <a:moveTo>
                  <a:pt x="68" y="196"/>
                </a:moveTo>
                <a:cubicBezTo>
                  <a:pt x="69" y="196"/>
                  <a:pt x="69" y="195"/>
                  <a:pt x="69" y="195"/>
                </a:cubicBezTo>
                <a:cubicBezTo>
                  <a:pt x="69" y="195"/>
                  <a:pt x="68" y="196"/>
                  <a:pt x="68" y="196"/>
                </a:cubicBezTo>
                <a:close/>
                <a:moveTo>
                  <a:pt x="81" y="205"/>
                </a:moveTo>
                <a:cubicBezTo>
                  <a:pt x="81" y="206"/>
                  <a:pt x="80" y="206"/>
                  <a:pt x="80" y="207"/>
                </a:cubicBezTo>
                <a:cubicBezTo>
                  <a:pt x="81" y="207"/>
                  <a:pt x="81" y="206"/>
                  <a:pt x="81" y="205"/>
                </a:cubicBezTo>
                <a:close/>
                <a:moveTo>
                  <a:pt x="85" y="210"/>
                </a:moveTo>
                <a:cubicBezTo>
                  <a:pt x="85" y="211"/>
                  <a:pt x="84" y="211"/>
                  <a:pt x="84" y="213"/>
                </a:cubicBezTo>
                <a:cubicBezTo>
                  <a:pt x="84" y="212"/>
                  <a:pt x="87" y="210"/>
                  <a:pt x="86" y="210"/>
                </a:cubicBezTo>
                <a:cubicBezTo>
                  <a:pt x="86" y="210"/>
                  <a:pt x="85" y="210"/>
                  <a:pt x="85" y="210"/>
                </a:cubicBezTo>
                <a:close/>
                <a:moveTo>
                  <a:pt x="81" y="210"/>
                </a:moveTo>
                <a:cubicBezTo>
                  <a:pt x="82" y="210"/>
                  <a:pt x="83" y="209"/>
                  <a:pt x="83" y="207"/>
                </a:cubicBezTo>
                <a:cubicBezTo>
                  <a:pt x="82" y="208"/>
                  <a:pt x="81" y="209"/>
                  <a:pt x="81" y="210"/>
                </a:cubicBezTo>
                <a:close/>
                <a:moveTo>
                  <a:pt x="67" y="196"/>
                </a:moveTo>
                <a:cubicBezTo>
                  <a:pt x="67" y="195"/>
                  <a:pt x="67" y="195"/>
                  <a:pt x="67" y="195"/>
                </a:cubicBezTo>
                <a:cubicBezTo>
                  <a:pt x="66" y="194"/>
                  <a:pt x="67" y="195"/>
                  <a:pt x="67" y="196"/>
                </a:cubicBezTo>
                <a:close/>
                <a:moveTo>
                  <a:pt x="54" y="186"/>
                </a:moveTo>
                <a:cubicBezTo>
                  <a:pt x="55" y="186"/>
                  <a:pt x="55" y="186"/>
                  <a:pt x="55" y="186"/>
                </a:cubicBezTo>
                <a:cubicBezTo>
                  <a:pt x="55" y="186"/>
                  <a:pt x="55" y="187"/>
                  <a:pt x="55" y="187"/>
                </a:cubicBezTo>
                <a:cubicBezTo>
                  <a:pt x="56" y="186"/>
                  <a:pt x="55" y="186"/>
                  <a:pt x="55" y="186"/>
                </a:cubicBezTo>
                <a:cubicBezTo>
                  <a:pt x="55" y="185"/>
                  <a:pt x="55" y="186"/>
                  <a:pt x="54" y="186"/>
                </a:cubicBezTo>
                <a:cubicBezTo>
                  <a:pt x="54" y="186"/>
                  <a:pt x="54" y="186"/>
                  <a:pt x="54" y="186"/>
                </a:cubicBezTo>
                <a:close/>
                <a:moveTo>
                  <a:pt x="63" y="194"/>
                </a:moveTo>
                <a:cubicBezTo>
                  <a:pt x="63" y="194"/>
                  <a:pt x="64" y="194"/>
                  <a:pt x="64" y="193"/>
                </a:cubicBezTo>
                <a:cubicBezTo>
                  <a:pt x="63" y="193"/>
                  <a:pt x="62" y="194"/>
                  <a:pt x="63" y="194"/>
                </a:cubicBezTo>
                <a:close/>
                <a:moveTo>
                  <a:pt x="68" y="198"/>
                </a:moveTo>
                <a:cubicBezTo>
                  <a:pt x="68" y="197"/>
                  <a:pt x="68" y="197"/>
                  <a:pt x="68" y="197"/>
                </a:cubicBezTo>
                <a:cubicBezTo>
                  <a:pt x="68" y="197"/>
                  <a:pt x="67" y="198"/>
                  <a:pt x="68" y="198"/>
                </a:cubicBezTo>
                <a:close/>
                <a:moveTo>
                  <a:pt x="68" y="200"/>
                </a:moveTo>
                <a:cubicBezTo>
                  <a:pt x="69" y="201"/>
                  <a:pt x="69" y="200"/>
                  <a:pt x="70" y="200"/>
                </a:cubicBezTo>
                <a:cubicBezTo>
                  <a:pt x="70" y="200"/>
                  <a:pt x="70" y="199"/>
                  <a:pt x="70" y="199"/>
                </a:cubicBezTo>
                <a:cubicBezTo>
                  <a:pt x="70" y="199"/>
                  <a:pt x="70" y="199"/>
                  <a:pt x="70" y="198"/>
                </a:cubicBezTo>
                <a:cubicBezTo>
                  <a:pt x="69" y="199"/>
                  <a:pt x="69" y="200"/>
                  <a:pt x="68" y="200"/>
                </a:cubicBezTo>
                <a:close/>
                <a:moveTo>
                  <a:pt x="53" y="186"/>
                </a:moveTo>
                <a:cubicBezTo>
                  <a:pt x="53" y="185"/>
                  <a:pt x="54" y="185"/>
                  <a:pt x="53" y="184"/>
                </a:cubicBezTo>
                <a:cubicBezTo>
                  <a:pt x="53" y="184"/>
                  <a:pt x="53" y="185"/>
                  <a:pt x="53" y="186"/>
                </a:cubicBezTo>
                <a:close/>
                <a:moveTo>
                  <a:pt x="66" y="197"/>
                </a:moveTo>
                <a:cubicBezTo>
                  <a:pt x="67" y="196"/>
                  <a:pt x="66" y="197"/>
                  <a:pt x="66" y="196"/>
                </a:cubicBezTo>
                <a:cubicBezTo>
                  <a:pt x="66" y="196"/>
                  <a:pt x="66" y="197"/>
                  <a:pt x="66" y="197"/>
                </a:cubicBezTo>
                <a:close/>
                <a:moveTo>
                  <a:pt x="71" y="202"/>
                </a:moveTo>
                <a:cubicBezTo>
                  <a:pt x="71" y="202"/>
                  <a:pt x="72" y="202"/>
                  <a:pt x="72" y="201"/>
                </a:cubicBezTo>
                <a:cubicBezTo>
                  <a:pt x="71" y="201"/>
                  <a:pt x="70" y="202"/>
                  <a:pt x="71" y="202"/>
                </a:cubicBezTo>
                <a:close/>
                <a:moveTo>
                  <a:pt x="60" y="193"/>
                </a:moveTo>
                <a:cubicBezTo>
                  <a:pt x="61" y="193"/>
                  <a:pt x="61" y="193"/>
                  <a:pt x="61" y="194"/>
                </a:cubicBezTo>
                <a:cubicBezTo>
                  <a:pt x="61" y="193"/>
                  <a:pt x="61" y="194"/>
                  <a:pt x="61" y="194"/>
                </a:cubicBezTo>
                <a:cubicBezTo>
                  <a:pt x="61" y="194"/>
                  <a:pt x="62" y="193"/>
                  <a:pt x="61" y="193"/>
                </a:cubicBezTo>
                <a:cubicBezTo>
                  <a:pt x="61" y="193"/>
                  <a:pt x="61" y="193"/>
                  <a:pt x="60" y="193"/>
                </a:cubicBezTo>
                <a:close/>
                <a:moveTo>
                  <a:pt x="54" y="191"/>
                </a:moveTo>
                <a:cubicBezTo>
                  <a:pt x="55" y="191"/>
                  <a:pt x="56" y="190"/>
                  <a:pt x="56" y="189"/>
                </a:cubicBezTo>
                <a:cubicBezTo>
                  <a:pt x="55" y="189"/>
                  <a:pt x="54" y="190"/>
                  <a:pt x="54" y="191"/>
                </a:cubicBezTo>
                <a:close/>
                <a:moveTo>
                  <a:pt x="76" y="210"/>
                </a:moveTo>
                <a:cubicBezTo>
                  <a:pt x="77" y="209"/>
                  <a:pt x="78" y="209"/>
                  <a:pt x="78" y="208"/>
                </a:cubicBezTo>
                <a:cubicBezTo>
                  <a:pt x="78" y="208"/>
                  <a:pt x="76" y="210"/>
                  <a:pt x="76" y="210"/>
                </a:cubicBezTo>
                <a:close/>
                <a:moveTo>
                  <a:pt x="75" y="208"/>
                </a:moveTo>
                <a:cubicBezTo>
                  <a:pt x="75" y="208"/>
                  <a:pt x="75" y="208"/>
                  <a:pt x="75" y="208"/>
                </a:cubicBezTo>
                <a:cubicBezTo>
                  <a:pt x="75" y="208"/>
                  <a:pt x="75" y="207"/>
                  <a:pt x="75" y="207"/>
                </a:cubicBezTo>
                <a:cubicBezTo>
                  <a:pt x="75" y="207"/>
                  <a:pt x="75" y="207"/>
                  <a:pt x="75" y="207"/>
                </a:cubicBezTo>
                <a:cubicBezTo>
                  <a:pt x="74" y="207"/>
                  <a:pt x="75" y="207"/>
                  <a:pt x="74" y="208"/>
                </a:cubicBezTo>
                <a:lnTo>
                  <a:pt x="75" y="208"/>
                </a:lnTo>
                <a:close/>
                <a:moveTo>
                  <a:pt x="74" y="206"/>
                </a:moveTo>
                <a:cubicBezTo>
                  <a:pt x="73" y="207"/>
                  <a:pt x="73" y="205"/>
                  <a:pt x="73" y="206"/>
                </a:cubicBezTo>
                <a:cubicBezTo>
                  <a:pt x="73" y="206"/>
                  <a:pt x="72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4" y="207"/>
                  <a:pt x="74" y="206"/>
                  <a:pt x="74" y="206"/>
                </a:cubicBezTo>
                <a:close/>
                <a:moveTo>
                  <a:pt x="50" y="189"/>
                </a:moveTo>
                <a:cubicBezTo>
                  <a:pt x="51" y="190"/>
                  <a:pt x="52" y="189"/>
                  <a:pt x="51" y="188"/>
                </a:cubicBezTo>
                <a:cubicBezTo>
                  <a:pt x="51" y="189"/>
                  <a:pt x="51" y="189"/>
                  <a:pt x="50" y="189"/>
                </a:cubicBezTo>
                <a:close/>
                <a:moveTo>
                  <a:pt x="53" y="192"/>
                </a:moveTo>
                <a:cubicBezTo>
                  <a:pt x="54" y="193"/>
                  <a:pt x="54" y="192"/>
                  <a:pt x="54" y="192"/>
                </a:cubicBezTo>
                <a:cubicBezTo>
                  <a:pt x="54" y="192"/>
                  <a:pt x="54" y="191"/>
                  <a:pt x="54" y="191"/>
                </a:cubicBezTo>
                <a:lnTo>
                  <a:pt x="53" y="192"/>
                </a:lnTo>
                <a:close/>
                <a:moveTo>
                  <a:pt x="73" y="209"/>
                </a:moveTo>
                <a:cubicBezTo>
                  <a:pt x="73" y="209"/>
                  <a:pt x="73" y="210"/>
                  <a:pt x="73" y="209"/>
                </a:cubicBezTo>
                <a:cubicBezTo>
                  <a:pt x="73" y="209"/>
                  <a:pt x="74" y="210"/>
                  <a:pt x="74" y="209"/>
                </a:cubicBezTo>
                <a:cubicBezTo>
                  <a:pt x="74" y="209"/>
                  <a:pt x="74" y="208"/>
                  <a:pt x="74" y="208"/>
                </a:cubicBezTo>
                <a:cubicBezTo>
                  <a:pt x="73" y="209"/>
                  <a:pt x="73" y="208"/>
                  <a:pt x="73" y="208"/>
                </a:cubicBezTo>
                <a:cubicBezTo>
                  <a:pt x="73" y="208"/>
                  <a:pt x="73" y="209"/>
                  <a:pt x="73" y="209"/>
                </a:cubicBezTo>
                <a:cubicBezTo>
                  <a:pt x="73" y="209"/>
                  <a:pt x="73" y="209"/>
                  <a:pt x="73" y="209"/>
                </a:cubicBezTo>
                <a:close/>
                <a:moveTo>
                  <a:pt x="49" y="190"/>
                </a:moveTo>
                <a:cubicBezTo>
                  <a:pt x="49" y="190"/>
                  <a:pt x="50" y="189"/>
                  <a:pt x="50" y="189"/>
                </a:cubicBezTo>
                <a:cubicBezTo>
                  <a:pt x="50" y="189"/>
                  <a:pt x="49" y="190"/>
                  <a:pt x="49" y="190"/>
                </a:cubicBezTo>
                <a:close/>
                <a:moveTo>
                  <a:pt x="52" y="194"/>
                </a:moveTo>
                <a:cubicBezTo>
                  <a:pt x="53" y="194"/>
                  <a:pt x="54" y="193"/>
                  <a:pt x="53" y="192"/>
                </a:cubicBezTo>
                <a:cubicBezTo>
                  <a:pt x="53" y="193"/>
                  <a:pt x="52" y="193"/>
                  <a:pt x="52" y="194"/>
                </a:cubicBezTo>
                <a:close/>
                <a:moveTo>
                  <a:pt x="66" y="205"/>
                </a:moveTo>
                <a:cubicBezTo>
                  <a:pt x="66" y="205"/>
                  <a:pt x="67" y="204"/>
                  <a:pt x="67" y="204"/>
                </a:cubicBezTo>
                <a:cubicBezTo>
                  <a:pt x="67" y="204"/>
                  <a:pt x="67" y="204"/>
                  <a:pt x="67" y="204"/>
                </a:cubicBezTo>
                <a:cubicBezTo>
                  <a:pt x="67" y="204"/>
                  <a:pt x="66" y="205"/>
                  <a:pt x="66" y="205"/>
                </a:cubicBezTo>
                <a:close/>
                <a:moveTo>
                  <a:pt x="58" y="198"/>
                </a:moveTo>
                <a:cubicBezTo>
                  <a:pt x="57" y="198"/>
                  <a:pt x="57" y="197"/>
                  <a:pt x="57" y="197"/>
                </a:cubicBezTo>
                <a:cubicBezTo>
                  <a:pt x="56" y="197"/>
                  <a:pt x="57" y="198"/>
                  <a:pt x="58" y="198"/>
                </a:cubicBezTo>
                <a:close/>
                <a:moveTo>
                  <a:pt x="50" y="197"/>
                </a:moveTo>
                <a:cubicBezTo>
                  <a:pt x="51" y="196"/>
                  <a:pt x="51" y="195"/>
                  <a:pt x="52" y="195"/>
                </a:cubicBezTo>
                <a:cubicBezTo>
                  <a:pt x="52" y="194"/>
                  <a:pt x="52" y="194"/>
                  <a:pt x="52" y="194"/>
                </a:cubicBezTo>
                <a:cubicBezTo>
                  <a:pt x="51" y="195"/>
                  <a:pt x="50" y="196"/>
                  <a:pt x="50" y="197"/>
                </a:cubicBezTo>
                <a:close/>
                <a:moveTo>
                  <a:pt x="79" y="218"/>
                </a:moveTo>
                <a:cubicBezTo>
                  <a:pt x="80" y="219"/>
                  <a:pt x="80" y="218"/>
                  <a:pt x="80" y="218"/>
                </a:cubicBezTo>
                <a:cubicBezTo>
                  <a:pt x="80" y="218"/>
                  <a:pt x="80" y="218"/>
                  <a:pt x="79" y="218"/>
                </a:cubicBezTo>
                <a:close/>
                <a:moveTo>
                  <a:pt x="45" y="192"/>
                </a:moveTo>
                <a:cubicBezTo>
                  <a:pt x="45" y="192"/>
                  <a:pt x="47" y="192"/>
                  <a:pt x="46" y="191"/>
                </a:cubicBezTo>
                <a:cubicBezTo>
                  <a:pt x="46" y="192"/>
                  <a:pt x="45" y="191"/>
                  <a:pt x="45" y="192"/>
                </a:cubicBezTo>
                <a:close/>
                <a:moveTo>
                  <a:pt x="42" y="196"/>
                </a:moveTo>
                <a:cubicBezTo>
                  <a:pt x="44" y="196"/>
                  <a:pt x="43" y="194"/>
                  <a:pt x="45" y="193"/>
                </a:cubicBezTo>
                <a:cubicBezTo>
                  <a:pt x="44" y="193"/>
                  <a:pt x="44" y="193"/>
                  <a:pt x="44" y="193"/>
                </a:cubicBezTo>
                <a:cubicBezTo>
                  <a:pt x="44" y="194"/>
                  <a:pt x="42" y="194"/>
                  <a:pt x="42" y="196"/>
                </a:cubicBezTo>
                <a:close/>
                <a:moveTo>
                  <a:pt x="49" y="199"/>
                </a:moveTo>
                <a:cubicBezTo>
                  <a:pt x="49" y="198"/>
                  <a:pt x="50" y="198"/>
                  <a:pt x="49" y="197"/>
                </a:cubicBezTo>
                <a:cubicBezTo>
                  <a:pt x="49" y="198"/>
                  <a:pt x="48" y="198"/>
                  <a:pt x="49" y="199"/>
                </a:cubicBezTo>
                <a:close/>
                <a:moveTo>
                  <a:pt x="67" y="214"/>
                </a:moveTo>
                <a:cubicBezTo>
                  <a:pt x="67" y="214"/>
                  <a:pt x="66" y="215"/>
                  <a:pt x="67" y="215"/>
                </a:cubicBezTo>
                <a:cubicBezTo>
                  <a:pt x="66" y="214"/>
                  <a:pt x="68" y="214"/>
                  <a:pt x="68" y="214"/>
                </a:cubicBezTo>
                <a:cubicBezTo>
                  <a:pt x="67" y="214"/>
                  <a:pt x="67" y="214"/>
                  <a:pt x="67" y="214"/>
                </a:cubicBezTo>
                <a:close/>
                <a:moveTo>
                  <a:pt x="72" y="224"/>
                </a:moveTo>
                <a:cubicBezTo>
                  <a:pt x="72" y="224"/>
                  <a:pt x="74" y="222"/>
                  <a:pt x="74" y="221"/>
                </a:cubicBezTo>
                <a:cubicBezTo>
                  <a:pt x="74" y="222"/>
                  <a:pt x="72" y="224"/>
                  <a:pt x="72" y="224"/>
                </a:cubicBezTo>
                <a:close/>
                <a:moveTo>
                  <a:pt x="59" y="212"/>
                </a:moveTo>
                <a:cubicBezTo>
                  <a:pt x="59" y="211"/>
                  <a:pt x="61" y="211"/>
                  <a:pt x="61" y="211"/>
                </a:cubicBezTo>
                <a:cubicBezTo>
                  <a:pt x="60" y="211"/>
                  <a:pt x="59" y="211"/>
                  <a:pt x="59" y="212"/>
                </a:cubicBezTo>
                <a:close/>
                <a:moveTo>
                  <a:pt x="71" y="219"/>
                </a:moveTo>
                <a:cubicBezTo>
                  <a:pt x="71" y="219"/>
                  <a:pt x="70" y="219"/>
                  <a:pt x="70" y="218"/>
                </a:cubicBezTo>
                <a:cubicBezTo>
                  <a:pt x="70" y="219"/>
                  <a:pt x="70" y="219"/>
                  <a:pt x="71" y="219"/>
                </a:cubicBezTo>
                <a:close/>
                <a:moveTo>
                  <a:pt x="41" y="197"/>
                </a:moveTo>
                <a:cubicBezTo>
                  <a:pt x="42" y="198"/>
                  <a:pt x="42" y="197"/>
                  <a:pt x="42" y="196"/>
                </a:cubicBezTo>
                <a:cubicBezTo>
                  <a:pt x="42" y="196"/>
                  <a:pt x="42" y="196"/>
                  <a:pt x="41" y="197"/>
                </a:cubicBezTo>
                <a:close/>
                <a:moveTo>
                  <a:pt x="57" y="214"/>
                </a:moveTo>
                <a:cubicBezTo>
                  <a:pt x="57" y="214"/>
                  <a:pt x="57" y="214"/>
                  <a:pt x="57" y="215"/>
                </a:cubicBezTo>
                <a:cubicBezTo>
                  <a:pt x="58" y="214"/>
                  <a:pt x="58" y="214"/>
                  <a:pt x="58" y="213"/>
                </a:cubicBezTo>
                <a:cubicBezTo>
                  <a:pt x="58" y="214"/>
                  <a:pt x="58" y="214"/>
                  <a:pt x="57" y="214"/>
                </a:cubicBezTo>
                <a:close/>
                <a:moveTo>
                  <a:pt x="62" y="219"/>
                </a:moveTo>
                <a:cubicBezTo>
                  <a:pt x="62" y="218"/>
                  <a:pt x="62" y="218"/>
                  <a:pt x="62" y="218"/>
                </a:cubicBezTo>
                <a:cubicBezTo>
                  <a:pt x="61" y="218"/>
                  <a:pt x="61" y="218"/>
                  <a:pt x="62" y="219"/>
                </a:cubicBezTo>
                <a:close/>
                <a:moveTo>
                  <a:pt x="62" y="219"/>
                </a:moveTo>
                <a:cubicBezTo>
                  <a:pt x="62" y="220"/>
                  <a:pt x="63" y="220"/>
                  <a:pt x="63" y="220"/>
                </a:cubicBezTo>
                <a:cubicBezTo>
                  <a:pt x="63" y="220"/>
                  <a:pt x="62" y="219"/>
                  <a:pt x="62" y="219"/>
                </a:cubicBezTo>
                <a:close/>
                <a:moveTo>
                  <a:pt x="43" y="206"/>
                </a:moveTo>
                <a:cubicBezTo>
                  <a:pt x="43" y="205"/>
                  <a:pt x="44" y="204"/>
                  <a:pt x="43" y="204"/>
                </a:cubicBezTo>
                <a:cubicBezTo>
                  <a:pt x="42" y="205"/>
                  <a:pt x="42" y="205"/>
                  <a:pt x="43" y="206"/>
                </a:cubicBezTo>
                <a:close/>
                <a:moveTo>
                  <a:pt x="59" y="218"/>
                </a:moveTo>
                <a:cubicBezTo>
                  <a:pt x="60" y="219"/>
                  <a:pt x="60" y="218"/>
                  <a:pt x="60" y="217"/>
                </a:cubicBezTo>
                <a:cubicBezTo>
                  <a:pt x="60" y="217"/>
                  <a:pt x="59" y="218"/>
                  <a:pt x="59" y="218"/>
                </a:cubicBezTo>
                <a:close/>
                <a:moveTo>
                  <a:pt x="57" y="218"/>
                </a:moveTo>
                <a:cubicBezTo>
                  <a:pt x="57" y="217"/>
                  <a:pt x="58" y="217"/>
                  <a:pt x="58" y="216"/>
                </a:cubicBezTo>
                <a:cubicBezTo>
                  <a:pt x="58" y="216"/>
                  <a:pt x="57" y="217"/>
                  <a:pt x="57" y="218"/>
                </a:cubicBezTo>
                <a:close/>
                <a:moveTo>
                  <a:pt x="64" y="226"/>
                </a:moveTo>
                <a:cubicBezTo>
                  <a:pt x="65" y="225"/>
                  <a:pt x="66" y="225"/>
                  <a:pt x="66" y="224"/>
                </a:cubicBezTo>
                <a:cubicBezTo>
                  <a:pt x="66" y="224"/>
                  <a:pt x="66" y="224"/>
                  <a:pt x="66" y="223"/>
                </a:cubicBezTo>
                <a:cubicBezTo>
                  <a:pt x="65" y="224"/>
                  <a:pt x="64" y="225"/>
                  <a:pt x="64" y="226"/>
                </a:cubicBezTo>
                <a:close/>
                <a:moveTo>
                  <a:pt x="49" y="214"/>
                </a:moveTo>
                <a:cubicBezTo>
                  <a:pt x="50" y="214"/>
                  <a:pt x="51" y="213"/>
                  <a:pt x="51" y="212"/>
                </a:cubicBezTo>
                <a:cubicBezTo>
                  <a:pt x="50" y="213"/>
                  <a:pt x="49" y="213"/>
                  <a:pt x="49" y="214"/>
                </a:cubicBezTo>
                <a:close/>
                <a:moveTo>
                  <a:pt x="57" y="221"/>
                </a:moveTo>
                <a:cubicBezTo>
                  <a:pt x="58" y="220"/>
                  <a:pt x="59" y="220"/>
                  <a:pt x="59" y="219"/>
                </a:cubicBezTo>
                <a:cubicBezTo>
                  <a:pt x="58" y="219"/>
                  <a:pt x="56" y="220"/>
                  <a:pt x="57" y="221"/>
                </a:cubicBezTo>
                <a:close/>
                <a:moveTo>
                  <a:pt x="41" y="208"/>
                </a:moveTo>
                <a:cubicBezTo>
                  <a:pt x="41" y="208"/>
                  <a:pt x="41" y="207"/>
                  <a:pt x="41" y="207"/>
                </a:cubicBezTo>
                <a:cubicBezTo>
                  <a:pt x="41" y="207"/>
                  <a:pt x="40" y="208"/>
                  <a:pt x="41" y="208"/>
                </a:cubicBezTo>
                <a:close/>
                <a:moveTo>
                  <a:pt x="62" y="226"/>
                </a:moveTo>
                <a:cubicBezTo>
                  <a:pt x="62" y="225"/>
                  <a:pt x="63" y="225"/>
                  <a:pt x="62" y="224"/>
                </a:cubicBezTo>
                <a:cubicBezTo>
                  <a:pt x="62" y="225"/>
                  <a:pt x="61" y="225"/>
                  <a:pt x="62" y="226"/>
                </a:cubicBezTo>
                <a:close/>
                <a:moveTo>
                  <a:pt x="53" y="219"/>
                </a:moveTo>
                <a:cubicBezTo>
                  <a:pt x="54" y="219"/>
                  <a:pt x="54" y="220"/>
                  <a:pt x="55" y="219"/>
                </a:cubicBezTo>
                <a:cubicBezTo>
                  <a:pt x="54" y="219"/>
                  <a:pt x="54" y="218"/>
                  <a:pt x="53" y="219"/>
                </a:cubicBezTo>
                <a:close/>
                <a:moveTo>
                  <a:pt x="68" y="232"/>
                </a:moveTo>
                <a:cubicBezTo>
                  <a:pt x="69" y="233"/>
                  <a:pt x="70" y="231"/>
                  <a:pt x="69" y="231"/>
                </a:cubicBezTo>
                <a:cubicBezTo>
                  <a:pt x="69" y="231"/>
                  <a:pt x="69" y="232"/>
                  <a:pt x="68" y="232"/>
                </a:cubicBezTo>
                <a:close/>
                <a:moveTo>
                  <a:pt x="55" y="224"/>
                </a:moveTo>
                <a:cubicBezTo>
                  <a:pt x="56" y="223"/>
                  <a:pt x="57" y="222"/>
                  <a:pt x="57" y="221"/>
                </a:cubicBezTo>
                <a:cubicBezTo>
                  <a:pt x="56" y="222"/>
                  <a:pt x="56" y="223"/>
                  <a:pt x="55" y="224"/>
                </a:cubicBezTo>
                <a:close/>
                <a:moveTo>
                  <a:pt x="62" y="228"/>
                </a:moveTo>
                <a:cubicBezTo>
                  <a:pt x="63" y="228"/>
                  <a:pt x="63" y="228"/>
                  <a:pt x="64" y="228"/>
                </a:cubicBezTo>
                <a:cubicBezTo>
                  <a:pt x="63" y="227"/>
                  <a:pt x="64" y="227"/>
                  <a:pt x="63" y="226"/>
                </a:cubicBezTo>
                <a:cubicBezTo>
                  <a:pt x="63" y="227"/>
                  <a:pt x="62" y="228"/>
                  <a:pt x="62" y="228"/>
                </a:cubicBezTo>
                <a:close/>
                <a:moveTo>
                  <a:pt x="53" y="220"/>
                </a:moveTo>
                <a:cubicBezTo>
                  <a:pt x="53" y="220"/>
                  <a:pt x="54" y="219"/>
                  <a:pt x="53" y="219"/>
                </a:cubicBezTo>
                <a:cubicBezTo>
                  <a:pt x="52" y="221"/>
                  <a:pt x="51" y="222"/>
                  <a:pt x="53" y="220"/>
                </a:cubicBezTo>
                <a:close/>
                <a:moveTo>
                  <a:pt x="47" y="216"/>
                </a:moveTo>
                <a:cubicBezTo>
                  <a:pt x="47" y="217"/>
                  <a:pt x="46" y="217"/>
                  <a:pt x="47" y="218"/>
                </a:cubicBezTo>
                <a:cubicBezTo>
                  <a:pt x="47" y="217"/>
                  <a:pt x="47" y="217"/>
                  <a:pt x="48" y="217"/>
                </a:cubicBezTo>
                <a:cubicBezTo>
                  <a:pt x="48" y="216"/>
                  <a:pt x="48" y="216"/>
                  <a:pt x="47" y="216"/>
                </a:cubicBezTo>
                <a:close/>
                <a:moveTo>
                  <a:pt x="59" y="227"/>
                </a:moveTo>
                <a:cubicBezTo>
                  <a:pt x="59" y="227"/>
                  <a:pt x="59" y="227"/>
                  <a:pt x="59" y="228"/>
                </a:cubicBezTo>
                <a:cubicBezTo>
                  <a:pt x="59" y="227"/>
                  <a:pt x="60" y="227"/>
                  <a:pt x="60" y="226"/>
                </a:cubicBezTo>
                <a:cubicBezTo>
                  <a:pt x="60" y="227"/>
                  <a:pt x="59" y="226"/>
                  <a:pt x="59" y="227"/>
                </a:cubicBezTo>
                <a:close/>
                <a:moveTo>
                  <a:pt x="57" y="227"/>
                </a:moveTo>
                <a:cubicBezTo>
                  <a:pt x="57" y="227"/>
                  <a:pt x="59" y="226"/>
                  <a:pt x="58" y="226"/>
                </a:cubicBezTo>
                <a:cubicBezTo>
                  <a:pt x="58" y="226"/>
                  <a:pt x="57" y="226"/>
                  <a:pt x="57" y="227"/>
                </a:cubicBezTo>
                <a:close/>
                <a:moveTo>
                  <a:pt x="51" y="223"/>
                </a:moveTo>
                <a:cubicBezTo>
                  <a:pt x="51" y="222"/>
                  <a:pt x="52" y="222"/>
                  <a:pt x="52" y="221"/>
                </a:cubicBezTo>
                <a:cubicBezTo>
                  <a:pt x="51" y="222"/>
                  <a:pt x="51" y="222"/>
                  <a:pt x="51" y="223"/>
                </a:cubicBezTo>
                <a:close/>
                <a:moveTo>
                  <a:pt x="33" y="211"/>
                </a:moveTo>
                <a:cubicBezTo>
                  <a:pt x="34" y="212"/>
                  <a:pt x="35" y="210"/>
                  <a:pt x="35" y="209"/>
                </a:cubicBezTo>
                <a:cubicBezTo>
                  <a:pt x="34" y="210"/>
                  <a:pt x="34" y="211"/>
                  <a:pt x="33" y="211"/>
                </a:cubicBezTo>
                <a:close/>
                <a:moveTo>
                  <a:pt x="40" y="214"/>
                </a:moveTo>
                <a:cubicBezTo>
                  <a:pt x="40" y="214"/>
                  <a:pt x="41" y="214"/>
                  <a:pt x="40" y="213"/>
                </a:cubicBezTo>
                <a:cubicBezTo>
                  <a:pt x="40" y="213"/>
                  <a:pt x="39" y="214"/>
                  <a:pt x="40" y="214"/>
                </a:cubicBezTo>
                <a:close/>
                <a:moveTo>
                  <a:pt x="35" y="215"/>
                </a:moveTo>
                <a:cubicBezTo>
                  <a:pt x="36" y="215"/>
                  <a:pt x="37" y="214"/>
                  <a:pt x="37" y="213"/>
                </a:cubicBezTo>
                <a:cubicBezTo>
                  <a:pt x="36" y="214"/>
                  <a:pt x="35" y="215"/>
                  <a:pt x="35" y="215"/>
                </a:cubicBezTo>
                <a:close/>
                <a:moveTo>
                  <a:pt x="48" y="223"/>
                </a:moveTo>
                <a:cubicBezTo>
                  <a:pt x="49" y="223"/>
                  <a:pt x="49" y="222"/>
                  <a:pt x="48" y="222"/>
                </a:cubicBezTo>
                <a:cubicBezTo>
                  <a:pt x="48" y="222"/>
                  <a:pt x="48" y="223"/>
                  <a:pt x="48" y="223"/>
                </a:cubicBezTo>
                <a:close/>
                <a:moveTo>
                  <a:pt x="38" y="217"/>
                </a:moveTo>
                <a:cubicBezTo>
                  <a:pt x="38" y="217"/>
                  <a:pt x="39" y="216"/>
                  <a:pt x="39" y="215"/>
                </a:cubicBezTo>
                <a:lnTo>
                  <a:pt x="38" y="217"/>
                </a:lnTo>
                <a:close/>
                <a:moveTo>
                  <a:pt x="43" y="223"/>
                </a:moveTo>
                <a:cubicBezTo>
                  <a:pt x="43" y="223"/>
                  <a:pt x="45" y="222"/>
                  <a:pt x="44" y="221"/>
                </a:cubicBezTo>
                <a:cubicBezTo>
                  <a:pt x="44" y="222"/>
                  <a:pt x="42" y="223"/>
                  <a:pt x="43" y="223"/>
                </a:cubicBezTo>
                <a:close/>
                <a:moveTo>
                  <a:pt x="62" y="237"/>
                </a:moveTo>
                <a:cubicBezTo>
                  <a:pt x="62" y="237"/>
                  <a:pt x="63" y="236"/>
                  <a:pt x="62" y="235"/>
                </a:cubicBezTo>
                <a:cubicBezTo>
                  <a:pt x="62" y="236"/>
                  <a:pt x="61" y="237"/>
                  <a:pt x="62" y="237"/>
                </a:cubicBezTo>
                <a:close/>
                <a:moveTo>
                  <a:pt x="30" y="213"/>
                </a:moveTo>
                <a:cubicBezTo>
                  <a:pt x="30" y="212"/>
                  <a:pt x="31" y="212"/>
                  <a:pt x="30" y="211"/>
                </a:cubicBezTo>
                <a:cubicBezTo>
                  <a:pt x="30" y="212"/>
                  <a:pt x="29" y="212"/>
                  <a:pt x="30" y="213"/>
                </a:cubicBezTo>
                <a:close/>
                <a:moveTo>
                  <a:pt x="49" y="228"/>
                </a:moveTo>
                <a:cubicBezTo>
                  <a:pt x="50" y="229"/>
                  <a:pt x="50" y="227"/>
                  <a:pt x="50" y="228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0" y="228"/>
                  <a:pt x="49" y="227"/>
                  <a:pt x="49" y="228"/>
                </a:cubicBezTo>
                <a:close/>
                <a:moveTo>
                  <a:pt x="44" y="225"/>
                </a:moveTo>
                <a:cubicBezTo>
                  <a:pt x="44" y="224"/>
                  <a:pt x="45" y="224"/>
                  <a:pt x="44" y="223"/>
                </a:cubicBezTo>
                <a:cubicBezTo>
                  <a:pt x="44" y="224"/>
                  <a:pt x="44" y="224"/>
                  <a:pt x="44" y="225"/>
                </a:cubicBezTo>
                <a:close/>
                <a:moveTo>
                  <a:pt x="64" y="238"/>
                </a:moveTo>
                <a:cubicBezTo>
                  <a:pt x="63" y="238"/>
                  <a:pt x="63" y="239"/>
                  <a:pt x="63" y="239"/>
                </a:cubicBezTo>
                <a:cubicBezTo>
                  <a:pt x="64" y="239"/>
                  <a:pt x="64" y="239"/>
                  <a:pt x="64" y="238"/>
                </a:cubicBezTo>
                <a:close/>
                <a:moveTo>
                  <a:pt x="29" y="217"/>
                </a:moveTo>
                <a:cubicBezTo>
                  <a:pt x="30" y="217"/>
                  <a:pt x="30" y="216"/>
                  <a:pt x="30" y="215"/>
                </a:cubicBezTo>
                <a:cubicBezTo>
                  <a:pt x="30" y="216"/>
                  <a:pt x="29" y="216"/>
                  <a:pt x="29" y="217"/>
                </a:cubicBezTo>
                <a:close/>
                <a:moveTo>
                  <a:pt x="55" y="237"/>
                </a:moveTo>
                <a:cubicBezTo>
                  <a:pt x="55" y="236"/>
                  <a:pt x="56" y="236"/>
                  <a:pt x="56" y="235"/>
                </a:cubicBezTo>
                <a:cubicBezTo>
                  <a:pt x="55" y="235"/>
                  <a:pt x="55" y="236"/>
                  <a:pt x="55" y="237"/>
                </a:cubicBezTo>
                <a:close/>
                <a:moveTo>
                  <a:pt x="47" y="231"/>
                </a:moveTo>
                <a:cubicBezTo>
                  <a:pt x="47" y="232"/>
                  <a:pt x="48" y="230"/>
                  <a:pt x="48" y="230"/>
                </a:cubicBezTo>
                <a:cubicBezTo>
                  <a:pt x="47" y="230"/>
                  <a:pt x="47" y="230"/>
                  <a:pt x="47" y="231"/>
                </a:cubicBezTo>
                <a:close/>
                <a:moveTo>
                  <a:pt x="61" y="240"/>
                </a:moveTo>
                <a:cubicBezTo>
                  <a:pt x="62" y="240"/>
                  <a:pt x="61" y="240"/>
                  <a:pt x="61" y="239"/>
                </a:cubicBezTo>
                <a:cubicBezTo>
                  <a:pt x="61" y="240"/>
                  <a:pt x="61" y="240"/>
                  <a:pt x="61" y="240"/>
                </a:cubicBezTo>
                <a:close/>
                <a:moveTo>
                  <a:pt x="34" y="223"/>
                </a:moveTo>
                <a:cubicBezTo>
                  <a:pt x="34" y="222"/>
                  <a:pt x="35" y="222"/>
                  <a:pt x="35" y="221"/>
                </a:cubicBezTo>
                <a:cubicBezTo>
                  <a:pt x="34" y="221"/>
                  <a:pt x="33" y="222"/>
                  <a:pt x="34" y="223"/>
                </a:cubicBezTo>
                <a:close/>
                <a:moveTo>
                  <a:pt x="26" y="217"/>
                </a:moveTo>
                <a:cubicBezTo>
                  <a:pt x="26" y="217"/>
                  <a:pt x="27" y="217"/>
                  <a:pt x="26" y="216"/>
                </a:cubicBezTo>
                <a:cubicBezTo>
                  <a:pt x="26" y="217"/>
                  <a:pt x="26" y="217"/>
                  <a:pt x="26" y="217"/>
                </a:cubicBezTo>
                <a:close/>
                <a:moveTo>
                  <a:pt x="32" y="222"/>
                </a:moveTo>
                <a:cubicBezTo>
                  <a:pt x="33" y="222"/>
                  <a:pt x="33" y="222"/>
                  <a:pt x="33" y="221"/>
                </a:cubicBezTo>
                <a:cubicBezTo>
                  <a:pt x="32" y="221"/>
                  <a:pt x="32" y="222"/>
                  <a:pt x="32" y="222"/>
                </a:cubicBezTo>
                <a:close/>
                <a:moveTo>
                  <a:pt x="27" y="218"/>
                </a:moveTo>
                <a:cubicBezTo>
                  <a:pt x="27" y="219"/>
                  <a:pt x="26" y="220"/>
                  <a:pt x="27" y="221"/>
                </a:cubicBezTo>
                <a:cubicBezTo>
                  <a:pt x="27" y="220"/>
                  <a:pt x="27" y="220"/>
                  <a:pt x="28" y="219"/>
                </a:cubicBezTo>
                <a:cubicBezTo>
                  <a:pt x="28" y="219"/>
                  <a:pt x="28" y="218"/>
                  <a:pt x="27" y="218"/>
                </a:cubicBezTo>
                <a:close/>
                <a:moveTo>
                  <a:pt x="32" y="225"/>
                </a:moveTo>
                <a:cubicBezTo>
                  <a:pt x="33" y="224"/>
                  <a:pt x="33" y="224"/>
                  <a:pt x="34" y="223"/>
                </a:cubicBezTo>
                <a:cubicBezTo>
                  <a:pt x="33" y="223"/>
                  <a:pt x="33" y="223"/>
                  <a:pt x="33" y="223"/>
                </a:cubicBezTo>
                <a:cubicBezTo>
                  <a:pt x="32" y="223"/>
                  <a:pt x="32" y="224"/>
                  <a:pt x="32" y="225"/>
                </a:cubicBezTo>
                <a:close/>
                <a:moveTo>
                  <a:pt x="23" y="221"/>
                </a:moveTo>
                <a:cubicBezTo>
                  <a:pt x="24" y="220"/>
                  <a:pt x="25" y="219"/>
                  <a:pt x="26" y="217"/>
                </a:cubicBezTo>
                <a:cubicBezTo>
                  <a:pt x="25" y="219"/>
                  <a:pt x="24" y="220"/>
                  <a:pt x="23" y="221"/>
                </a:cubicBezTo>
                <a:close/>
                <a:moveTo>
                  <a:pt x="57" y="242"/>
                </a:moveTo>
                <a:cubicBezTo>
                  <a:pt x="58" y="243"/>
                  <a:pt x="58" y="243"/>
                  <a:pt x="58" y="243"/>
                </a:cubicBezTo>
                <a:cubicBezTo>
                  <a:pt x="59" y="243"/>
                  <a:pt x="58" y="242"/>
                  <a:pt x="58" y="241"/>
                </a:cubicBezTo>
                <a:lnTo>
                  <a:pt x="57" y="242"/>
                </a:lnTo>
                <a:close/>
                <a:moveTo>
                  <a:pt x="25" y="220"/>
                </a:moveTo>
                <a:cubicBezTo>
                  <a:pt x="26" y="220"/>
                  <a:pt x="26" y="219"/>
                  <a:pt x="26" y="218"/>
                </a:cubicBezTo>
                <a:cubicBezTo>
                  <a:pt x="26" y="218"/>
                  <a:pt x="25" y="219"/>
                  <a:pt x="25" y="220"/>
                </a:cubicBezTo>
                <a:close/>
                <a:moveTo>
                  <a:pt x="44" y="234"/>
                </a:moveTo>
                <a:cubicBezTo>
                  <a:pt x="44" y="234"/>
                  <a:pt x="45" y="233"/>
                  <a:pt x="45" y="233"/>
                </a:cubicBezTo>
                <a:cubicBezTo>
                  <a:pt x="44" y="233"/>
                  <a:pt x="43" y="233"/>
                  <a:pt x="44" y="234"/>
                </a:cubicBezTo>
                <a:close/>
                <a:moveTo>
                  <a:pt x="49" y="243"/>
                </a:moveTo>
                <a:cubicBezTo>
                  <a:pt x="50" y="242"/>
                  <a:pt x="52" y="240"/>
                  <a:pt x="52" y="239"/>
                </a:cubicBezTo>
                <a:cubicBezTo>
                  <a:pt x="51" y="241"/>
                  <a:pt x="49" y="241"/>
                  <a:pt x="49" y="243"/>
                </a:cubicBezTo>
                <a:close/>
                <a:moveTo>
                  <a:pt x="31" y="225"/>
                </a:moveTo>
                <a:cubicBezTo>
                  <a:pt x="32" y="225"/>
                  <a:pt x="31" y="226"/>
                  <a:pt x="31" y="226"/>
                </a:cubicBezTo>
                <a:cubicBezTo>
                  <a:pt x="32" y="226"/>
                  <a:pt x="32" y="226"/>
                  <a:pt x="32" y="225"/>
                </a:cubicBezTo>
                <a:cubicBezTo>
                  <a:pt x="32" y="225"/>
                  <a:pt x="32" y="225"/>
                  <a:pt x="31" y="225"/>
                </a:cubicBezTo>
                <a:close/>
                <a:moveTo>
                  <a:pt x="42" y="242"/>
                </a:moveTo>
                <a:cubicBezTo>
                  <a:pt x="43" y="241"/>
                  <a:pt x="45" y="239"/>
                  <a:pt x="46" y="236"/>
                </a:cubicBezTo>
                <a:cubicBezTo>
                  <a:pt x="46" y="237"/>
                  <a:pt x="46" y="238"/>
                  <a:pt x="47" y="237"/>
                </a:cubicBezTo>
                <a:cubicBezTo>
                  <a:pt x="47" y="236"/>
                  <a:pt x="46" y="236"/>
                  <a:pt x="46" y="235"/>
                </a:cubicBezTo>
                <a:cubicBezTo>
                  <a:pt x="45" y="238"/>
                  <a:pt x="42" y="240"/>
                  <a:pt x="42" y="242"/>
                </a:cubicBezTo>
                <a:close/>
                <a:moveTo>
                  <a:pt x="23" y="220"/>
                </a:moveTo>
                <a:cubicBezTo>
                  <a:pt x="23" y="220"/>
                  <a:pt x="22" y="220"/>
                  <a:pt x="23" y="219"/>
                </a:cubicBezTo>
                <a:cubicBezTo>
                  <a:pt x="22" y="219"/>
                  <a:pt x="22" y="219"/>
                  <a:pt x="22" y="219"/>
                </a:cubicBezTo>
                <a:cubicBezTo>
                  <a:pt x="22" y="219"/>
                  <a:pt x="22" y="221"/>
                  <a:pt x="23" y="220"/>
                </a:cubicBezTo>
                <a:close/>
                <a:moveTo>
                  <a:pt x="30" y="227"/>
                </a:moveTo>
                <a:cubicBezTo>
                  <a:pt x="30" y="227"/>
                  <a:pt x="30" y="227"/>
                  <a:pt x="31" y="228"/>
                </a:cubicBezTo>
                <a:cubicBezTo>
                  <a:pt x="31" y="227"/>
                  <a:pt x="31" y="227"/>
                  <a:pt x="31" y="227"/>
                </a:cubicBezTo>
                <a:cubicBezTo>
                  <a:pt x="31" y="226"/>
                  <a:pt x="32" y="227"/>
                  <a:pt x="31" y="226"/>
                </a:cubicBezTo>
                <a:cubicBezTo>
                  <a:pt x="31" y="226"/>
                  <a:pt x="31" y="226"/>
                  <a:pt x="30" y="227"/>
                </a:cubicBezTo>
                <a:close/>
                <a:moveTo>
                  <a:pt x="31" y="230"/>
                </a:moveTo>
                <a:cubicBezTo>
                  <a:pt x="32" y="229"/>
                  <a:pt x="33" y="228"/>
                  <a:pt x="33" y="228"/>
                </a:cubicBezTo>
                <a:cubicBezTo>
                  <a:pt x="32" y="228"/>
                  <a:pt x="31" y="229"/>
                  <a:pt x="31" y="230"/>
                </a:cubicBezTo>
                <a:close/>
                <a:moveTo>
                  <a:pt x="57" y="246"/>
                </a:moveTo>
                <a:cubicBezTo>
                  <a:pt x="57" y="246"/>
                  <a:pt x="57" y="246"/>
                  <a:pt x="58" y="246"/>
                </a:cubicBezTo>
                <a:cubicBezTo>
                  <a:pt x="57" y="246"/>
                  <a:pt x="57" y="246"/>
                  <a:pt x="57" y="246"/>
                </a:cubicBezTo>
                <a:close/>
                <a:moveTo>
                  <a:pt x="21" y="224"/>
                </a:moveTo>
                <a:cubicBezTo>
                  <a:pt x="22" y="224"/>
                  <a:pt x="22" y="223"/>
                  <a:pt x="22" y="223"/>
                </a:cubicBezTo>
                <a:cubicBezTo>
                  <a:pt x="22" y="223"/>
                  <a:pt x="21" y="224"/>
                  <a:pt x="21" y="224"/>
                </a:cubicBezTo>
                <a:close/>
                <a:moveTo>
                  <a:pt x="52" y="249"/>
                </a:moveTo>
                <a:cubicBezTo>
                  <a:pt x="52" y="249"/>
                  <a:pt x="52" y="249"/>
                  <a:pt x="51" y="249"/>
                </a:cubicBezTo>
                <a:cubicBezTo>
                  <a:pt x="52" y="250"/>
                  <a:pt x="52" y="249"/>
                  <a:pt x="52" y="250"/>
                </a:cubicBezTo>
                <a:cubicBezTo>
                  <a:pt x="53" y="248"/>
                  <a:pt x="53" y="248"/>
                  <a:pt x="54" y="247"/>
                </a:cubicBezTo>
                <a:cubicBezTo>
                  <a:pt x="53" y="247"/>
                  <a:pt x="52" y="248"/>
                  <a:pt x="52" y="249"/>
                </a:cubicBezTo>
                <a:close/>
                <a:moveTo>
                  <a:pt x="29" y="230"/>
                </a:moveTo>
                <a:cubicBezTo>
                  <a:pt x="29" y="230"/>
                  <a:pt x="29" y="230"/>
                  <a:pt x="29" y="230"/>
                </a:cubicBezTo>
                <a:cubicBezTo>
                  <a:pt x="29" y="229"/>
                  <a:pt x="28" y="230"/>
                  <a:pt x="29" y="230"/>
                </a:cubicBezTo>
                <a:close/>
                <a:moveTo>
                  <a:pt x="54" y="249"/>
                </a:moveTo>
                <a:cubicBezTo>
                  <a:pt x="55" y="250"/>
                  <a:pt x="54" y="251"/>
                  <a:pt x="55" y="250"/>
                </a:cubicBezTo>
                <a:cubicBezTo>
                  <a:pt x="56" y="251"/>
                  <a:pt x="55" y="250"/>
                  <a:pt x="55" y="251"/>
                </a:cubicBezTo>
                <a:cubicBezTo>
                  <a:pt x="56" y="251"/>
                  <a:pt x="56" y="250"/>
                  <a:pt x="56" y="250"/>
                </a:cubicBezTo>
                <a:cubicBezTo>
                  <a:pt x="55" y="249"/>
                  <a:pt x="55" y="249"/>
                  <a:pt x="54" y="249"/>
                </a:cubicBezTo>
                <a:close/>
                <a:moveTo>
                  <a:pt x="47" y="245"/>
                </a:moveTo>
                <a:cubicBezTo>
                  <a:pt x="47" y="246"/>
                  <a:pt x="46" y="246"/>
                  <a:pt x="47" y="246"/>
                </a:cubicBezTo>
                <a:cubicBezTo>
                  <a:pt x="48" y="245"/>
                  <a:pt x="48" y="245"/>
                  <a:pt x="48" y="245"/>
                </a:cubicBezTo>
                <a:cubicBezTo>
                  <a:pt x="48" y="245"/>
                  <a:pt x="47" y="245"/>
                  <a:pt x="47" y="245"/>
                </a:cubicBezTo>
                <a:close/>
                <a:moveTo>
                  <a:pt x="28" y="231"/>
                </a:moveTo>
                <a:cubicBezTo>
                  <a:pt x="28" y="232"/>
                  <a:pt x="27" y="232"/>
                  <a:pt x="27" y="233"/>
                </a:cubicBezTo>
                <a:cubicBezTo>
                  <a:pt x="28" y="232"/>
                  <a:pt x="28" y="231"/>
                  <a:pt x="28" y="231"/>
                </a:cubicBezTo>
                <a:cubicBezTo>
                  <a:pt x="28" y="231"/>
                  <a:pt x="28" y="230"/>
                  <a:pt x="28" y="231"/>
                </a:cubicBezTo>
                <a:close/>
                <a:moveTo>
                  <a:pt x="28" y="235"/>
                </a:moveTo>
                <a:cubicBezTo>
                  <a:pt x="29" y="234"/>
                  <a:pt x="30" y="233"/>
                  <a:pt x="29" y="232"/>
                </a:cubicBezTo>
                <a:cubicBezTo>
                  <a:pt x="29" y="233"/>
                  <a:pt x="29" y="234"/>
                  <a:pt x="28" y="235"/>
                </a:cubicBezTo>
                <a:close/>
                <a:moveTo>
                  <a:pt x="48" y="247"/>
                </a:moveTo>
                <a:cubicBezTo>
                  <a:pt x="48" y="248"/>
                  <a:pt x="49" y="248"/>
                  <a:pt x="49" y="248"/>
                </a:cubicBezTo>
                <a:cubicBezTo>
                  <a:pt x="49" y="248"/>
                  <a:pt x="49" y="248"/>
                  <a:pt x="49" y="248"/>
                </a:cubicBezTo>
                <a:cubicBezTo>
                  <a:pt x="49" y="248"/>
                  <a:pt x="49" y="247"/>
                  <a:pt x="48" y="247"/>
                </a:cubicBezTo>
                <a:close/>
                <a:moveTo>
                  <a:pt x="17" y="226"/>
                </a:moveTo>
                <a:cubicBezTo>
                  <a:pt x="17" y="226"/>
                  <a:pt x="17" y="227"/>
                  <a:pt x="17" y="227"/>
                </a:cubicBezTo>
                <a:cubicBezTo>
                  <a:pt x="17" y="226"/>
                  <a:pt x="18" y="227"/>
                  <a:pt x="18" y="227"/>
                </a:cubicBezTo>
                <a:cubicBezTo>
                  <a:pt x="18" y="226"/>
                  <a:pt x="17" y="226"/>
                  <a:pt x="17" y="225"/>
                </a:cubicBezTo>
                <a:lnTo>
                  <a:pt x="17" y="226"/>
                </a:lnTo>
                <a:close/>
                <a:moveTo>
                  <a:pt x="41" y="244"/>
                </a:moveTo>
                <a:cubicBezTo>
                  <a:pt x="41" y="244"/>
                  <a:pt x="42" y="243"/>
                  <a:pt x="41" y="243"/>
                </a:cubicBezTo>
                <a:cubicBezTo>
                  <a:pt x="40" y="245"/>
                  <a:pt x="39" y="245"/>
                  <a:pt x="41" y="244"/>
                </a:cubicBezTo>
                <a:close/>
                <a:moveTo>
                  <a:pt x="50" y="252"/>
                </a:moveTo>
                <a:cubicBezTo>
                  <a:pt x="50" y="251"/>
                  <a:pt x="51" y="252"/>
                  <a:pt x="51" y="252"/>
                </a:cubicBezTo>
                <a:cubicBezTo>
                  <a:pt x="50" y="252"/>
                  <a:pt x="51" y="251"/>
                  <a:pt x="51" y="250"/>
                </a:cubicBezTo>
                <a:cubicBezTo>
                  <a:pt x="51" y="252"/>
                  <a:pt x="49" y="251"/>
                  <a:pt x="50" y="252"/>
                </a:cubicBezTo>
                <a:close/>
                <a:moveTo>
                  <a:pt x="42" y="245"/>
                </a:moveTo>
                <a:cubicBezTo>
                  <a:pt x="42" y="246"/>
                  <a:pt x="42" y="246"/>
                  <a:pt x="43" y="246"/>
                </a:cubicBezTo>
                <a:cubicBezTo>
                  <a:pt x="43" y="245"/>
                  <a:pt x="42" y="245"/>
                  <a:pt x="42" y="245"/>
                </a:cubicBezTo>
                <a:close/>
                <a:moveTo>
                  <a:pt x="53" y="255"/>
                </a:moveTo>
                <a:cubicBezTo>
                  <a:pt x="53" y="254"/>
                  <a:pt x="54" y="254"/>
                  <a:pt x="53" y="253"/>
                </a:cubicBezTo>
                <a:cubicBezTo>
                  <a:pt x="53" y="254"/>
                  <a:pt x="52" y="254"/>
                  <a:pt x="53" y="255"/>
                </a:cubicBezTo>
                <a:close/>
                <a:moveTo>
                  <a:pt x="40" y="247"/>
                </a:moveTo>
                <a:cubicBezTo>
                  <a:pt x="41" y="247"/>
                  <a:pt x="42" y="246"/>
                  <a:pt x="41" y="246"/>
                </a:cubicBezTo>
                <a:lnTo>
                  <a:pt x="40" y="247"/>
                </a:lnTo>
                <a:close/>
                <a:moveTo>
                  <a:pt x="43" y="248"/>
                </a:moveTo>
                <a:cubicBezTo>
                  <a:pt x="44" y="249"/>
                  <a:pt x="44" y="249"/>
                  <a:pt x="44" y="249"/>
                </a:cubicBezTo>
                <a:cubicBezTo>
                  <a:pt x="44" y="248"/>
                  <a:pt x="43" y="248"/>
                  <a:pt x="43" y="248"/>
                </a:cubicBezTo>
                <a:close/>
                <a:moveTo>
                  <a:pt x="15" y="234"/>
                </a:moveTo>
                <a:cubicBezTo>
                  <a:pt x="15" y="233"/>
                  <a:pt x="15" y="233"/>
                  <a:pt x="15" y="232"/>
                </a:cubicBezTo>
                <a:cubicBezTo>
                  <a:pt x="15" y="233"/>
                  <a:pt x="15" y="233"/>
                  <a:pt x="15" y="233"/>
                </a:cubicBezTo>
                <a:cubicBezTo>
                  <a:pt x="16" y="234"/>
                  <a:pt x="16" y="234"/>
                  <a:pt x="16" y="234"/>
                </a:cubicBezTo>
                <a:cubicBezTo>
                  <a:pt x="17" y="232"/>
                  <a:pt x="17" y="233"/>
                  <a:pt x="18" y="231"/>
                </a:cubicBezTo>
                <a:cubicBezTo>
                  <a:pt x="18" y="231"/>
                  <a:pt x="17" y="231"/>
                  <a:pt x="17" y="230"/>
                </a:cubicBezTo>
                <a:cubicBezTo>
                  <a:pt x="17" y="230"/>
                  <a:pt x="17" y="231"/>
                  <a:pt x="17" y="230"/>
                </a:cubicBezTo>
                <a:cubicBezTo>
                  <a:pt x="17" y="232"/>
                  <a:pt x="16" y="232"/>
                  <a:pt x="15" y="234"/>
                </a:cubicBezTo>
                <a:close/>
                <a:moveTo>
                  <a:pt x="51" y="255"/>
                </a:moveTo>
                <a:cubicBezTo>
                  <a:pt x="51" y="256"/>
                  <a:pt x="50" y="257"/>
                  <a:pt x="51" y="257"/>
                </a:cubicBezTo>
                <a:cubicBezTo>
                  <a:pt x="51" y="256"/>
                  <a:pt x="52" y="256"/>
                  <a:pt x="52" y="255"/>
                </a:cubicBezTo>
                <a:cubicBezTo>
                  <a:pt x="51" y="255"/>
                  <a:pt x="51" y="255"/>
                  <a:pt x="51" y="255"/>
                </a:cubicBezTo>
                <a:close/>
                <a:moveTo>
                  <a:pt x="20" y="235"/>
                </a:moveTo>
                <a:cubicBezTo>
                  <a:pt x="19" y="235"/>
                  <a:pt x="19" y="236"/>
                  <a:pt x="19" y="236"/>
                </a:cubicBezTo>
                <a:cubicBezTo>
                  <a:pt x="20" y="236"/>
                  <a:pt x="20" y="236"/>
                  <a:pt x="20" y="236"/>
                </a:cubicBezTo>
                <a:cubicBezTo>
                  <a:pt x="20" y="236"/>
                  <a:pt x="21" y="235"/>
                  <a:pt x="21" y="235"/>
                </a:cubicBezTo>
                <a:cubicBezTo>
                  <a:pt x="20" y="235"/>
                  <a:pt x="20" y="236"/>
                  <a:pt x="20" y="235"/>
                </a:cubicBezTo>
                <a:close/>
                <a:moveTo>
                  <a:pt x="21" y="238"/>
                </a:moveTo>
                <a:cubicBezTo>
                  <a:pt x="21" y="237"/>
                  <a:pt x="22" y="237"/>
                  <a:pt x="22" y="236"/>
                </a:cubicBezTo>
                <a:cubicBezTo>
                  <a:pt x="21" y="236"/>
                  <a:pt x="21" y="237"/>
                  <a:pt x="21" y="238"/>
                </a:cubicBezTo>
                <a:close/>
                <a:moveTo>
                  <a:pt x="17" y="236"/>
                </a:moveTo>
                <a:cubicBezTo>
                  <a:pt x="18" y="236"/>
                  <a:pt x="18" y="235"/>
                  <a:pt x="18" y="235"/>
                </a:cubicBezTo>
                <a:cubicBezTo>
                  <a:pt x="18" y="235"/>
                  <a:pt x="17" y="236"/>
                  <a:pt x="17" y="236"/>
                </a:cubicBezTo>
                <a:close/>
                <a:moveTo>
                  <a:pt x="23" y="243"/>
                </a:moveTo>
                <a:cubicBezTo>
                  <a:pt x="24" y="243"/>
                  <a:pt x="25" y="241"/>
                  <a:pt x="26" y="240"/>
                </a:cubicBezTo>
                <a:cubicBezTo>
                  <a:pt x="25" y="240"/>
                  <a:pt x="25" y="240"/>
                  <a:pt x="25" y="240"/>
                </a:cubicBezTo>
                <a:cubicBezTo>
                  <a:pt x="24" y="241"/>
                  <a:pt x="24" y="242"/>
                  <a:pt x="23" y="243"/>
                </a:cubicBezTo>
                <a:close/>
                <a:moveTo>
                  <a:pt x="17" y="238"/>
                </a:moveTo>
                <a:cubicBezTo>
                  <a:pt x="17" y="237"/>
                  <a:pt x="18" y="237"/>
                  <a:pt x="18" y="236"/>
                </a:cubicBezTo>
                <a:cubicBezTo>
                  <a:pt x="17" y="236"/>
                  <a:pt x="16" y="237"/>
                  <a:pt x="17" y="238"/>
                </a:cubicBezTo>
                <a:close/>
                <a:moveTo>
                  <a:pt x="35" y="251"/>
                </a:moveTo>
                <a:cubicBezTo>
                  <a:pt x="35" y="252"/>
                  <a:pt x="36" y="250"/>
                  <a:pt x="36" y="250"/>
                </a:cubicBezTo>
                <a:lnTo>
                  <a:pt x="35" y="251"/>
                </a:lnTo>
                <a:close/>
                <a:moveTo>
                  <a:pt x="38" y="255"/>
                </a:moveTo>
                <a:cubicBezTo>
                  <a:pt x="39" y="254"/>
                  <a:pt x="39" y="254"/>
                  <a:pt x="39" y="254"/>
                </a:cubicBezTo>
                <a:cubicBezTo>
                  <a:pt x="39" y="254"/>
                  <a:pt x="38" y="254"/>
                  <a:pt x="38" y="255"/>
                </a:cubicBezTo>
                <a:close/>
                <a:moveTo>
                  <a:pt x="12" y="236"/>
                </a:moveTo>
                <a:cubicBezTo>
                  <a:pt x="12" y="236"/>
                  <a:pt x="12" y="237"/>
                  <a:pt x="12" y="237"/>
                </a:cubicBezTo>
                <a:cubicBezTo>
                  <a:pt x="13" y="236"/>
                  <a:pt x="13" y="236"/>
                  <a:pt x="13" y="236"/>
                </a:cubicBezTo>
                <a:cubicBezTo>
                  <a:pt x="13" y="236"/>
                  <a:pt x="12" y="236"/>
                  <a:pt x="12" y="236"/>
                </a:cubicBezTo>
                <a:close/>
                <a:moveTo>
                  <a:pt x="38" y="253"/>
                </a:moveTo>
                <a:cubicBezTo>
                  <a:pt x="36" y="252"/>
                  <a:pt x="36" y="252"/>
                  <a:pt x="36" y="252"/>
                </a:cubicBezTo>
                <a:cubicBezTo>
                  <a:pt x="36" y="253"/>
                  <a:pt x="37" y="254"/>
                  <a:pt x="38" y="253"/>
                </a:cubicBezTo>
                <a:close/>
                <a:moveTo>
                  <a:pt x="12" y="239"/>
                </a:moveTo>
                <a:cubicBezTo>
                  <a:pt x="13" y="238"/>
                  <a:pt x="13" y="238"/>
                  <a:pt x="13" y="238"/>
                </a:cubicBezTo>
                <a:cubicBezTo>
                  <a:pt x="13" y="238"/>
                  <a:pt x="13" y="239"/>
                  <a:pt x="13" y="238"/>
                </a:cubicBezTo>
                <a:cubicBezTo>
                  <a:pt x="12" y="238"/>
                  <a:pt x="14" y="237"/>
                  <a:pt x="13" y="237"/>
                </a:cubicBezTo>
                <a:cubicBezTo>
                  <a:pt x="12" y="237"/>
                  <a:pt x="12" y="238"/>
                  <a:pt x="12" y="239"/>
                </a:cubicBezTo>
                <a:close/>
                <a:moveTo>
                  <a:pt x="35" y="256"/>
                </a:moveTo>
                <a:cubicBezTo>
                  <a:pt x="35" y="256"/>
                  <a:pt x="36" y="257"/>
                  <a:pt x="36" y="257"/>
                </a:cubicBezTo>
                <a:cubicBezTo>
                  <a:pt x="36" y="256"/>
                  <a:pt x="35" y="256"/>
                  <a:pt x="35" y="256"/>
                </a:cubicBezTo>
                <a:close/>
                <a:moveTo>
                  <a:pt x="27" y="255"/>
                </a:moveTo>
                <a:cubicBezTo>
                  <a:pt x="27" y="255"/>
                  <a:pt x="28" y="254"/>
                  <a:pt x="28" y="254"/>
                </a:cubicBezTo>
                <a:cubicBezTo>
                  <a:pt x="27" y="254"/>
                  <a:pt x="27" y="254"/>
                  <a:pt x="27" y="255"/>
                </a:cubicBezTo>
                <a:close/>
                <a:moveTo>
                  <a:pt x="8" y="244"/>
                </a:moveTo>
                <a:cubicBezTo>
                  <a:pt x="7" y="244"/>
                  <a:pt x="7" y="244"/>
                  <a:pt x="7" y="244"/>
                </a:cubicBezTo>
                <a:cubicBezTo>
                  <a:pt x="8" y="245"/>
                  <a:pt x="8" y="243"/>
                  <a:pt x="7" y="243"/>
                </a:cubicBezTo>
                <a:cubicBezTo>
                  <a:pt x="7" y="243"/>
                  <a:pt x="7" y="243"/>
                  <a:pt x="8" y="244"/>
                </a:cubicBezTo>
                <a:close/>
                <a:moveTo>
                  <a:pt x="6" y="247"/>
                </a:moveTo>
                <a:cubicBezTo>
                  <a:pt x="7" y="248"/>
                  <a:pt x="9" y="244"/>
                  <a:pt x="8" y="244"/>
                </a:cubicBezTo>
                <a:cubicBezTo>
                  <a:pt x="7" y="245"/>
                  <a:pt x="7" y="246"/>
                  <a:pt x="6" y="247"/>
                </a:cubicBezTo>
                <a:close/>
                <a:moveTo>
                  <a:pt x="11" y="248"/>
                </a:moveTo>
                <a:cubicBezTo>
                  <a:pt x="12" y="248"/>
                  <a:pt x="12" y="247"/>
                  <a:pt x="11" y="247"/>
                </a:cubicBezTo>
                <a:cubicBezTo>
                  <a:pt x="11" y="247"/>
                  <a:pt x="11" y="248"/>
                  <a:pt x="11" y="248"/>
                </a:cubicBezTo>
                <a:close/>
                <a:moveTo>
                  <a:pt x="32" y="264"/>
                </a:moveTo>
                <a:cubicBezTo>
                  <a:pt x="33" y="264"/>
                  <a:pt x="33" y="264"/>
                  <a:pt x="33" y="263"/>
                </a:cubicBezTo>
                <a:cubicBezTo>
                  <a:pt x="32" y="263"/>
                  <a:pt x="32" y="263"/>
                  <a:pt x="32" y="264"/>
                </a:cubicBezTo>
                <a:close/>
                <a:moveTo>
                  <a:pt x="10" y="250"/>
                </a:moveTo>
                <a:cubicBezTo>
                  <a:pt x="10" y="250"/>
                  <a:pt x="11" y="249"/>
                  <a:pt x="11" y="249"/>
                </a:cubicBezTo>
                <a:cubicBezTo>
                  <a:pt x="10" y="248"/>
                  <a:pt x="10" y="248"/>
                  <a:pt x="10" y="248"/>
                </a:cubicBezTo>
                <a:cubicBezTo>
                  <a:pt x="10" y="249"/>
                  <a:pt x="9" y="249"/>
                  <a:pt x="10" y="250"/>
                </a:cubicBezTo>
                <a:close/>
                <a:moveTo>
                  <a:pt x="7" y="252"/>
                </a:moveTo>
                <a:cubicBezTo>
                  <a:pt x="7" y="251"/>
                  <a:pt x="9" y="249"/>
                  <a:pt x="8" y="248"/>
                </a:cubicBezTo>
                <a:cubicBezTo>
                  <a:pt x="8" y="249"/>
                  <a:pt x="6" y="251"/>
                  <a:pt x="7" y="252"/>
                </a:cubicBezTo>
                <a:close/>
                <a:moveTo>
                  <a:pt x="3" y="247"/>
                </a:moveTo>
                <a:cubicBezTo>
                  <a:pt x="3" y="246"/>
                  <a:pt x="4" y="246"/>
                  <a:pt x="4" y="246"/>
                </a:cubicBezTo>
                <a:cubicBezTo>
                  <a:pt x="3" y="246"/>
                  <a:pt x="2" y="246"/>
                  <a:pt x="3" y="247"/>
                </a:cubicBezTo>
                <a:close/>
                <a:moveTo>
                  <a:pt x="0" y="255"/>
                </a:moveTo>
                <a:cubicBezTo>
                  <a:pt x="1" y="253"/>
                  <a:pt x="3" y="253"/>
                  <a:pt x="2" y="251"/>
                </a:cubicBezTo>
                <a:cubicBezTo>
                  <a:pt x="2" y="253"/>
                  <a:pt x="0" y="254"/>
                  <a:pt x="0" y="255"/>
                </a:cubicBezTo>
                <a:close/>
                <a:moveTo>
                  <a:pt x="30" y="271"/>
                </a:moveTo>
                <a:cubicBezTo>
                  <a:pt x="30" y="271"/>
                  <a:pt x="31" y="271"/>
                  <a:pt x="31" y="271"/>
                </a:cubicBezTo>
                <a:cubicBezTo>
                  <a:pt x="31" y="271"/>
                  <a:pt x="30" y="270"/>
                  <a:pt x="30" y="271"/>
                </a:cubicBezTo>
                <a:close/>
                <a:moveTo>
                  <a:pt x="34" y="274"/>
                </a:moveTo>
                <a:cubicBezTo>
                  <a:pt x="35" y="275"/>
                  <a:pt x="34" y="275"/>
                  <a:pt x="35" y="275"/>
                </a:cubicBezTo>
                <a:cubicBezTo>
                  <a:pt x="36" y="275"/>
                  <a:pt x="35" y="275"/>
                  <a:pt x="35" y="274"/>
                </a:cubicBezTo>
                <a:cubicBezTo>
                  <a:pt x="35" y="274"/>
                  <a:pt x="35" y="274"/>
                  <a:pt x="34" y="274"/>
                </a:cubicBezTo>
                <a:close/>
                <a:moveTo>
                  <a:pt x="3" y="254"/>
                </a:moveTo>
                <a:cubicBezTo>
                  <a:pt x="2" y="254"/>
                  <a:pt x="2" y="254"/>
                  <a:pt x="2" y="253"/>
                </a:cubicBezTo>
                <a:cubicBezTo>
                  <a:pt x="2" y="254"/>
                  <a:pt x="2" y="254"/>
                  <a:pt x="2" y="254"/>
                </a:cubicBezTo>
                <a:cubicBezTo>
                  <a:pt x="2" y="254"/>
                  <a:pt x="4" y="254"/>
                  <a:pt x="3" y="253"/>
                </a:cubicBezTo>
                <a:lnTo>
                  <a:pt x="3" y="254"/>
                </a:lnTo>
                <a:close/>
                <a:moveTo>
                  <a:pt x="27" y="271"/>
                </a:moveTo>
                <a:cubicBezTo>
                  <a:pt x="27" y="271"/>
                  <a:pt x="27" y="272"/>
                  <a:pt x="28" y="271"/>
                </a:cubicBezTo>
                <a:cubicBezTo>
                  <a:pt x="28" y="271"/>
                  <a:pt x="27" y="270"/>
                  <a:pt x="27" y="271"/>
                </a:cubicBezTo>
                <a:close/>
                <a:moveTo>
                  <a:pt x="31" y="278"/>
                </a:moveTo>
                <a:cubicBezTo>
                  <a:pt x="31" y="277"/>
                  <a:pt x="30" y="277"/>
                  <a:pt x="30" y="276"/>
                </a:cubicBezTo>
                <a:cubicBezTo>
                  <a:pt x="30" y="277"/>
                  <a:pt x="31" y="277"/>
                  <a:pt x="31" y="278"/>
                </a:cubicBezTo>
                <a:close/>
                <a:moveTo>
                  <a:pt x="31" y="281"/>
                </a:moveTo>
                <a:cubicBezTo>
                  <a:pt x="32" y="281"/>
                  <a:pt x="32" y="281"/>
                  <a:pt x="32" y="281"/>
                </a:cubicBezTo>
                <a:cubicBezTo>
                  <a:pt x="32" y="280"/>
                  <a:pt x="32" y="280"/>
                  <a:pt x="33" y="280"/>
                </a:cubicBezTo>
                <a:cubicBezTo>
                  <a:pt x="33" y="280"/>
                  <a:pt x="33" y="279"/>
                  <a:pt x="33" y="279"/>
                </a:cubicBezTo>
                <a:cubicBezTo>
                  <a:pt x="32" y="280"/>
                  <a:pt x="32" y="281"/>
                  <a:pt x="31" y="281"/>
                </a:cubicBezTo>
                <a:close/>
                <a:moveTo>
                  <a:pt x="782" y="255"/>
                </a:moveTo>
                <a:cubicBezTo>
                  <a:pt x="781" y="255"/>
                  <a:pt x="779" y="253"/>
                  <a:pt x="779" y="256"/>
                </a:cubicBezTo>
                <a:cubicBezTo>
                  <a:pt x="781" y="259"/>
                  <a:pt x="782" y="261"/>
                  <a:pt x="783" y="263"/>
                </a:cubicBezTo>
                <a:cubicBezTo>
                  <a:pt x="781" y="263"/>
                  <a:pt x="777" y="259"/>
                  <a:pt x="774" y="258"/>
                </a:cubicBezTo>
                <a:cubicBezTo>
                  <a:pt x="775" y="259"/>
                  <a:pt x="777" y="263"/>
                  <a:pt x="778" y="264"/>
                </a:cubicBezTo>
                <a:cubicBezTo>
                  <a:pt x="779" y="267"/>
                  <a:pt x="779" y="268"/>
                  <a:pt x="780" y="271"/>
                </a:cubicBezTo>
                <a:cubicBezTo>
                  <a:pt x="779" y="271"/>
                  <a:pt x="779" y="271"/>
                  <a:pt x="779" y="272"/>
                </a:cubicBezTo>
                <a:cubicBezTo>
                  <a:pt x="776" y="269"/>
                  <a:pt x="775" y="267"/>
                  <a:pt x="772" y="264"/>
                </a:cubicBezTo>
                <a:cubicBezTo>
                  <a:pt x="771" y="262"/>
                  <a:pt x="772" y="262"/>
                  <a:pt x="771" y="260"/>
                </a:cubicBezTo>
                <a:cubicBezTo>
                  <a:pt x="770" y="259"/>
                  <a:pt x="767" y="254"/>
                  <a:pt x="766" y="252"/>
                </a:cubicBezTo>
                <a:cubicBezTo>
                  <a:pt x="766" y="254"/>
                  <a:pt x="763" y="249"/>
                  <a:pt x="762" y="246"/>
                </a:cubicBezTo>
                <a:cubicBezTo>
                  <a:pt x="763" y="250"/>
                  <a:pt x="761" y="249"/>
                  <a:pt x="764" y="255"/>
                </a:cubicBezTo>
                <a:cubicBezTo>
                  <a:pt x="763" y="252"/>
                  <a:pt x="764" y="254"/>
                  <a:pt x="765" y="256"/>
                </a:cubicBezTo>
                <a:cubicBezTo>
                  <a:pt x="765" y="257"/>
                  <a:pt x="765" y="255"/>
                  <a:pt x="765" y="255"/>
                </a:cubicBezTo>
                <a:cubicBezTo>
                  <a:pt x="766" y="256"/>
                  <a:pt x="766" y="257"/>
                  <a:pt x="766" y="258"/>
                </a:cubicBezTo>
                <a:cubicBezTo>
                  <a:pt x="767" y="259"/>
                  <a:pt x="768" y="260"/>
                  <a:pt x="770" y="260"/>
                </a:cubicBezTo>
                <a:cubicBezTo>
                  <a:pt x="770" y="262"/>
                  <a:pt x="771" y="264"/>
                  <a:pt x="772" y="267"/>
                </a:cubicBezTo>
                <a:cubicBezTo>
                  <a:pt x="771" y="267"/>
                  <a:pt x="768" y="261"/>
                  <a:pt x="769" y="264"/>
                </a:cubicBezTo>
                <a:cubicBezTo>
                  <a:pt x="768" y="262"/>
                  <a:pt x="766" y="259"/>
                  <a:pt x="766" y="260"/>
                </a:cubicBezTo>
                <a:cubicBezTo>
                  <a:pt x="766" y="259"/>
                  <a:pt x="764" y="256"/>
                  <a:pt x="764" y="255"/>
                </a:cubicBezTo>
                <a:cubicBezTo>
                  <a:pt x="763" y="254"/>
                  <a:pt x="762" y="254"/>
                  <a:pt x="761" y="253"/>
                </a:cubicBezTo>
                <a:cubicBezTo>
                  <a:pt x="761" y="252"/>
                  <a:pt x="762" y="253"/>
                  <a:pt x="762" y="252"/>
                </a:cubicBezTo>
                <a:cubicBezTo>
                  <a:pt x="762" y="251"/>
                  <a:pt x="761" y="249"/>
                  <a:pt x="761" y="249"/>
                </a:cubicBezTo>
                <a:cubicBezTo>
                  <a:pt x="757" y="243"/>
                  <a:pt x="757" y="246"/>
                  <a:pt x="752" y="241"/>
                </a:cubicBezTo>
                <a:cubicBezTo>
                  <a:pt x="752" y="241"/>
                  <a:pt x="755" y="244"/>
                  <a:pt x="755" y="245"/>
                </a:cubicBezTo>
                <a:cubicBezTo>
                  <a:pt x="755" y="246"/>
                  <a:pt x="755" y="245"/>
                  <a:pt x="755" y="244"/>
                </a:cubicBezTo>
                <a:cubicBezTo>
                  <a:pt x="755" y="244"/>
                  <a:pt x="755" y="246"/>
                  <a:pt x="756" y="246"/>
                </a:cubicBezTo>
                <a:cubicBezTo>
                  <a:pt x="757" y="248"/>
                  <a:pt x="756" y="247"/>
                  <a:pt x="757" y="249"/>
                </a:cubicBezTo>
                <a:cubicBezTo>
                  <a:pt x="755" y="246"/>
                  <a:pt x="755" y="248"/>
                  <a:pt x="753" y="248"/>
                </a:cubicBezTo>
                <a:cubicBezTo>
                  <a:pt x="752" y="245"/>
                  <a:pt x="751" y="244"/>
                  <a:pt x="750" y="245"/>
                </a:cubicBezTo>
                <a:cubicBezTo>
                  <a:pt x="748" y="242"/>
                  <a:pt x="747" y="243"/>
                  <a:pt x="745" y="239"/>
                </a:cubicBezTo>
                <a:cubicBezTo>
                  <a:pt x="744" y="239"/>
                  <a:pt x="744" y="239"/>
                  <a:pt x="744" y="239"/>
                </a:cubicBezTo>
                <a:cubicBezTo>
                  <a:pt x="743" y="237"/>
                  <a:pt x="741" y="236"/>
                  <a:pt x="739" y="233"/>
                </a:cubicBezTo>
                <a:cubicBezTo>
                  <a:pt x="739" y="232"/>
                  <a:pt x="739" y="231"/>
                  <a:pt x="740" y="231"/>
                </a:cubicBezTo>
                <a:cubicBezTo>
                  <a:pt x="741" y="233"/>
                  <a:pt x="741" y="234"/>
                  <a:pt x="742" y="234"/>
                </a:cubicBezTo>
                <a:cubicBezTo>
                  <a:pt x="742" y="234"/>
                  <a:pt x="741" y="231"/>
                  <a:pt x="743" y="234"/>
                </a:cubicBezTo>
                <a:cubicBezTo>
                  <a:pt x="743" y="233"/>
                  <a:pt x="742" y="232"/>
                  <a:pt x="741" y="231"/>
                </a:cubicBezTo>
                <a:cubicBezTo>
                  <a:pt x="740" y="230"/>
                  <a:pt x="741" y="231"/>
                  <a:pt x="740" y="231"/>
                </a:cubicBezTo>
                <a:cubicBezTo>
                  <a:pt x="739" y="227"/>
                  <a:pt x="737" y="229"/>
                  <a:pt x="736" y="226"/>
                </a:cubicBezTo>
                <a:cubicBezTo>
                  <a:pt x="736" y="227"/>
                  <a:pt x="735" y="226"/>
                  <a:pt x="733" y="224"/>
                </a:cubicBezTo>
                <a:cubicBezTo>
                  <a:pt x="734" y="226"/>
                  <a:pt x="737" y="229"/>
                  <a:pt x="738" y="231"/>
                </a:cubicBezTo>
                <a:cubicBezTo>
                  <a:pt x="735" y="229"/>
                  <a:pt x="728" y="217"/>
                  <a:pt x="726" y="218"/>
                </a:cubicBezTo>
                <a:cubicBezTo>
                  <a:pt x="724" y="215"/>
                  <a:pt x="723" y="213"/>
                  <a:pt x="721" y="210"/>
                </a:cubicBezTo>
                <a:cubicBezTo>
                  <a:pt x="715" y="205"/>
                  <a:pt x="707" y="195"/>
                  <a:pt x="698" y="186"/>
                </a:cubicBezTo>
                <a:cubicBezTo>
                  <a:pt x="698" y="186"/>
                  <a:pt x="701" y="188"/>
                  <a:pt x="700" y="188"/>
                </a:cubicBezTo>
                <a:cubicBezTo>
                  <a:pt x="696" y="184"/>
                  <a:pt x="693" y="182"/>
                  <a:pt x="688" y="177"/>
                </a:cubicBezTo>
                <a:cubicBezTo>
                  <a:pt x="689" y="178"/>
                  <a:pt x="690" y="178"/>
                  <a:pt x="690" y="177"/>
                </a:cubicBezTo>
                <a:cubicBezTo>
                  <a:pt x="689" y="176"/>
                  <a:pt x="689" y="176"/>
                  <a:pt x="689" y="176"/>
                </a:cubicBezTo>
                <a:cubicBezTo>
                  <a:pt x="687" y="174"/>
                  <a:pt x="689" y="177"/>
                  <a:pt x="688" y="177"/>
                </a:cubicBezTo>
                <a:cubicBezTo>
                  <a:pt x="686" y="175"/>
                  <a:pt x="687" y="175"/>
                  <a:pt x="686" y="174"/>
                </a:cubicBezTo>
                <a:cubicBezTo>
                  <a:pt x="684" y="172"/>
                  <a:pt x="686" y="174"/>
                  <a:pt x="684" y="173"/>
                </a:cubicBezTo>
                <a:cubicBezTo>
                  <a:pt x="683" y="172"/>
                  <a:pt x="682" y="169"/>
                  <a:pt x="681" y="170"/>
                </a:cubicBezTo>
                <a:cubicBezTo>
                  <a:pt x="680" y="169"/>
                  <a:pt x="681" y="169"/>
                  <a:pt x="681" y="169"/>
                </a:cubicBezTo>
                <a:cubicBezTo>
                  <a:pt x="680" y="168"/>
                  <a:pt x="679" y="168"/>
                  <a:pt x="678" y="168"/>
                </a:cubicBezTo>
                <a:cubicBezTo>
                  <a:pt x="676" y="165"/>
                  <a:pt x="672" y="163"/>
                  <a:pt x="672" y="161"/>
                </a:cubicBezTo>
                <a:cubicBezTo>
                  <a:pt x="670" y="160"/>
                  <a:pt x="662" y="154"/>
                  <a:pt x="657" y="149"/>
                </a:cubicBezTo>
                <a:cubicBezTo>
                  <a:pt x="660" y="152"/>
                  <a:pt x="654" y="146"/>
                  <a:pt x="654" y="146"/>
                </a:cubicBezTo>
                <a:cubicBezTo>
                  <a:pt x="653" y="145"/>
                  <a:pt x="653" y="145"/>
                  <a:pt x="652" y="145"/>
                </a:cubicBezTo>
                <a:cubicBezTo>
                  <a:pt x="648" y="142"/>
                  <a:pt x="644" y="139"/>
                  <a:pt x="645" y="138"/>
                </a:cubicBezTo>
                <a:cubicBezTo>
                  <a:pt x="641" y="135"/>
                  <a:pt x="641" y="135"/>
                  <a:pt x="641" y="135"/>
                </a:cubicBezTo>
                <a:cubicBezTo>
                  <a:pt x="642" y="137"/>
                  <a:pt x="641" y="136"/>
                  <a:pt x="640" y="136"/>
                </a:cubicBezTo>
                <a:cubicBezTo>
                  <a:pt x="637" y="133"/>
                  <a:pt x="636" y="133"/>
                  <a:pt x="633" y="130"/>
                </a:cubicBezTo>
                <a:cubicBezTo>
                  <a:pt x="633" y="130"/>
                  <a:pt x="632" y="129"/>
                  <a:pt x="633" y="129"/>
                </a:cubicBezTo>
                <a:cubicBezTo>
                  <a:pt x="629" y="126"/>
                  <a:pt x="631" y="129"/>
                  <a:pt x="629" y="128"/>
                </a:cubicBezTo>
                <a:cubicBezTo>
                  <a:pt x="628" y="126"/>
                  <a:pt x="625" y="124"/>
                  <a:pt x="622" y="123"/>
                </a:cubicBezTo>
                <a:cubicBezTo>
                  <a:pt x="626" y="124"/>
                  <a:pt x="620" y="120"/>
                  <a:pt x="618" y="120"/>
                </a:cubicBezTo>
                <a:cubicBezTo>
                  <a:pt x="618" y="120"/>
                  <a:pt x="620" y="122"/>
                  <a:pt x="621" y="122"/>
                </a:cubicBezTo>
                <a:cubicBezTo>
                  <a:pt x="623" y="124"/>
                  <a:pt x="615" y="119"/>
                  <a:pt x="617" y="119"/>
                </a:cubicBezTo>
                <a:cubicBezTo>
                  <a:pt x="614" y="117"/>
                  <a:pt x="614" y="117"/>
                  <a:pt x="614" y="117"/>
                </a:cubicBezTo>
                <a:cubicBezTo>
                  <a:pt x="613" y="116"/>
                  <a:pt x="614" y="118"/>
                  <a:pt x="611" y="116"/>
                </a:cubicBezTo>
                <a:cubicBezTo>
                  <a:pt x="611" y="116"/>
                  <a:pt x="613" y="116"/>
                  <a:pt x="612" y="115"/>
                </a:cubicBezTo>
                <a:cubicBezTo>
                  <a:pt x="610" y="114"/>
                  <a:pt x="612" y="116"/>
                  <a:pt x="610" y="115"/>
                </a:cubicBezTo>
                <a:cubicBezTo>
                  <a:pt x="607" y="112"/>
                  <a:pt x="602" y="111"/>
                  <a:pt x="596" y="106"/>
                </a:cubicBezTo>
                <a:cubicBezTo>
                  <a:pt x="596" y="106"/>
                  <a:pt x="595" y="106"/>
                  <a:pt x="595" y="105"/>
                </a:cubicBezTo>
                <a:cubicBezTo>
                  <a:pt x="594" y="105"/>
                  <a:pt x="594" y="105"/>
                  <a:pt x="594" y="106"/>
                </a:cubicBezTo>
                <a:cubicBezTo>
                  <a:pt x="587" y="101"/>
                  <a:pt x="583" y="99"/>
                  <a:pt x="576" y="95"/>
                </a:cubicBezTo>
                <a:cubicBezTo>
                  <a:pt x="573" y="94"/>
                  <a:pt x="576" y="96"/>
                  <a:pt x="575" y="96"/>
                </a:cubicBezTo>
                <a:cubicBezTo>
                  <a:pt x="575" y="95"/>
                  <a:pt x="571" y="94"/>
                  <a:pt x="571" y="94"/>
                </a:cubicBezTo>
                <a:cubicBezTo>
                  <a:pt x="568" y="92"/>
                  <a:pt x="566" y="90"/>
                  <a:pt x="562" y="88"/>
                </a:cubicBezTo>
                <a:cubicBezTo>
                  <a:pt x="555" y="85"/>
                  <a:pt x="548" y="82"/>
                  <a:pt x="540" y="79"/>
                </a:cubicBezTo>
                <a:cubicBezTo>
                  <a:pt x="540" y="78"/>
                  <a:pt x="540" y="78"/>
                  <a:pt x="540" y="78"/>
                </a:cubicBezTo>
                <a:cubicBezTo>
                  <a:pt x="537" y="77"/>
                  <a:pt x="535" y="76"/>
                  <a:pt x="533" y="75"/>
                </a:cubicBezTo>
                <a:cubicBezTo>
                  <a:pt x="530" y="74"/>
                  <a:pt x="529" y="74"/>
                  <a:pt x="526" y="73"/>
                </a:cubicBezTo>
                <a:cubicBezTo>
                  <a:pt x="526" y="72"/>
                  <a:pt x="526" y="72"/>
                  <a:pt x="526" y="72"/>
                </a:cubicBezTo>
                <a:cubicBezTo>
                  <a:pt x="521" y="71"/>
                  <a:pt x="517" y="70"/>
                  <a:pt x="514" y="68"/>
                </a:cubicBezTo>
                <a:cubicBezTo>
                  <a:pt x="510" y="68"/>
                  <a:pt x="504" y="65"/>
                  <a:pt x="502" y="64"/>
                </a:cubicBezTo>
                <a:cubicBezTo>
                  <a:pt x="500" y="63"/>
                  <a:pt x="502" y="65"/>
                  <a:pt x="502" y="65"/>
                </a:cubicBezTo>
                <a:cubicBezTo>
                  <a:pt x="497" y="64"/>
                  <a:pt x="493" y="62"/>
                  <a:pt x="488" y="60"/>
                </a:cubicBezTo>
                <a:cubicBezTo>
                  <a:pt x="485" y="60"/>
                  <a:pt x="481" y="60"/>
                  <a:pt x="480" y="59"/>
                </a:cubicBezTo>
                <a:cubicBezTo>
                  <a:pt x="483" y="59"/>
                  <a:pt x="485" y="60"/>
                  <a:pt x="484" y="59"/>
                </a:cubicBezTo>
                <a:cubicBezTo>
                  <a:pt x="482" y="58"/>
                  <a:pt x="480" y="59"/>
                  <a:pt x="480" y="58"/>
                </a:cubicBezTo>
                <a:cubicBezTo>
                  <a:pt x="479" y="58"/>
                  <a:pt x="479" y="58"/>
                  <a:pt x="479" y="59"/>
                </a:cubicBezTo>
                <a:cubicBezTo>
                  <a:pt x="474" y="58"/>
                  <a:pt x="470" y="57"/>
                  <a:pt x="468" y="56"/>
                </a:cubicBezTo>
                <a:cubicBezTo>
                  <a:pt x="466" y="56"/>
                  <a:pt x="469" y="57"/>
                  <a:pt x="464" y="56"/>
                </a:cubicBezTo>
                <a:cubicBezTo>
                  <a:pt x="465" y="55"/>
                  <a:pt x="461" y="54"/>
                  <a:pt x="459" y="54"/>
                </a:cubicBezTo>
                <a:cubicBezTo>
                  <a:pt x="459" y="54"/>
                  <a:pt x="459" y="54"/>
                  <a:pt x="458" y="54"/>
                </a:cubicBezTo>
                <a:cubicBezTo>
                  <a:pt x="458" y="54"/>
                  <a:pt x="459" y="54"/>
                  <a:pt x="461" y="54"/>
                </a:cubicBezTo>
                <a:cubicBezTo>
                  <a:pt x="461" y="53"/>
                  <a:pt x="460" y="53"/>
                  <a:pt x="458" y="53"/>
                </a:cubicBezTo>
                <a:cubicBezTo>
                  <a:pt x="457" y="53"/>
                  <a:pt x="456" y="53"/>
                  <a:pt x="456" y="54"/>
                </a:cubicBezTo>
                <a:cubicBezTo>
                  <a:pt x="453" y="53"/>
                  <a:pt x="452" y="52"/>
                  <a:pt x="450" y="52"/>
                </a:cubicBezTo>
                <a:cubicBezTo>
                  <a:pt x="448" y="51"/>
                  <a:pt x="451" y="52"/>
                  <a:pt x="450" y="52"/>
                </a:cubicBezTo>
                <a:cubicBezTo>
                  <a:pt x="442" y="51"/>
                  <a:pt x="434" y="51"/>
                  <a:pt x="428" y="49"/>
                </a:cubicBezTo>
                <a:cubicBezTo>
                  <a:pt x="426" y="49"/>
                  <a:pt x="429" y="50"/>
                  <a:pt x="427" y="50"/>
                </a:cubicBezTo>
                <a:cubicBezTo>
                  <a:pt x="424" y="50"/>
                  <a:pt x="424" y="49"/>
                  <a:pt x="426" y="49"/>
                </a:cubicBezTo>
                <a:cubicBezTo>
                  <a:pt x="426" y="48"/>
                  <a:pt x="425" y="49"/>
                  <a:pt x="423" y="48"/>
                </a:cubicBezTo>
                <a:cubicBezTo>
                  <a:pt x="423" y="49"/>
                  <a:pt x="423" y="49"/>
                  <a:pt x="423" y="49"/>
                </a:cubicBezTo>
                <a:cubicBezTo>
                  <a:pt x="416" y="48"/>
                  <a:pt x="410" y="48"/>
                  <a:pt x="402" y="48"/>
                </a:cubicBezTo>
                <a:cubicBezTo>
                  <a:pt x="404" y="47"/>
                  <a:pt x="401" y="47"/>
                  <a:pt x="397" y="47"/>
                </a:cubicBezTo>
                <a:cubicBezTo>
                  <a:pt x="397" y="46"/>
                  <a:pt x="397" y="46"/>
                  <a:pt x="397" y="46"/>
                </a:cubicBezTo>
                <a:cubicBezTo>
                  <a:pt x="394" y="47"/>
                  <a:pt x="393" y="46"/>
                  <a:pt x="391" y="46"/>
                </a:cubicBezTo>
                <a:cubicBezTo>
                  <a:pt x="389" y="46"/>
                  <a:pt x="395" y="47"/>
                  <a:pt x="393" y="48"/>
                </a:cubicBezTo>
                <a:cubicBezTo>
                  <a:pt x="390" y="47"/>
                  <a:pt x="390" y="47"/>
                  <a:pt x="388" y="47"/>
                </a:cubicBezTo>
                <a:cubicBezTo>
                  <a:pt x="386" y="47"/>
                  <a:pt x="388" y="47"/>
                  <a:pt x="388" y="48"/>
                </a:cubicBezTo>
                <a:cubicBezTo>
                  <a:pt x="385" y="48"/>
                  <a:pt x="385" y="47"/>
                  <a:pt x="382" y="48"/>
                </a:cubicBezTo>
                <a:cubicBezTo>
                  <a:pt x="382" y="47"/>
                  <a:pt x="383" y="47"/>
                  <a:pt x="384" y="47"/>
                </a:cubicBezTo>
                <a:cubicBezTo>
                  <a:pt x="383" y="47"/>
                  <a:pt x="380" y="48"/>
                  <a:pt x="380" y="47"/>
                </a:cubicBezTo>
                <a:cubicBezTo>
                  <a:pt x="379" y="47"/>
                  <a:pt x="380" y="48"/>
                  <a:pt x="377" y="48"/>
                </a:cubicBezTo>
                <a:cubicBezTo>
                  <a:pt x="376" y="47"/>
                  <a:pt x="377" y="47"/>
                  <a:pt x="376" y="47"/>
                </a:cubicBezTo>
                <a:cubicBezTo>
                  <a:pt x="375" y="47"/>
                  <a:pt x="371" y="48"/>
                  <a:pt x="375" y="48"/>
                </a:cubicBezTo>
                <a:cubicBezTo>
                  <a:pt x="374" y="48"/>
                  <a:pt x="373" y="49"/>
                  <a:pt x="371" y="49"/>
                </a:cubicBezTo>
                <a:cubicBezTo>
                  <a:pt x="372" y="48"/>
                  <a:pt x="370" y="48"/>
                  <a:pt x="371" y="47"/>
                </a:cubicBezTo>
                <a:cubicBezTo>
                  <a:pt x="370" y="47"/>
                  <a:pt x="367" y="48"/>
                  <a:pt x="368" y="47"/>
                </a:cubicBezTo>
                <a:cubicBezTo>
                  <a:pt x="365" y="48"/>
                  <a:pt x="363" y="48"/>
                  <a:pt x="361" y="48"/>
                </a:cubicBezTo>
                <a:cubicBezTo>
                  <a:pt x="361" y="47"/>
                  <a:pt x="362" y="47"/>
                  <a:pt x="363" y="47"/>
                </a:cubicBezTo>
                <a:cubicBezTo>
                  <a:pt x="363" y="47"/>
                  <a:pt x="361" y="47"/>
                  <a:pt x="359" y="47"/>
                </a:cubicBezTo>
                <a:cubicBezTo>
                  <a:pt x="358" y="48"/>
                  <a:pt x="355" y="48"/>
                  <a:pt x="351" y="48"/>
                </a:cubicBezTo>
                <a:cubicBezTo>
                  <a:pt x="351" y="49"/>
                  <a:pt x="354" y="48"/>
                  <a:pt x="354" y="49"/>
                </a:cubicBezTo>
                <a:cubicBezTo>
                  <a:pt x="350" y="50"/>
                  <a:pt x="351" y="49"/>
                  <a:pt x="348" y="49"/>
                </a:cubicBezTo>
                <a:cubicBezTo>
                  <a:pt x="350" y="50"/>
                  <a:pt x="344" y="50"/>
                  <a:pt x="342" y="50"/>
                </a:cubicBezTo>
                <a:cubicBezTo>
                  <a:pt x="340" y="50"/>
                  <a:pt x="343" y="50"/>
                  <a:pt x="341" y="51"/>
                </a:cubicBezTo>
                <a:cubicBezTo>
                  <a:pt x="336" y="52"/>
                  <a:pt x="334" y="52"/>
                  <a:pt x="332" y="51"/>
                </a:cubicBezTo>
                <a:cubicBezTo>
                  <a:pt x="334" y="50"/>
                  <a:pt x="335" y="51"/>
                  <a:pt x="335" y="51"/>
                </a:cubicBezTo>
                <a:cubicBezTo>
                  <a:pt x="336" y="51"/>
                  <a:pt x="336" y="51"/>
                  <a:pt x="336" y="51"/>
                </a:cubicBezTo>
                <a:cubicBezTo>
                  <a:pt x="336" y="50"/>
                  <a:pt x="334" y="51"/>
                  <a:pt x="335" y="50"/>
                </a:cubicBezTo>
                <a:cubicBezTo>
                  <a:pt x="331" y="51"/>
                  <a:pt x="331" y="51"/>
                  <a:pt x="331" y="52"/>
                </a:cubicBezTo>
                <a:cubicBezTo>
                  <a:pt x="330" y="51"/>
                  <a:pt x="326" y="51"/>
                  <a:pt x="326" y="52"/>
                </a:cubicBezTo>
                <a:cubicBezTo>
                  <a:pt x="323" y="53"/>
                  <a:pt x="325" y="52"/>
                  <a:pt x="326" y="51"/>
                </a:cubicBezTo>
                <a:cubicBezTo>
                  <a:pt x="326" y="51"/>
                  <a:pt x="322" y="52"/>
                  <a:pt x="321" y="53"/>
                </a:cubicBezTo>
                <a:cubicBezTo>
                  <a:pt x="321" y="53"/>
                  <a:pt x="322" y="53"/>
                  <a:pt x="323" y="53"/>
                </a:cubicBezTo>
                <a:cubicBezTo>
                  <a:pt x="321" y="53"/>
                  <a:pt x="315" y="54"/>
                  <a:pt x="316" y="55"/>
                </a:cubicBezTo>
                <a:cubicBezTo>
                  <a:pt x="314" y="56"/>
                  <a:pt x="314" y="55"/>
                  <a:pt x="312" y="55"/>
                </a:cubicBezTo>
                <a:cubicBezTo>
                  <a:pt x="313" y="55"/>
                  <a:pt x="314" y="54"/>
                  <a:pt x="315" y="54"/>
                </a:cubicBezTo>
                <a:cubicBezTo>
                  <a:pt x="317" y="53"/>
                  <a:pt x="317" y="53"/>
                  <a:pt x="320" y="52"/>
                </a:cubicBezTo>
                <a:cubicBezTo>
                  <a:pt x="319" y="52"/>
                  <a:pt x="314" y="54"/>
                  <a:pt x="313" y="54"/>
                </a:cubicBezTo>
                <a:cubicBezTo>
                  <a:pt x="310" y="54"/>
                  <a:pt x="314" y="54"/>
                  <a:pt x="312" y="55"/>
                </a:cubicBezTo>
                <a:cubicBezTo>
                  <a:pt x="308" y="56"/>
                  <a:pt x="308" y="56"/>
                  <a:pt x="304" y="57"/>
                </a:cubicBezTo>
                <a:cubicBezTo>
                  <a:pt x="305" y="57"/>
                  <a:pt x="307" y="57"/>
                  <a:pt x="307" y="56"/>
                </a:cubicBezTo>
                <a:cubicBezTo>
                  <a:pt x="305" y="56"/>
                  <a:pt x="302" y="58"/>
                  <a:pt x="302" y="58"/>
                </a:cubicBezTo>
                <a:cubicBezTo>
                  <a:pt x="299" y="59"/>
                  <a:pt x="304" y="57"/>
                  <a:pt x="301" y="58"/>
                </a:cubicBezTo>
                <a:cubicBezTo>
                  <a:pt x="301" y="57"/>
                  <a:pt x="304" y="57"/>
                  <a:pt x="303" y="57"/>
                </a:cubicBezTo>
                <a:cubicBezTo>
                  <a:pt x="303" y="57"/>
                  <a:pt x="298" y="58"/>
                  <a:pt x="297" y="58"/>
                </a:cubicBezTo>
                <a:cubicBezTo>
                  <a:pt x="298" y="59"/>
                  <a:pt x="301" y="57"/>
                  <a:pt x="301" y="58"/>
                </a:cubicBezTo>
                <a:cubicBezTo>
                  <a:pt x="296" y="59"/>
                  <a:pt x="295" y="60"/>
                  <a:pt x="292" y="60"/>
                </a:cubicBezTo>
                <a:cubicBezTo>
                  <a:pt x="290" y="61"/>
                  <a:pt x="289" y="61"/>
                  <a:pt x="289" y="62"/>
                </a:cubicBezTo>
                <a:cubicBezTo>
                  <a:pt x="288" y="62"/>
                  <a:pt x="283" y="62"/>
                  <a:pt x="283" y="63"/>
                </a:cubicBezTo>
                <a:cubicBezTo>
                  <a:pt x="279" y="65"/>
                  <a:pt x="279" y="64"/>
                  <a:pt x="276" y="65"/>
                </a:cubicBezTo>
                <a:cubicBezTo>
                  <a:pt x="274" y="66"/>
                  <a:pt x="277" y="66"/>
                  <a:pt x="276" y="66"/>
                </a:cubicBezTo>
                <a:cubicBezTo>
                  <a:pt x="273" y="67"/>
                  <a:pt x="273" y="67"/>
                  <a:pt x="273" y="67"/>
                </a:cubicBezTo>
                <a:cubicBezTo>
                  <a:pt x="275" y="65"/>
                  <a:pt x="264" y="71"/>
                  <a:pt x="260" y="71"/>
                </a:cubicBezTo>
                <a:cubicBezTo>
                  <a:pt x="259" y="72"/>
                  <a:pt x="259" y="72"/>
                  <a:pt x="259" y="73"/>
                </a:cubicBezTo>
                <a:cubicBezTo>
                  <a:pt x="257" y="73"/>
                  <a:pt x="254" y="74"/>
                  <a:pt x="253" y="75"/>
                </a:cubicBezTo>
                <a:cubicBezTo>
                  <a:pt x="253" y="75"/>
                  <a:pt x="253" y="75"/>
                  <a:pt x="253" y="74"/>
                </a:cubicBezTo>
                <a:cubicBezTo>
                  <a:pt x="248" y="77"/>
                  <a:pt x="246" y="78"/>
                  <a:pt x="239" y="81"/>
                </a:cubicBezTo>
                <a:cubicBezTo>
                  <a:pt x="240" y="80"/>
                  <a:pt x="244" y="78"/>
                  <a:pt x="245" y="78"/>
                </a:cubicBezTo>
                <a:cubicBezTo>
                  <a:pt x="244" y="78"/>
                  <a:pt x="244" y="76"/>
                  <a:pt x="243" y="77"/>
                </a:cubicBezTo>
                <a:cubicBezTo>
                  <a:pt x="243" y="77"/>
                  <a:pt x="242" y="76"/>
                  <a:pt x="243" y="75"/>
                </a:cubicBezTo>
                <a:cubicBezTo>
                  <a:pt x="244" y="75"/>
                  <a:pt x="244" y="75"/>
                  <a:pt x="245" y="75"/>
                </a:cubicBezTo>
                <a:cubicBezTo>
                  <a:pt x="247" y="74"/>
                  <a:pt x="243" y="74"/>
                  <a:pt x="246" y="73"/>
                </a:cubicBezTo>
                <a:cubicBezTo>
                  <a:pt x="245" y="73"/>
                  <a:pt x="244" y="74"/>
                  <a:pt x="243" y="75"/>
                </a:cubicBezTo>
                <a:cubicBezTo>
                  <a:pt x="243" y="73"/>
                  <a:pt x="250" y="71"/>
                  <a:pt x="252" y="71"/>
                </a:cubicBezTo>
                <a:cubicBezTo>
                  <a:pt x="254" y="70"/>
                  <a:pt x="251" y="70"/>
                  <a:pt x="254" y="69"/>
                </a:cubicBezTo>
                <a:cubicBezTo>
                  <a:pt x="247" y="70"/>
                  <a:pt x="242" y="74"/>
                  <a:pt x="237" y="76"/>
                </a:cubicBezTo>
                <a:cubicBezTo>
                  <a:pt x="236" y="76"/>
                  <a:pt x="237" y="76"/>
                  <a:pt x="237" y="76"/>
                </a:cubicBezTo>
                <a:cubicBezTo>
                  <a:pt x="235" y="77"/>
                  <a:pt x="233" y="78"/>
                  <a:pt x="233" y="78"/>
                </a:cubicBezTo>
                <a:cubicBezTo>
                  <a:pt x="234" y="77"/>
                  <a:pt x="235" y="77"/>
                  <a:pt x="235" y="76"/>
                </a:cubicBezTo>
                <a:cubicBezTo>
                  <a:pt x="232" y="77"/>
                  <a:pt x="234" y="77"/>
                  <a:pt x="231" y="78"/>
                </a:cubicBezTo>
                <a:cubicBezTo>
                  <a:pt x="229" y="78"/>
                  <a:pt x="231" y="77"/>
                  <a:pt x="227" y="79"/>
                </a:cubicBezTo>
                <a:cubicBezTo>
                  <a:pt x="227" y="78"/>
                  <a:pt x="230" y="77"/>
                  <a:pt x="231" y="76"/>
                </a:cubicBezTo>
                <a:cubicBezTo>
                  <a:pt x="229" y="77"/>
                  <a:pt x="228" y="77"/>
                  <a:pt x="224" y="79"/>
                </a:cubicBezTo>
                <a:cubicBezTo>
                  <a:pt x="227" y="76"/>
                  <a:pt x="236" y="73"/>
                  <a:pt x="233" y="72"/>
                </a:cubicBezTo>
                <a:cubicBezTo>
                  <a:pt x="233" y="72"/>
                  <a:pt x="231" y="72"/>
                  <a:pt x="231" y="72"/>
                </a:cubicBezTo>
                <a:cubicBezTo>
                  <a:pt x="229" y="73"/>
                  <a:pt x="233" y="72"/>
                  <a:pt x="230" y="73"/>
                </a:cubicBezTo>
                <a:cubicBezTo>
                  <a:pt x="230" y="73"/>
                  <a:pt x="232" y="73"/>
                  <a:pt x="232" y="73"/>
                </a:cubicBezTo>
                <a:cubicBezTo>
                  <a:pt x="227" y="76"/>
                  <a:pt x="222" y="80"/>
                  <a:pt x="219" y="80"/>
                </a:cubicBezTo>
                <a:cubicBezTo>
                  <a:pt x="223" y="79"/>
                  <a:pt x="216" y="80"/>
                  <a:pt x="222" y="77"/>
                </a:cubicBezTo>
                <a:cubicBezTo>
                  <a:pt x="221" y="76"/>
                  <a:pt x="216" y="78"/>
                  <a:pt x="218" y="76"/>
                </a:cubicBezTo>
                <a:cubicBezTo>
                  <a:pt x="217" y="77"/>
                  <a:pt x="210" y="80"/>
                  <a:pt x="210" y="82"/>
                </a:cubicBezTo>
                <a:cubicBezTo>
                  <a:pt x="205" y="84"/>
                  <a:pt x="210" y="81"/>
                  <a:pt x="203" y="85"/>
                </a:cubicBezTo>
                <a:cubicBezTo>
                  <a:pt x="207" y="83"/>
                  <a:pt x="205" y="85"/>
                  <a:pt x="206" y="85"/>
                </a:cubicBezTo>
                <a:cubicBezTo>
                  <a:pt x="203" y="87"/>
                  <a:pt x="205" y="85"/>
                  <a:pt x="204" y="85"/>
                </a:cubicBezTo>
                <a:cubicBezTo>
                  <a:pt x="202" y="86"/>
                  <a:pt x="201" y="88"/>
                  <a:pt x="199" y="88"/>
                </a:cubicBezTo>
                <a:cubicBezTo>
                  <a:pt x="199" y="89"/>
                  <a:pt x="199" y="89"/>
                  <a:pt x="198" y="89"/>
                </a:cubicBezTo>
                <a:cubicBezTo>
                  <a:pt x="200" y="89"/>
                  <a:pt x="202" y="86"/>
                  <a:pt x="203" y="86"/>
                </a:cubicBezTo>
                <a:cubicBezTo>
                  <a:pt x="204" y="87"/>
                  <a:pt x="202" y="88"/>
                  <a:pt x="201" y="88"/>
                </a:cubicBezTo>
                <a:cubicBezTo>
                  <a:pt x="201" y="89"/>
                  <a:pt x="205" y="87"/>
                  <a:pt x="202" y="89"/>
                </a:cubicBezTo>
                <a:cubicBezTo>
                  <a:pt x="202" y="89"/>
                  <a:pt x="204" y="88"/>
                  <a:pt x="205" y="87"/>
                </a:cubicBezTo>
                <a:cubicBezTo>
                  <a:pt x="203" y="89"/>
                  <a:pt x="198" y="91"/>
                  <a:pt x="198" y="92"/>
                </a:cubicBezTo>
                <a:cubicBezTo>
                  <a:pt x="198" y="92"/>
                  <a:pt x="198" y="91"/>
                  <a:pt x="195" y="93"/>
                </a:cubicBezTo>
                <a:cubicBezTo>
                  <a:pt x="195" y="92"/>
                  <a:pt x="196" y="92"/>
                  <a:pt x="197" y="91"/>
                </a:cubicBezTo>
                <a:cubicBezTo>
                  <a:pt x="196" y="91"/>
                  <a:pt x="194" y="92"/>
                  <a:pt x="192" y="94"/>
                </a:cubicBezTo>
                <a:cubicBezTo>
                  <a:pt x="191" y="94"/>
                  <a:pt x="190" y="94"/>
                  <a:pt x="190" y="93"/>
                </a:cubicBezTo>
                <a:cubicBezTo>
                  <a:pt x="187" y="95"/>
                  <a:pt x="190" y="94"/>
                  <a:pt x="187" y="96"/>
                </a:cubicBezTo>
                <a:cubicBezTo>
                  <a:pt x="189" y="94"/>
                  <a:pt x="184" y="97"/>
                  <a:pt x="184" y="96"/>
                </a:cubicBezTo>
                <a:cubicBezTo>
                  <a:pt x="182" y="98"/>
                  <a:pt x="180" y="99"/>
                  <a:pt x="179" y="100"/>
                </a:cubicBezTo>
                <a:cubicBezTo>
                  <a:pt x="179" y="99"/>
                  <a:pt x="179" y="98"/>
                  <a:pt x="181" y="98"/>
                </a:cubicBezTo>
                <a:cubicBezTo>
                  <a:pt x="184" y="96"/>
                  <a:pt x="180" y="98"/>
                  <a:pt x="180" y="97"/>
                </a:cubicBezTo>
                <a:cubicBezTo>
                  <a:pt x="184" y="95"/>
                  <a:pt x="186" y="93"/>
                  <a:pt x="191" y="90"/>
                </a:cubicBezTo>
                <a:cubicBezTo>
                  <a:pt x="188" y="92"/>
                  <a:pt x="189" y="92"/>
                  <a:pt x="192" y="90"/>
                </a:cubicBezTo>
                <a:cubicBezTo>
                  <a:pt x="194" y="88"/>
                  <a:pt x="194" y="88"/>
                  <a:pt x="198" y="86"/>
                </a:cubicBezTo>
                <a:cubicBezTo>
                  <a:pt x="200" y="85"/>
                  <a:pt x="196" y="86"/>
                  <a:pt x="200" y="84"/>
                </a:cubicBezTo>
                <a:cubicBezTo>
                  <a:pt x="199" y="85"/>
                  <a:pt x="204" y="82"/>
                  <a:pt x="204" y="84"/>
                </a:cubicBezTo>
                <a:cubicBezTo>
                  <a:pt x="204" y="84"/>
                  <a:pt x="206" y="83"/>
                  <a:pt x="208" y="82"/>
                </a:cubicBezTo>
                <a:cubicBezTo>
                  <a:pt x="208" y="81"/>
                  <a:pt x="209" y="81"/>
                  <a:pt x="209" y="81"/>
                </a:cubicBezTo>
                <a:cubicBezTo>
                  <a:pt x="209" y="80"/>
                  <a:pt x="205" y="82"/>
                  <a:pt x="207" y="82"/>
                </a:cubicBezTo>
                <a:cubicBezTo>
                  <a:pt x="205" y="83"/>
                  <a:pt x="203" y="84"/>
                  <a:pt x="203" y="83"/>
                </a:cubicBezTo>
                <a:cubicBezTo>
                  <a:pt x="206" y="81"/>
                  <a:pt x="206" y="81"/>
                  <a:pt x="206" y="81"/>
                </a:cubicBezTo>
                <a:cubicBezTo>
                  <a:pt x="206" y="81"/>
                  <a:pt x="205" y="82"/>
                  <a:pt x="206" y="82"/>
                </a:cubicBezTo>
                <a:cubicBezTo>
                  <a:pt x="208" y="81"/>
                  <a:pt x="207" y="81"/>
                  <a:pt x="207" y="80"/>
                </a:cubicBezTo>
                <a:cubicBezTo>
                  <a:pt x="208" y="79"/>
                  <a:pt x="209" y="80"/>
                  <a:pt x="210" y="79"/>
                </a:cubicBezTo>
                <a:cubicBezTo>
                  <a:pt x="212" y="78"/>
                  <a:pt x="209" y="81"/>
                  <a:pt x="213" y="79"/>
                </a:cubicBezTo>
                <a:cubicBezTo>
                  <a:pt x="215" y="78"/>
                  <a:pt x="214" y="77"/>
                  <a:pt x="216" y="77"/>
                </a:cubicBezTo>
                <a:cubicBezTo>
                  <a:pt x="218" y="75"/>
                  <a:pt x="218" y="73"/>
                  <a:pt x="217" y="73"/>
                </a:cubicBezTo>
                <a:cubicBezTo>
                  <a:pt x="216" y="74"/>
                  <a:pt x="216" y="74"/>
                  <a:pt x="213" y="75"/>
                </a:cubicBezTo>
                <a:cubicBezTo>
                  <a:pt x="213" y="74"/>
                  <a:pt x="213" y="74"/>
                  <a:pt x="213" y="74"/>
                </a:cubicBezTo>
                <a:cubicBezTo>
                  <a:pt x="219" y="70"/>
                  <a:pt x="218" y="72"/>
                  <a:pt x="221" y="70"/>
                </a:cubicBezTo>
                <a:cubicBezTo>
                  <a:pt x="222" y="70"/>
                  <a:pt x="220" y="71"/>
                  <a:pt x="219" y="72"/>
                </a:cubicBezTo>
                <a:cubicBezTo>
                  <a:pt x="218" y="73"/>
                  <a:pt x="221" y="71"/>
                  <a:pt x="219" y="73"/>
                </a:cubicBezTo>
                <a:cubicBezTo>
                  <a:pt x="219" y="73"/>
                  <a:pt x="223" y="71"/>
                  <a:pt x="222" y="72"/>
                </a:cubicBezTo>
                <a:cubicBezTo>
                  <a:pt x="224" y="71"/>
                  <a:pt x="221" y="72"/>
                  <a:pt x="221" y="71"/>
                </a:cubicBezTo>
                <a:cubicBezTo>
                  <a:pt x="224" y="70"/>
                  <a:pt x="221" y="70"/>
                  <a:pt x="224" y="68"/>
                </a:cubicBezTo>
                <a:cubicBezTo>
                  <a:pt x="224" y="68"/>
                  <a:pt x="224" y="68"/>
                  <a:pt x="224" y="68"/>
                </a:cubicBezTo>
                <a:cubicBezTo>
                  <a:pt x="223" y="68"/>
                  <a:pt x="223" y="69"/>
                  <a:pt x="221" y="70"/>
                </a:cubicBezTo>
                <a:cubicBezTo>
                  <a:pt x="224" y="66"/>
                  <a:pt x="231" y="66"/>
                  <a:pt x="235" y="63"/>
                </a:cubicBezTo>
                <a:cubicBezTo>
                  <a:pt x="234" y="63"/>
                  <a:pt x="233" y="64"/>
                  <a:pt x="234" y="62"/>
                </a:cubicBezTo>
                <a:cubicBezTo>
                  <a:pt x="231" y="63"/>
                  <a:pt x="234" y="63"/>
                  <a:pt x="231" y="64"/>
                </a:cubicBezTo>
                <a:cubicBezTo>
                  <a:pt x="233" y="63"/>
                  <a:pt x="232" y="63"/>
                  <a:pt x="234" y="61"/>
                </a:cubicBezTo>
                <a:cubicBezTo>
                  <a:pt x="236" y="60"/>
                  <a:pt x="235" y="61"/>
                  <a:pt x="234" y="61"/>
                </a:cubicBezTo>
                <a:cubicBezTo>
                  <a:pt x="235" y="61"/>
                  <a:pt x="236" y="61"/>
                  <a:pt x="236" y="62"/>
                </a:cubicBezTo>
                <a:cubicBezTo>
                  <a:pt x="239" y="60"/>
                  <a:pt x="239" y="60"/>
                  <a:pt x="241" y="59"/>
                </a:cubicBezTo>
                <a:cubicBezTo>
                  <a:pt x="240" y="60"/>
                  <a:pt x="244" y="58"/>
                  <a:pt x="245" y="58"/>
                </a:cubicBezTo>
                <a:cubicBezTo>
                  <a:pt x="248" y="57"/>
                  <a:pt x="244" y="57"/>
                  <a:pt x="247" y="57"/>
                </a:cubicBezTo>
                <a:cubicBezTo>
                  <a:pt x="249" y="55"/>
                  <a:pt x="249" y="56"/>
                  <a:pt x="249" y="56"/>
                </a:cubicBezTo>
                <a:cubicBezTo>
                  <a:pt x="248" y="58"/>
                  <a:pt x="246" y="58"/>
                  <a:pt x="244" y="59"/>
                </a:cubicBezTo>
                <a:cubicBezTo>
                  <a:pt x="245" y="59"/>
                  <a:pt x="246" y="59"/>
                  <a:pt x="244" y="61"/>
                </a:cubicBezTo>
                <a:cubicBezTo>
                  <a:pt x="244" y="61"/>
                  <a:pt x="245" y="60"/>
                  <a:pt x="245" y="61"/>
                </a:cubicBezTo>
                <a:cubicBezTo>
                  <a:pt x="245" y="60"/>
                  <a:pt x="245" y="60"/>
                  <a:pt x="246" y="59"/>
                </a:cubicBezTo>
                <a:cubicBezTo>
                  <a:pt x="247" y="59"/>
                  <a:pt x="248" y="59"/>
                  <a:pt x="248" y="59"/>
                </a:cubicBezTo>
                <a:cubicBezTo>
                  <a:pt x="250" y="58"/>
                  <a:pt x="245" y="59"/>
                  <a:pt x="246" y="59"/>
                </a:cubicBezTo>
                <a:cubicBezTo>
                  <a:pt x="248" y="57"/>
                  <a:pt x="253" y="56"/>
                  <a:pt x="253" y="55"/>
                </a:cubicBezTo>
                <a:cubicBezTo>
                  <a:pt x="255" y="54"/>
                  <a:pt x="255" y="55"/>
                  <a:pt x="257" y="55"/>
                </a:cubicBezTo>
                <a:cubicBezTo>
                  <a:pt x="257" y="54"/>
                  <a:pt x="264" y="50"/>
                  <a:pt x="267" y="50"/>
                </a:cubicBezTo>
                <a:cubicBezTo>
                  <a:pt x="271" y="49"/>
                  <a:pt x="268" y="48"/>
                  <a:pt x="268" y="48"/>
                </a:cubicBezTo>
                <a:cubicBezTo>
                  <a:pt x="266" y="49"/>
                  <a:pt x="263" y="49"/>
                  <a:pt x="263" y="50"/>
                </a:cubicBezTo>
                <a:cubicBezTo>
                  <a:pt x="263" y="50"/>
                  <a:pt x="265" y="50"/>
                  <a:pt x="266" y="49"/>
                </a:cubicBezTo>
                <a:cubicBezTo>
                  <a:pt x="263" y="51"/>
                  <a:pt x="256" y="53"/>
                  <a:pt x="253" y="55"/>
                </a:cubicBezTo>
                <a:cubicBezTo>
                  <a:pt x="253" y="54"/>
                  <a:pt x="252" y="54"/>
                  <a:pt x="254" y="53"/>
                </a:cubicBezTo>
                <a:cubicBezTo>
                  <a:pt x="256" y="52"/>
                  <a:pt x="258" y="52"/>
                  <a:pt x="258" y="51"/>
                </a:cubicBezTo>
                <a:cubicBezTo>
                  <a:pt x="261" y="50"/>
                  <a:pt x="259" y="52"/>
                  <a:pt x="257" y="52"/>
                </a:cubicBezTo>
                <a:cubicBezTo>
                  <a:pt x="261" y="51"/>
                  <a:pt x="263" y="49"/>
                  <a:pt x="267" y="48"/>
                </a:cubicBezTo>
                <a:cubicBezTo>
                  <a:pt x="262" y="49"/>
                  <a:pt x="253" y="52"/>
                  <a:pt x="247" y="55"/>
                </a:cubicBezTo>
                <a:cubicBezTo>
                  <a:pt x="244" y="56"/>
                  <a:pt x="242" y="56"/>
                  <a:pt x="242" y="55"/>
                </a:cubicBezTo>
                <a:cubicBezTo>
                  <a:pt x="240" y="56"/>
                  <a:pt x="242" y="56"/>
                  <a:pt x="242" y="57"/>
                </a:cubicBezTo>
                <a:cubicBezTo>
                  <a:pt x="240" y="57"/>
                  <a:pt x="241" y="58"/>
                  <a:pt x="239" y="58"/>
                </a:cubicBezTo>
                <a:cubicBezTo>
                  <a:pt x="238" y="58"/>
                  <a:pt x="240" y="57"/>
                  <a:pt x="239" y="57"/>
                </a:cubicBezTo>
                <a:cubicBezTo>
                  <a:pt x="238" y="57"/>
                  <a:pt x="236" y="58"/>
                  <a:pt x="234" y="59"/>
                </a:cubicBezTo>
                <a:cubicBezTo>
                  <a:pt x="233" y="60"/>
                  <a:pt x="235" y="59"/>
                  <a:pt x="234" y="60"/>
                </a:cubicBezTo>
                <a:cubicBezTo>
                  <a:pt x="236" y="59"/>
                  <a:pt x="235" y="59"/>
                  <a:pt x="235" y="59"/>
                </a:cubicBezTo>
                <a:cubicBezTo>
                  <a:pt x="237" y="57"/>
                  <a:pt x="237" y="58"/>
                  <a:pt x="239" y="58"/>
                </a:cubicBezTo>
                <a:cubicBezTo>
                  <a:pt x="238" y="59"/>
                  <a:pt x="227" y="63"/>
                  <a:pt x="229" y="64"/>
                </a:cubicBezTo>
                <a:cubicBezTo>
                  <a:pt x="228" y="64"/>
                  <a:pt x="227" y="64"/>
                  <a:pt x="226" y="64"/>
                </a:cubicBezTo>
                <a:cubicBezTo>
                  <a:pt x="229" y="61"/>
                  <a:pt x="225" y="63"/>
                  <a:pt x="223" y="62"/>
                </a:cubicBezTo>
                <a:cubicBezTo>
                  <a:pt x="222" y="63"/>
                  <a:pt x="222" y="63"/>
                  <a:pt x="220" y="64"/>
                </a:cubicBezTo>
                <a:cubicBezTo>
                  <a:pt x="220" y="64"/>
                  <a:pt x="221" y="63"/>
                  <a:pt x="221" y="63"/>
                </a:cubicBezTo>
                <a:cubicBezTo>
                  <a:pt x="216" y="65"/>
                  <a:pt x="222" y="64"/>
                  <a:pt x="217" y="66"/>
                </a:cubicBezTo>
                <a:cubicBezTo>
                  <a:pt x="217" y="65"/>
                  <a:pt x="218" y="65"/>
                  <a:pt x="218" y="64"/>
                </a:cubicBezTo>
                <a:cubicBezTo>
                  <a:pt x="213" y="68"/>
                  <a:pt x="214" y="68"/>
                  <a:pt x="210" y="70"/>
                </a:cubicBezTo>
                <a:cubicBezTo>
                  <a:pt x="209" y="69"/>
                  <a:pt x="209" y="69"/>
                  <a:pt x="209" y="69"/>
                </a:cubicBezTo>
                <a:cubicBezTo>
                  <a:pt x="209" y="69"/>
                  <a:pt x="207" y="71"/>
                  <a:pt x="205" y="72"/>
                </a:cubicBezTo>
                <a:cubicBezTo>
                  <a:pt x="205" y="72"/>
                  <a:pt x="207" y="72"/>
                  <a:pt x="204" y="74"/>
                </a:cubicBezTo>
                <a:cubicBezTo>
                  <a:pt x="204" y="73"/>
                  <a:pt x="205" y="72"/>
                  <a:pt x="203" y="73"/>
                </a:cubicBezTo>
                <a:cubicBezTo>
                  <a:pt x="201" y="75"/>
                  <a:pt x="199" y="76"/>
                  <a:pt x="198" y="77"/>
                </a:cubicBezTo>
                <a:cubicBezTo>
                  <a:pt x="199" y="76"/>
                  <a:pt x="202" y="75"/>
                  <a:pt x="198" y="78"/>
                </a:cubicBezTo>
                <a:cubicBezTo>
                  <a:pt x="199" y="78"/>
                  <a:pt x="201" y="77"/>
                  <a:pt x="203" y="75"/>
                </a:cubicBezTo>
                <a:cubicBezTo>
                  <a:pt x="203" y="76"/>
                  <a:pt x="196" y="80"/>
                  <a:pt x="194" y="81"/>
                </a:cubicBezTo>
                <a:cubicBezTo>
                  <a:pt x="197" y="79"/>
                  <a:pt x="196" y="79"/>
                  <a:pt x="197" y="77"/>
                </a:cubicBezTo>
                <a:cubicBezTo>
                  <a:pt x="194" y="79"/>
                  <a:pt x="195" y="78"/>
                  <a:pt x="192" y="80"/>
                </a:cubicBezTo>
                <a:cubicBezTo>
                  <a:pt x="191" y="80"/>
                  <a:pt x="192" y="80"/>
                  <a:pt x="192" y="81"/>
                </a:cubicBezTo>
                <a:cubicBezTo>
                  <a:pt x="187" y="83"/>
                  <a:pt x="184" y="85"/>
                  <a:pt x="179" y="89"/>
                </a:cubicBezTo>
                <a:cubicBezTo>
                  <a:pt x="179" y="89"/>
                  <a:pt x="180" y="89"/>
                  <a:pt x="180" y="89"/>
                </a:cubicBezTo>
                <a:cubicBezTo>
                  <a:pt x="181" y="88"/>
                  <a:pt x="181" y="88"/>
                  <a:pt x="183" y="87"/>
                </a:cubicBezTo>
                <a:cubicBezTo>
                  <a:pt x="182" y="88"/>
                  <a:pt x="182" y="89"/>
                  <a:pt x="182" y="90"/>
                </a:cubicBezTo>
                <a:cubicBezTo>
                  <a:pt x="179" y="91"/>
                  <a:pt x="178" y="93"/>
                  <a:pt x="177" y="92"/>
                </a:cubicBezTo>
                <a:cubicBezTo>
                  <a:pt x="176" y="94"/>
                  <a:pt x="174" y="95"/>
                  <a:pt x="172" y="96"/>
                </a:cubicBezTo>
                <a:cubicBezTo>
                  <a:pt x="171" y="96"/>
                  <a:pt x="173" y="94"/>
                  <a:pt x="173" y="94"/>
                </a:cubicBezTo>
                <a:cubicBezTo>
                  <a:pt x="169" y="96"/>
                  <a:pt x="172" y="96"/>
                  <a:pt x="171" y="97"/>
                </a:cubicBezTo>
                <a:cubicBezTo>
                  <a:pt x="171" y="97"/>
                  <a:pt x="172" y="96"/>
                  <a:pt x="173" y="95"/>
                </a:cubicBezTo>
                <a:cubicBezTo>
                  <a:pt x="173" y="96"/>
                  <a:pt x="169" y="100"/>
                  <a:pt x="173" y="97"/>
                </a:cubicBezTo>
                <a:cubicBezTo>
                  <a:pt x="171" y="99"/>
                  <a:pt x="166" y="102"/>
                  <a:pt x="166" y="101"/>
                </a:cubicBezTo>
                <a:cubicBezTo>
                  <a:pt x="169" y="98"/>
                  <a:pt x="167" y="98"/>
                  <a:pt x="169" y="97"/>
                </a:cubicBezTo>
                <a:cubicBezTo>
                  <a:pt x="168" y="96"/>
                  <a:pt x="165" y="99"/>
                  <a:pt x="163" y="101"/>
                </a:cubicBezTo>
                <a:cubicBezTo>
                  <a:pt x="163" y="101"/>
                  <a:pt x="162" y="101"/>
                  <a:pt x="162" y="101"/>
                </a:cubicBezTo>
                <a:cubicBezTo>
                  <a:pt x="162" y="101"/>
                  <a:pt x="163" y="100"/>
                  <a:pt x="163" y="100"/>
                </a:cubicBezTo>
                <a:cubicBezTo>
                  <a:pt x="163" y="100"/>
                  <a:pt x="162" y="100"/>
                  <a:pt x="161" y="101"/>
                </a:cubicBezTo>
                <a:cubicBezTo>
                  <a:pt x="162" y="102"/>
                  <a:pt x="162" y="102"/>
                  <a:pt x="158" y="102"/>
                </a:cubicBezTo>
                <a:cubicBezTo>
                  <a:pt x="157" y="104"/>
                  <a:pt x="161" y="102"/>
                  <a:pt x="157" y="105"/>
                </a:cubicBezTo>
                <a:cubicBezTo>
                  <a:pt x="157" y="104"/>
                  <a:pt x="155" y="105"/>
                  <a:pt x="154" y="106"/>
                </a:cubicBezTo>
                <a:cubicBezTo>
                  <a:pt x="157" y="105"/>
                  <a:pt x="154" y="107"/>
                  <a:pt x="154" y="107"/>
                </a:cubicBezTo>
                <a:cubicBezTo>
                  <a:pt x="152" y="109"/>
                  <a:pt x="153" y="108"/>
                  <a:pt x="151" y="109"/>
                </a:cubicBezTo>
                <a:cubicBezTo>
                  <a:pt x="151" y="109"/>
                  <a:pt x="153" y="108"/>
                  <a:pt x="152" y="108"/>
                </a:cubicBezTo>
                <a:cubicBezTo>
                  <a:pt x="152" y="108"/>
                  <a:pt x="152" y="108"/>
                  <a:pt x="151" y="108"/>
                </a:cubicBezTo>
                <a:cubicBezTo>
                  <a:pt x="150" y="109"/>
                  <a:pt x="151" y="109"/>
                  <a:pt x="150" y="110"/>
                </a:cubicBezTo>
                <a:cubicBezTo>
                  <a:pt x="150" y="111"/>
                  <a:pt x="153" y="108"/>
                  <a:pt x="150" y="111"/>
                </a:cubicBezTo>
                <a:cubicBezTo>
                  <a:pt x="151" y="111"/>
                  <a:pt x="154" y="109"/>
                  <a:pt x="154" y="108"/>
                </a:cubicBezTo>
                <a:cubicBezTo>
                  <a:pt x="154" y="109"/>
                  <a:pt x="156" y="108"/>
                  <a:pt x="156" y="108"/>
                </a:cubicBezTo>
                <a:cubicBezTo>
                  <a:pt x="154" y="110"/>
                  <a:pt x="154" y="109"/>
                  <a:pt x="153" y="110"/>
                </a:cubicBezTo>
                <a:cubicBezTo>
                  <a:pt x="152" y="111"/>
                  <a:pt x="149" y="113"/>
                  <a:pt x="149" y="114"/>
                </a:cubicBezTo>
                <a:cubicBezTo>
                  <a:pt x="150" y="113"/>
                  <a:pt x="153" y="110"/>
                  <a:pt x="154" y="111"/>
                </a:cubicBezTo>
                <a:cubicBezTo>
                  <a:pt x="151" y="113"/>
                  <a:pt x="152" y="113"/>
                  <a:pt x="153" y="113"/>
                </a:cubicBezTo>
                <a:cubicBezTo>
                  <a:pt x="153" y="113"/>
                  <a:pt x="152" y="113"/>
                  <a:pt x="152" y="113"/>
                </a:cubicBezTo>
                <a:cubicBezTo>
                  <a:pt x="152" y="113"/>
                  <a:pt x="152" y="114"/>
                  <a:pt x="152" y="114"/>
                </a:cubicBezTo>
                <a:cubicBezTo>
                  <a:pt x="150" y="114"/>
                  <a:pt x="153" y="111"/>
                  <a:pt x="149" y="114"/>
                </a:cubicBezTo>
                <a:cubicBezTo>
                  <a:pt x="149" y="116"/>
                  <a:pt x="146" y="119"/>
                  <a:pt x="150" y="117"/>
                </a:cubicBezTo>
                <a:cubicBezTo>
                  <a:pt x="149" y="118"/>
                  <a:pt x="149" y="118"/>
                  <a:pt x="149" y="118"/>
                </a:cubicBezTo>
                <a:cubicBezTo>
                  <a:pt x="147" y="120"/>
                  <a:pt x="146" y="119"/>
                  <a:pt x="147" y="118"/>
                </a:cubicBezTo>
                <a:cubicBezTo>
                  <a:pt x="144" y="118"/>
                  <a:pt x="140" y="124"/>
                  <a:pt x="138" y="124"/>
                </a:cubicBezTo>
                <a:cubicBezTo>
                  <a:pt x="139" y="124"/>
                  <a:pt x="136" y="126"/>
                  <a:pt x="136" y="127"/>
                </a:cubicBezTo>
                <a:cubicBezTo>
                  <a:pt x="137" y="127"/>
                  <a:pt x="140" y="125"/>
                  <a:pt x="143" y="122"/>
                </a:cubicBezTo>
                <a:cubicBezTo>
                  <a:pt x="143" y="122"/>
                  <a:pt x="143" y="122"/>
                  <a:pt x="143" y="122"/>
                </a:cubicBezTo>
                <a:cubicBezTo>
                  <a:pt x="144" y="121"/>
                  <a:pt x="142" y="123"/>
                  <a:pt x="144" y="123"/>
                </a:cubicBezTo>
                <a:cubicBezTo>
                  <a:pt x="142" y="122"/>
                  <a:pt x="139" y="127"/>
                  <a:pt x="138" y="126"/>
                </a:cubicBezTo>
                <a:cubicBezTo>
                  <a:pt x="135" y="128"/>
                  <a:pt x="135" y="129"/>
                  <a:pt x="134" y="130"/>
                </a:cubicBezTo>
                <a:cubicBezTo>
                  <a:pt x="137" y="129"/>
                  <a:pt x="137" y="128"/>
                  <a:pt x="139" y="127"/>
                </a:cubicBezTo>
                <a:cubicBezTo>
                  <a:pt x="139" y="128"/>
                  <a:pt x="140" y="127"/>
                  <a:pt x="139" y="128"/>
                </a:cubicBezTo>
                <a:cubicBezTo>
                  <a:pt x="140" y="128"/>
                  <a:pt x="141" y="127"/>
                  <a:pt x="141" y="127"/>
                </a:cubicBezTo>
                <a:cubicBezTo>
                  <a:pt x="142" y="126"/>
                  <a:pt x="142" y="126"/>
                  <a:pt x="142" y="126"/>
                </a:cubicBezTo>
                <a:cubicBezTo>
                  <a:pt x="143" y="125"/>
                  <a:pt x="144" y="125"/>
                  <a:pt x="146" y="123"/>
                </a:cubicBezTo>
                <a:cubicBezTo>
                  <a:pt x="147" y="121"/>
                  <a:pt x="151" y="120"/>
                  <a:pt x="154" y="116"/>
                </a:cubicBezTo>
                <a:cubicBezTo>
                  <a:pt x="159" y="114"/>
                  <a:pt x="160" y="110"/>
                  <a:pt x="162" y="111"/>
                </a:cubicBezTo>
                <a:cubicBezTo>
                  <a:pt x="165" y="107"/>
                  <a:pt x="169" y="106"/>
                  <a:pt x="173" y="103"/>
                </a:cubicBezTo>
                <a:cubicBezTo>
                  <a:pt x="175" y="101"/>
                  <a:pt x="172" y="103"/>
                  <a:pt x="174" y="102"/>
                </a:cubicBezTo>
                <a:cubicBezTo>
                  <a:pt x="175" y="101"/>
                  <a:pt x="176" y="101"/>
                  <a:pt x="178" y="100"/>
                </a:cubicBezTo>
                <a:cubicBezTo>
                  <a:pt x="174" y="104"/>
                  <a:pt x="169" y="106"/>
                  <a:pt x="163" y="111"/>
                </a:cubicBezTo>
                <a:cubicBezTo>
                  <a:pt x="166" y="111"/>
                  <a:pt x="178" y="99"/>
                  <a:pt x="183" y="98"/>
                </a:cubicBezTo>
                <a:cubicBezTo>
                  <a:pt x="183" y="98"/>
                  <a:pt x="180" y="101"/>
                  <a:pt x="183" y="99"/>
                </a:cubicBezTo>
                <a:cubicBezTo>
                  <a:pt x="183" y="100"/>
                  <a:pt x="177" y="103"/>
                  <a:pt x="177" y="104"/>
                </a:cubicBezTo>
                <a:cubicBezTo>
                  <a:pt x="173" y="106"/>
                  <a:pt x="172" y="108"/>
                  <a:pt x="168" y="110"/>
                </a:cubicBezTo>
                <a:cubicBezTo>
                  <a:pt x="168" y="111"/>
                  <a:pt x="168" y="111"/>
                  <a:pt x="168" y="111"/>
                </a:cubicBezTo>
                <a:cubicBezTo>
                  <a:pt x="170" y="109"/>
                  <a:pt x="173" y="108"/>
                  <a:pt x="176" y="106"/>
                </a:cubicBezTo>
                <a:cubicBezTo>
                  <a:pt x="175" y="107"/>
                  <a:pt x="175" y="107"/>
                  <a:pt x="176" y="107"/>
                </a:cubicBezTo>
                <a:cubicBezTo>
                  <a:pt x="173" y="109"/>
                  <a:pt x="173" y="109"/>
                  <a:pt x="169" y="112"/>
                </a:cubicBezTo>
                <a:cubicBezTo>
                  <a:pt x="168" y="112"/>
                  <a:pt x="168" y="112"/>
                  <a:pt x="168" y="112"/>
                </a:cubicBezTo>
                <a:cubicBezTo>
                  <a:pt x="166" y="114"/>
                  <a:pt x="163" y="116"/>
                  <a:pt x="159" y="119"/>
                </a:cubicBezTo>
                <a:cubicBezTo>
                  <a:pt x="160" y="120"/>
                  <a:pt x="165" y="115"/>
                  <a:pt x="166" y="114"/>
                </a:cubicBezTo>
                <a:cubicBezTo>
                  <a:pt x="167" y="114"/>
                  <a:pt x="166" y="114"/>
                  <a:pt x="166" y="114"/>
                </a:cubicBezTo>
                <a:cubicBezTo>
                  <a:pt x="164" y="116"/>
                  <a:pt x="168" y="113"/>
                  <a:pt x="168" y="114"/>
                </a:cubicBezTo>
                <a:cubicBezTo>
                  <a:pt x="169" y="112"/>
                  <a:pt x="172" y="111"/>
                  <a:pt x="175" y="108"/>
                </a:cubicBezTo>
                <a:cubicBezTo>
                  <a:pt x="175" y="109"/>
                  <a:pt x="174" y="110"/>
                  <a:pt x="174" y="110"/>
                </a:cubicBezTo>
                <a:cubicBezTo>
                  <a:pt x="176" y="108"/>
                  <a:pt x="181" y="104"/>
                  <a:pt x="183" y="104"/>
                </a:cubicBezTo>
                <a:cubicBezTo>
                  <a:pt x="185" y="102"/>
                  <a:pt x="189" y="100"/>
                  <a:pt x="190" y="98"/>
                </a:cubicBezTo>
                <a:cubicBezTo>
                  <a:pt x="191" y="98"/>
                  <a:pt x="196" y="95"/>
                  <a:pt x="199" y="93"/>
                </a:cubicBezTo>
                <a:cubicBezTo>
                  <a:pt x="199" y="93"/>
                  <a:pt x="198" y="94"/>
                  <a:pt x="198" y="94"/>
                </a:cubicBezTo>
                <a:cubicBezTo>
                  <a:pt x="203" y="90"/>
                  <a:pt x="208" y="88"/>
                  <a:pt x="215" y="83"/>
                </a:cubicBezTo>
                <a:cubicBezTo>
                  <a:pt x="214" y="84"/>
                  <a:pt x="214" y="85"/>
                  <a:pt x="215" y="84"/>
                </a:cubicBezTo>
                <a:cubicBezTo>
                  <a:pt x="218" y="83"/>
                  <a:pt x="214" y="85"/>
                  <a:pt x="215" y="85"/>
                </a:cubicBezTo>
                <a:cubicBezTo>
                  <a:pt x="212" y="86"/>
                  <a:pt x="211" y="87"/>
                  <a:pt x="208" y="88"/>
                </a:cubicBezTo>
                <a:cubicBezTo>
                  <a:pt x="206" y="89"/>
                  <a:pt x="209" y="88"/>
                  <a:pt x="209" y="89"/>
                </a:cubicBezTo>
                <a:cubicBezTo>
                  <a:pt x="204" y="91"/>
                  <a:pt x="202" y="93"/>
                  <a:pt x="200" y="95"/>
                </a:cubicBezTo>
                <a:cubicBezTo>
                  <a:pt x="198" y="95"/>
                  <a:pt x="196" y="97"/>
                  <a:pt x="194" y="98"/>
                </a:cubicBezTo>
                <a:cubicBezTo>
                  <a:pt x="193" y="99"/>
                  <a:pt x="193" y="99"/>
                  <a:pt x="193" y="99"/>
                </a:cubicBezTo>
                <a:cubicBezTo>
                  <a:pt x="190" y="100"/>
                  <a:pt x="188" y="102"/>
                  <a:pt x="184" y="105"/>
                </a:cubicBezTo>
                <a:cubicBezTo>
                  <a:pt x="184" y="104"/>
                  <a:pt x="184" y="104"/>
                  <a:pt x="184" y="104"/>
                </a:cubicBezTo>
                <a:cubicBezTo>
                  <a:pt x="183" y="105"/>
                  <a:pt x="182" y="106"/>
                  <a:pt x="182" y="106"/>
                </a:cubicBezTo>
                <a:cubicBezTo>
                  <a:pt x="182" y="106"/>
                  <a:pt x="175" y="111"/>
                  <a:pt x="170" y="115"/>
                </a:cubicBezTo>
                <a:cubicBezTo>
                  <a:pt x="170" y="115"/>
                  <a:pt x="170" y="115"/>
                  <a:pt x="170" y="115"/>
                </a:cubicBezTo>
                <a:cubicBezTo>
                  <a:pt x="164" y="119"/>
                  <a:pt x="167" y="119"/>
                  <a:pt x="161" y="123"/>
                </a:cubicBezTo>
                <a:cubicBezTo>
                  <a:pt x="162" y="123"/>
                  <a:pt x="161" y="124"/>
                  <a:pt x="162" y="123"/>
                </a:cubicBezTo>
                <a:cubicBezTo>
                  <a:pt x="161" y="124"/>
                  <a:pt x="156" y="128"/>
                  <a:pt x="156" y="128"/>
                </a:cubicBezTo>
                <a:cubicBezTo>
                  <a:pt x="155" y="128"/>
                  <a:pt x="156" y="129"/>
                  <a:pt x="155" y="130"/>
                </a:cubicBezTo>
                <a:cubicBezTo>
                  <a:pt x="152" y="130"/>
                  <a:pt x="154" y="128"/>
                  <a:pt x="154" y="127"/>
                </a:cubicBezTo>
                <a:cubicBezTo>
                  <a:pt x="151" y="129"/>
                  <a:pt x="154" y="128"/>
                  <a:pt x="151" y="131"/>
                </a:cubicBezTo>
                <a:cubicBezTo>
                  <a:pt x="151" y="131"/>
                  <a:pt x="152" y="130"/>
                  <a:pt x="152" y="131"/>
                </a:cubicBezTo>
                <a:cubicBezTo>
                  <a:pt x="149" y="133"/>
                  <a:pt x="150" y="133"/>
                  <a:pt x="148" y="135"/>
                </a:cubicBezTo>
                <a:cubicBezTo>
                  <a:pt x="146" y="136"/>
                  <a:pt x="146" y="137"/>
                  <a:pt x="145" y="138"/>
                </a:cubicBezTo>
                <a:cubicBezTo>
                  <a:pt x="145" y="137"/>
                  <a:pt x="145" y="137"/>
                  <a:pt x="142" y="139"/>
                </a:cubicBezTo>
                <a:cubicBezTo>
                  <a:pt x="140" y="141"/>
                  <a:pt x="144" y="138"/>
                  <a:pt x="143" y="139"/>
                </a:cubicBezTo>
                <a:cubicBezTo>
                  <a:pt x="142" y="140"/>
                  <a:pt x="139" y="142"/>
                  <a:pt x="141" y="141"/>
                </a:cubicBezTo>
                <a:cubicBezTo>
                  <a:pt x="141" y="141"/>
                  <a:pt x="139" y="143"/>
                  <a:pt x="139" y="142"/>
                </a:cubicBezTo>
                <a:cubicBezTo>
                  <a:pt x="138" y="144"/>
                  <a:pt x="137" y="145"/>
                  <a:pt x="135" y="148"/>
                </a:cubicBezTo>
                <a:cubicBezTo>
                  <a:pt x="139" y="145"/>
                  <a:pt x="143" y="141"/>
                  <a:pt x="147" y="137"/>
                </a:cubicBezTo>
                <a:cubicBezTo>
                  <a:pt x="149" y="137"/>
                  <a:pt x="147" y="138"/>
                  <a:pt x="149" y="137"/>
                </a:cubicBezTo>
                <a:cubicBezTo>
                  <a:pt x="151" y="135"/>
                  <a:pt x="151" y="135"/>
                  <a:pt x="151" y="134"/>
                </a:cubicBezTo>
                <a:cubicBezTo>
                  <a:pt x="154" y="132"/>
                  <a:pt x="152" y="134"/>
                  <a:pt x="151" y="135"/>
                </a:cubicBezTo>
                <a:cubicBezTo>
                  <a:pt x="152" y="135"/>
                  <a:pt x="154" y="133"/>
                  <a:pt x="156" y="132"/>
                </a:cubicBezTo>
                <a:cubicBezTo>
                  <a:pt x="153" y="132"/>
                  <a:pt x="159" y="128"/>
                  <a:pt x="161" y="127"/>
                </a:cubicBezTo>
                <a:cubicBezTo>
                  <a:pt x="163" y="125"/>
                  <a:pt x="159" y="129"/>
                  <a:pt x="157" y="130"/>
                </a:cubicBezTo>
                <a:cubicBezTo>
                  <a:pt x="159" y="130"/>
                  <a:pt x="156" y="132"/>
                  <a:pt x="156" y="133"/>
                </a:cubicBezTo>
                <a:cubicBezTo>
                  <a:pt x="155" y="134"/>
                  <a:pt x="150" y="138"/>
                  <a:pt x="150" y="139"/>
                </a:cubicBezTo>
                <a:cubicBezTo>
                  <a:pt x="148" y="140"/>
                  <a:pt x="146" y="141"/>
                  <a:pt x="145" y="143"/>
                </a:cubicBezTo>
                <a:cubicBezTo>
                  <a:pt x="144" y="143"/>
                  <a:pt x="145" y="143"/>
                  <a:pt x="145" y="142"/>
                </a:cubicBezTo>
                <a:cubicBezTo>
                  <a:pt x="144" y="145"/>
                  <a:pt x="143" y="144"/>
                  <a:pt x="141" y="145"/>
                </a:cubicBezTo>
                <a:cubicBezTo>
                  <a:pt x="139" y="147"/>
                  <a:pt x="142" y="145"/>
                  <a:pt x="142" y="146"/>
                </a:cubicBezTo>
                <a:cubicBezTo>
                  <a:pt x="140" y="147"/>
                  <a:pt x="141" y="147"/>
                  <a:pt x="139" y="148"/>
                </a:cubicBezTo>
                <a:cubicBezTo>
                  <a:pt x="138" y="148"/>
                  <a:pt x="138" y="147"/>
                  <a:pt x="140" y="145"/>
                </a:cubicBezTo>
                <a:cubicBezTo>
                  <a:pt x="140" y="145"/>
                  <a:pt x="139" y="145"/>
                  <a:pt x="139" y="145"/>
                </a:cubicBezTo>
                <a:cubicBezTo>
                  <a:pt x="137" y="148"/>
                  <a:pt x="135" y="150"/>
                  <a:pt x="136" y="151"/>
                </a:cubicBezTo>
                <a:cubicBezTo>
                  <a:pt x="134" y="153"/>
                  <a:pt x="135" y="151"/>
                  <a:pt x="133" y="152"/>
                </a:cubicBezTo>
                <a:cubicBezTo>
                  <a:pt x="133" y="153"/>
                  <a:pt x="134" y="153"/>
                  <a:pt x="131" y="156"/>
                </a:cubicBezTo>
                <a:cubicBezTo>
                  <a:pt x="131" y="155"/>
                  <a:pt x="131" y="155"/>
                  <a:pt x="130" y="155"/>
                </a:cubicBezTo>
                <a:cubicBezTo>
                  <a:pt x="130" y="156"/>
                  <a:pt x="129" y="157"/>
                  <a:pt x="129" y="158"/>
                </a:cubicBezTo>
                <a:cubicBezTo>
                  <a:pt x="125" y="161"/>
                  <a:pt x="122" y="164"/>
                  <a:pt x="119" y="167"/>
                </a:cubicBezTo>
                <a:cubicBezTo>
                  <a:pt x="118" y="168"/>
                  <a:pt x="118" y="168"/>
                  <a:pt x="118" y="168"/>
                </a:cubicBezTo>
                <a:cubicBezTo>
                  <a:pt x="116" y="169"/>
                  <a:pt x="117" y="169"/>
                  <a:pt x="115" y="171"/>
                </a:cubicBezTo>
                <a:cubicBezTo>
                  <a:pt x="113" y="171"/>
                  <a:pt x="111" y="174"/>
                  <a:pt x="109" y="175"/>
                </a:cubicBezTo>
                <a:cubicBezTo>
                  <a:pt x="110" y="174"/>
                  <a:pt x="110" y="174"/>
                  <a:pt x="110" y="173"/>
                </a:cubicBezTo>
                <a:cubicBezTo>
                  <a:pt x="114" y="170"/>
                  <a:pt x="118" y="163"/>
                  <a:pt x="121" y="162"/>
                </a:cubicBezTo>
                <a:cubicBezTo>
                  <a:pt x="125" y="157"/>
                  <a:pt x="129" y="153"/>
                  <a:pt x="133" y="151"/>
                </a:cubicBezTo>
                <a:cubicBezTo>
                  <a:pt x="134" y="150"/>
                  <a:pt x="134" y="149"/>
                  <a:pt x="134" y="149"/>
                </a:cubicBezTo>
                <a:cubicBezTo>
                  <a:pt x="134" y="148"/>
                  <a:pt x="130" y="152"/>
                  <a:pt x="130" y="150"/>
                </a:cubicBezTo>
                <a:cubicBezTo>
                  <a:pt x="131" y="150"/>
                  <a:pt x="131" y="150"/>
                  <a:pt x="131" y="150"/>
                </a:cubicBezTo>
                <a:cubicBezTo>
                  <a:pt x="133" y="149"/>
                  <a:pt x="133" y="148"/>
                  <a:pt x="135" y="147"/>
                </a:cubicBezTo>
                <a:cubicBezTo>
                  <a:pt x="126" y="153"/>
                  <a:pt x="125" y="155"/>
                  <a:pt x="119" y="161"/>
                </a:cubicBezTo>
                <a:cubicBezTo>
                  <a:pt x="118" y="160"/>
                  <a:pt x="122" y="157"/>
                  <a:pt x="123" y="155"/>
                </a:cubicBezTo>
                <a:cubicBezTo>
                  <a:pt x="121" y="157"/>
                  <a:pt x="123" y="155"/>
                  <a:pt x="121" y="156"/>
                </a:cubicBezTo>
                <a:cubicBezTo>
                  <a:pt x="121" y="155"/>
                  <a:pt x="123" y="153"/>
                  <a:pt x="123" y="153"/>
                </a:cubicBezTo>
                <a:cubicBezTo>
                  <a:pt x="125" y="151"/>
                  <a:pt x="125" y="153"/>
                  <a:pt x="123" y="155"/>
                </a:cubicBezTo>
                <a:cubicBezTo>
                  <a:pt x="123" y="155"/>
                  <a:pt x="127" y="151"/>
                  <a:pt x="125" y="153"/>
                </a:cubicBezTo>
                <a:cubicBezTo>
                  <a:pt x="128" y="151"/>
                  <a:pt x="128" y="151"/>
                  <a:pt x="131" y="148"/>
                </a:cubicBezTo>
                <a:cubicBezTo>
                  <a:pt x="132" y="145"/>
                  <a:pt x="130" y="145"/>
                  <a:pt x="125" y="149"/>
                </a:cubicBezTo>
                <a:cubicBezTo>
                  <a:pt x="120" y="156"/>
                  <a:pt x="111" y="162"/>
                  <a:pt x="106" y="170"/>
                </a:cubicBezTo>
                <a:cubicBezTo>
                  <a:pt x="104" y="170"/>
                  <a:pt x="103" y="171"/>
                  <a:pt x="102" y="172"/>
                </a:cubicBezTo>
                <a:cubicBezTo>
                  <a:pt x="101" y="173"/>
                  <a:pt x="100" y="174"/>
                  <a:pt x="100" y="174"/>
                </a:cubicBezTo>
                <a:cubicBezTo>
                  <a:pt x="100" y="175"/>
                  <a:pt x="100" y="175"/>
                  <a:pt x="99" y="176"/>
                </a:cubicBezTo>
                <a:cubicBezTo>
                  <a:pt x="100" y="176"/>
                  <a:pt x="100" y="176"/>
                  <a:pt x="100" y="175"/>
                </a:cubicBezTo>
                <a:cubicBezTo>
                  <a:pt x="101" y="176"/>
                  <a:pt x="99" y="176"/>
                  <a:pt x="100" y="177"/>
                </a:cubicBezTo>
                <a:cubicBezTo>
                  <a:pt x="99" y="176"/>
                  <a:pt x="98" y="175"/>
                  <a:pt x="97" y="175"/>
                </a:cubicBezTo>
                <a:cubicBezTo>
                  <a:pt x="97" y="175"/>
                  <a:pt x="97" y="176"/>
                  <a:pt x="97" y="176"/>
                </a:cubicBezTo>
                <a:cubicBezTo>
                  <a:pt x="97" y="175"/>
                  <a:pt x="96" y="177"/>
                  <a:pt x="96" y="176"/>
                </a:cubicBezTo>
                <a:cubicBezTo>
                  <a:pt x="97" y="175"/>
                  <a:pt x="97" y="174"/>
                  <a:pt x="98" y="175"/>
                </a:cubicBezTo>
                <a:cubicBezTo>
                  <a:pt x="98" y="174"/>
                  <a:pt x="97" y="174"/>
                  <a:pt x="98" y="174"/>
                </a:cubicBezTo>
                <a:cubicBezTo>
                  <a:pt x="97" y="173"/>
                  <a:pt x="96" y="175"/>
                  <a:pt x="95" y="176"/>
                </a:cubicBezTo>
                <a:cubicBezTo>
                  <a:pt x="95" y="176"/>
                  <a:pt x="95" y="177"/>
                  <a:pt x="94" y="177"/>
                </a:cubicBezTo>
                <a:cubicBezTo>
                  <a:pt x="95" y="178"/>
                  <a:pt x="95" y="177"/>
                  <a:pt x="96" y="177"/>
                </a:cubicBezTo>
                <a:cubicBezTo>
                  <a:pt x="95" y="178"/>
                  <a:pt x="95" y="178"/>
                  <a:pt x="94" y="178"/>
                </a:cubicBezTo>
                <a:cubicBezTo>
                  <a:pt x="94" y="179"/>
                  <a:pt x="95" y="179"/>
                  <a:pt x="95" y="179"/>
                </a:cubicBezTo>
                <a:cubicBezTo>
                  <a:pt x="94" y="179"/>
                  <a:pt x="92" y="179"/>
                  <a:pt x="92" y="180"/>
                </a:cubicBezTo>
                <a:cubicBezTo>
                  <a:pt x="92" y="180"/>
                  <a:pt x="92" y="180"/>
                  <a:pt x="93" y="180"/>
                </a:cubicBezTo>
                <a:cubicBezTo>
                  <a:pt x="93" y="180"/>
                  <a:pt x="93" y="181"/>
                  <a:pt x="93" y="181"/>
                </a:cubicBezTo>
                <a:cubicBezTo>
                  <a:pt x="92" y="181"/>
                  <a:pt x="92" y="180"/>
                  <a:pt x="92" y="181"/>
                </a:cubicBezTo>
                <a:cubicBezTo>
                  <a:pt x="91" y="181"/>
                  <a:pt x="92" y="181"/>
                  <a:pt x="92" y="181"/>
                </a:cubicBezTo>
                <a:cubicBezTo>
                  <a:pt x="92" y="182"/>
                  <a:pt x="91" y="181"/>
                  <a:pt x="91" y="182"/>
                </a:cubicBezTo>
                <a:cubicBezTo>
                  <a:pt x="90" y="182"/>
                  <a:pt x="90" y="183"/>
                  <a:pt x="89" y="183"/>
                </a:cubicBezTo>
                <a:cubicBezTo>
                  <a:pt x="89" y="183"/>
                  <a:pt x="90" y="182"/>
                  <a:pt x="90" y="183"/>
                </a:cubicBezTo>
                <a:cubicBezTo>
                  <a:pt x="89" y="183"/>
                  <a:pt x="89" y="183"/>
                  <a:pt x="88" y="183"/>
                </a:cubicBezTo>
                <a:cubicBezTo>
                  <a:pt x="87" y="184"/>
                  <a:pt x="88" y="184"/>
                  <a:pt x="88" y="184"/>
                </a:cubicBezTo>
                <a:cubicBezTo>
                  <a:pt x="87" y="184"/>
                  <a:pt x="87" y="186"/>
                  <a:pt x="86" y="186"/>
                </a:cubicBezTo>
                <a:cubicBezTo>
                  <a:pt x="86" y="186"/>
                  <a:pt x="86" y="186"/>
                  <a:pt x="86" y="186"/>
                </a:cubicBezTo>
                <a:cubicBezTo>
                  <a:pt x="86" y="186"/>
                  <a:pt x="86" y="186"/>
                  <a:pt x="85" y="186"/>
                </a:cubicBezTo>
                <a:cubicBezTo>
                  <a:pt x="85" y="186"/>
                  <a:pt x="86" y="186"/>
                  <a:pt x="86" y="186"/>
                </a:cubicBezTo>
                <a:cubicBezTo>
                  <a:pt x="84" y="188"/>
                  <a:pt x="83" y="190"/>
                  <a:pt x="81" y="192"/>
                </a:cubicBezTo>
                <a:cubicBezTo>
                  <a:pt x="81" y="192"/>
                  <a:pt x="81" y="192"/>
                  <a:pt x="81" y="192"/>
                </a:cubicBezTo>
                <a:cubicBezTo>
                  <a:pt x="81" y="193"/>
                  <a:pt x="82" y="192"/>
                  <a:pt x="81" y="193"/>
                </a:cubicBezTo>
                <a:cubicBezTo>
                  <a:pt x="81" y="193"/>
                  <a:pt x="81" y="193"/>
                  <a:pt x="81" y="193"/>
                </a:cubicBezTo>
                <a:cubicBezTo>
                  <a:pt x="80" y="193"/>
                  <a:pt x="80" y="194"/>
                  <a:pt x="80" y="193"/>
                </a:cubicBezTo>
                <a:cubicBezTo>
                  <a:pt x="79" y="193"/>
                  <a:pt x="81" y="192"/>
                  <a:pt x="80" y="192"/>
                </a:cubicBezTo>
                <a:cubicBezTo>
                  <a:pt x="80" y="191"/>
                  <a:pt x="80" y="192"/>
                  <a:pt x="80" y="192"/>
                </a:cubicBezTo>
                <a:cubicBezTo>
                  <a:pt x="79" y="191"/>
                  <a:pt x="80" y="191"/>
                  <a:pt x="81" y="190"/>
                </a:cubicBezTo>
                <a:cubicBezTo>
                  <a:pt x="81" y="191"/>
                  <a:pt x="80" y="191"/>
                  <a:pt x="81" y="191"/>
                </a:cubicBezTo>
                <a:cubicBezTo>
                  <a:pt x="81" y="191"/>
                  <a:pt x="82" y="191"/>
                  <a:pt x="82" y="190"/>
                </a:cubicBezTo>
                <a:cubicBezTo>
                  <a:pt x="82" y="190"/>
                  <a:pt x="81" y="191"/>
                  <a:pt x="81" y="190"/>
                </a:cubicBezTo>
                <a:cubicBezTo>
                  <a:pt x="81" y="189"/>
                  <a:pt x="82" y="190"/>
                  <a:pt x="82" y="190"/>
                </a:cubicBezTo>
                <a:cubicBezTo>
                  <a:pt x="83" y="189"/>
                  <a:pt x="82" y="189"/>
                  <a:pt x="81" y="189"/>
                </a:cubicBezTo>
                <a:cubicBezTo>
                  <a:pt x="81" y="189"/>
                  <a:pt x="81" y="190"/>
                  <a:pt x="81" y="190"/>
                </a:cubicBezTo>
                <a:cubicBezTo>
                  <a:pt x="80" y="190"/>
                  <a:pt x="82" y="188"/>
                  <a:pt x="82" y="188"/>
                </a:cubicBezTo>
                <a:cubicBezTo>
                  <a:pt x="83" y="188"/>
                  <a:pt x="82" y="189"/>
                  <a:pt x="82" y="189"/>
                </a:cubicBezTo>
                <a:cubicBezTo>
                  <a:pt x="83" y="189"/>
                  <a:pt x="83" y="188"/>
                  <a:pt x="83" y="189"/>
                </a:cubicBezTo>
                <a:cubicBezTo>
                  <a:pt x="83" y="188"/>
                  <a:pt x="83" y="188"/>
                  <a:pt x="83" y="187"/>
                </a:cubicBezTo>
                <a:cubicBezTo>
                  <a:pt x="86" y="183"/>
                  <a:pt x="86" y="183"/>
                  <a:pt x="86" y="183"/>
                </a:cubicBezTo>
                <a:cubicBezTo>
                  <a:pt x="86" y="184"/>
                  <a:pt x="86" y="183"/>
                  <a:pt x="87" y="184"/>
                </a:cubicBezTo>
                <a:cubicBezTo>
                  <a:pt x="87" y="183"/>
                  <a:pt x="87" y="183"/>
                  <a:pt x="86" y="183"/>
                </a:cubicBezTo>
                <a:cubicBezTo>
                  <a:pt x="87" y="183"/>
                  <a:pt x="86" y="182"/>
                  <a:pt x="87" y="182"/>
                </a:cubicBezTo>
                <a:cubicBezTo>
                  <a:pt x="87" y="182"/>
                  <a:pt x="87" y="182"/>
                  <a:pt x="87" y="183"/>
                </a:cubicBezTo>
                <a:cubicBezTo>
                  <a:pt x="88" y="182"/>
                  <a:pt x="87" y="182"/>
                  <a:pt x="87" y="182"/>
                </a:cubicBezTo>
                <a:cubicBezTo>
                  <a:pt x="89" y="179"/>
                  <a:pt x="92" y="175"/>
                  <a:pt x="95" y="172"/>
                </a:cubicBezTo>
                <a:cubicBezTo>
                  <a:pt x="95" y="172"/>
                  <a:pt x="95" y="172"/>
                  <a:pt x="95" y="172"/>
                </a:cubicBezTo>
                <a:cubicBezTo>
                  <a:pt x="95" y="172"/>
                  <a:pt x="95" y="171"/>
                  <a:pt x="95" y="171"/>
                </a:cubicBezTo>
                <a:cubicBezTo>
                  <a:pt x="95" y="170"/>
                  <a:pt x="95" y="171"/>
                  <a:pt x="95" y="171"/>
                </a:cubicBezTo>
                <a:cubicBezTo>
                  <a:pt x="95" y="171"/>
                  <a:pt x="95" y="171"/>
                  <a:pt x="95" y="170"/>
                </a:cubicBezTo>
                <a:cubicBezTo>
                  <a:pt x="94" y="170"/>
                  <a:pt x="94" y="170"/>
                  <a:pt x="94" y="171"/>
                </a:cubicBezTo>
                <a:cubicBezTo>
                  <a:pt x="93" y="170"/>
                  <a:pt x="94" y="169"/>
                  <a:pt x="95" y="169"/>
                </a:cubicBezTo>
                <a:cubicBezTo>
                  <a:pt x="95" y="169"/>
                  <a:pt x="94" y="169"/>
                  <a:pt x="95" y="170"/>
                </a:cubicBezTo>
                <a:cubicBezTo>
                  <a:pt x="95" y="170"/>
                  <a:pt x="95" y="169"/>
                  <a:pt x="95" y="169"/>
                </a:cubicBezTo>
                <a:cubicBezTo>
                  <a:pt x="96" y="170"/>
                  <a:pt x="95" y="170"/>
                  <a:pt x="95" y="170"/>
                </a:cubicBezTo>
                <a:cubicBezTo>
                  <a:pt x="96" y="170"/>
                  <a:pt x="96" y="170"/>
                  <a:pt x="96" y="170"/>
                </a:cubicBezTo>
                <a:cubicBezTo>
                  <a:pt x="96" y="168"/>
                  <a:pt x="103" y="164"/>
                  <a:pt x="102" y="163"/>
                </a:cubicBezTo>
                <a:cubicBezTo>
                  <a:pt x="105" y="161"/>
                  <a:pt x="102" y="163"/>
                  <a:pt x="105" y="161"/>
                </a:cubicBezTo>
                <a:cubicBezTo>
                  <a:pt x="107" y="157"/>
                  <a:pt x="113" y="152"/>
                  <a:pt x="118" y="147"/>
                </a:cubicBezTo>
                <a:cubicBezTo>
                  <a:pt x="116" y="151"/>
                  <a:pt x="121" y="145"/>
                  <a:pt x="123" y="143"/>
                </a:cubicBezTo>
                <a:cubicBezTo>
                  <a:pt x="123" y="143"/>
                  <a:pt x="123" y="143"/>
                  <a:pt x="123" y="143"/>
                </a:cubicBezTo>
                <a:cubicBezTo>
                  <a:pt x="124" y="142"/>
                  <a:pt x="124" y="143"/>
                  <a:pt x="126" y="141"/>
                </a:cubicBezTo>
                <a:cubicBezTo>
                  <a:pt x="124" y="141"/>
                  <a:pt x="130" y="137"/>
                  <a:pt x="128" y="138"/>
                </a:cubicBezTo>
                <a:cubicBezTo>
                  <a:pt x="129" y="136"/>
                  <a:pt x="131" y="136"/>
                  <a:pt x="131" y="136"/>
                </a:cubicBezTo>
                <a:cubicBezTo>
                  <a:pt x="132" y="135"/>
                  <a:pt x="131" y="135"/>
                  <a:pt x="131" y="135"/>
                </a:cubicBezTo>
                <a:cubicBezTo>
                  <a:pt x="133" y="134"/>
                  <a:pt x="133" y="133"/>
                  <a:pt x="136" y="131"/>
                </a:cubicBezTo>
                <a:cubicBezTo>
                  <a:pt x="135" y="132"/>
                  <a:pt x="136" y="132"/>
                  <a:pt x="137" y="131"/>
                </a:cubicBezTo>
                <a:cubicBezTo>
                  <a:pt x="141" y="128"/>
                  <a:pt x="136" y="130"/>
                  <a:pt x="139" y="128"/>
                </a:cubicBezTo>
                <a:cubicBezTo>
                  <a:pt x="138" y="128"/>
                  <a:pt x="136" y="130"/>
                  <a:pt x="135" y="130"/>
                </a:cubicBezTo>
                <a:cubicBezTo>
                  <a:pt x="134" y="131"/>
                  <a:pt x="134" y="132"/>
                  <a:pt x="134" y="132"/>
                </a:cubicBezTo>
                <a:cubicBezTo>
                  <a:pt x="130" y="134"/>
                  <a:pt x="128" y="137"/>
                  <a:pt x="123" y="141"/>
                </a:cubicBezTo>
                <a:cubicBezTo>
                  <a:pt x="122" y="141"/>
                  <a:pt x="121" y="143"/>
                  <a:pt x="122" y="141"/>
                </a:cubicBezTo>
                <a:cubicBezTo>
                  <a:pt x="121" y="142"/>
                  <a:pt x="120" y="143"/>
                  <a:pt x="117" y="145"/>
                </a:cubicBezTo>
                <a:cubicBezTo>
                  <a:pt x="121" y="141"/>
                  <a:pt x="127" y="135"/>
                  <a:pt x="130" y="134"/>
                </a:cubicBezTo>
                <a:cubicBezTo>
                  <a:pt x="131" y="133"/>
                  <a:pt x="130" y="132"/>
                  <a:pt x="131" y="132"/>
                </a:cubicBezTo>
                <a:cubicBezTo>
                  <a:pt x="129" y="133"/>
                  <a:pt x="130" y="133"/>
                  <a:pt x="128" y="135"/>
                </a:cubicBezTo>
                <a:cubicBezTo>
                  <a:pt x="131" y="131"/>
                  <a:pt x="126" y="134"/>
                  <a:pt x="127" y="132"/>
                </a:cubicBezTo>
                <a:cubicBezTo>
                  <a:pt x="125" y="133"/>
                  <a:pt x="125" y="133"/>
                  <a:pt x="125" y="133"/>
                </a:cubicBezTo>
                <a:cubicBezTo>
                  <a:pt x="124" y="134"/>
                  <a:pt x="127" y="133"/>
                  <a:pt x="125" y="135"/>
                </a:cubicBezTo>
                <a:cubicBezTo>
                  <a:pt x="126" y="134"/>
                  <a:pt x="126" y="134"/>
                  <a:pt x="126" y="134"/>
                </a:cubicBezTo>
                <a:cubicBezTo>
                  <a:pt x="113" y="146"/>
                  <a:pt x="113" y="146"/>
                  <a:pt x="113" y="146"/>
                </a:cubicBezTo>
                <a:cubicBezTo>
                  <a:pt x="112" y="146"/>
                  <a:pt x="112" y="146"/>
                  <a:pt x="113" y="145"/>
                </a:cubicBezTo>
                <a:cubicBezTo>
                  <a:pt x="111" y="147"/>
                  <a:pt x="111" y="147"/>
                  <a:pt x="111" y="147"/>
                </a:cubicBezTo>
                <a:cubicBezTo>
                  <a:pt x="111" y="148"/>
                  <a:pt x="112" y="146"/>
                  <a:pt x="113" y="146"/>
                </a:cubicBezTo>
                <a:cubicBezTo>
                  <a:pt x="113" y="147"/>
                  <a:pt x="111" y="147"/>
                  <a:pt x="110" y="148"/>
                </a:cubicBezTo>
                <a:cubicBezTo>
                  <a:pt x="106" y="153"/>
                  <a:pt x="106" y="153"/>
                  <a:pt x="106" y="153"/>
                </a:cubicBezTo>
                <a:cubicBezTo>
                  <a:pt x="106" y="150"/>
                  <a:pt x="103" y="155"/>
                  <a:pt x="100" y="157"/>
                </a:cubicBezTo>
                <a:cubicBezTo>
                  <a:pt x="101" y="156"/>
                  <a:pt x="104" y="154"/>
                  <a:pt x="104" y="152"/>
                </a:cubicBezTo>
                <a:cubicBezTo>
                  <a:pt x="108" y="149"/>
                  <a:pt x="109" y="148"/>
                  <a:pt x="111" y="145"/>
                </a:cubicBezTo>
                <a:cubicBezTo>
                  <a:pt x="110" y="145"/>
                  <a:pt x="109" y="147"/>
                  <a:pt x="108" y="148"/>
                </a:cubicBezTo>
                <a:cubicBezTo>
                  <a:pt x="108" y="145"/>
                  <a:pt x="106" y="148"/>
                  <a:pt x="103" y="152"/>
                </a:cubicBezTo>
                <a:cubicBezTo>
                  <a:pt x="105" y="150"/>
                  <a:pt x="103" y="150"/>
                  <a:pt x="101" y="151"/>
                </a:cubicBezTo>
                <a:cubicBezTo>
                  <a:pt x="103" y="149"/>
                  <a:pt x="103" y="149"/>
                  <a:pt x="104" y="149"/>
                </a:cubicBezTo>
                <a:cubicBezTo>
                  <a:pt x="105" y="148"/>
                  <a:pt x="105" y="147"/>
                  <a:pt x="107" y="145"/>
                </a:cubicBezTo>
                <a:cubicBezTo>
                  <a:pt x="108" y="144"/>
                  <a:pt x="108" y="146"/>
                  <a:pt x="109" y="144"/>
                </a:cubicBezTo>
                <a:cubicBezTo>
                  <a:pt x="111" y="142"/>
                  <a:pt x="109" y="141"/>
                  <a:pt x="113" y="139"/>
                </a:cubicBezTo>
                <a:cubicBezTo>
                  <a:pt x="113" y="139"/>
                  <a:pt x="111" y="141"/>
                  <a:pt x="111" y="141"/>
                </a:cubicBezTo>
                <a:cubicBezTo>
                  <a:pt x="114" y="139"/>
                  <a:pt x="114" y="138"/>
                  <a:pt x="113" y="138"/>
                </a:cubicBezTo>
                <a:cubicBezTo>
                  <a:pt x="115" y="136"/>
                  <a:pt x="115" y="137"/>
                  <a:pt x="115" y="137"/>
                </a:cubicBezTo>
                <a:cubicBezTo>
                  <a:pt x="115" y="136"/>
                  <a:pt x="118" y="134"/>
                  <a:pt x="118" y="133"/>
                </a:cubicBezTo>
                <a:cubicBezTo>
                  <a:pt x="118" y="133"/>
                  <a:pt x="116" y="134"/>
                  <a:pt x="115" y="135"/>
                </a:cubicBezTo>
                <a:cubicBezTo>
                  <a:pt x="116" y="134"/>
                  <a:pt x="116" y="134"/>
                  <a:pt x="117" y="132"/>
                </a:cubicBezTo>
                <a:cubicBezTo>
                  <a:pt x="115" y="134"/>
                  <a:pt x="115" y="134"/>
                  <a:pt x="116" y="132"/>
                </a:cubicBezTo>
                <a:cubicBezTo>
                  <a:pt x="115" y="132"/>
                  <a:pt x="115" y="132"/>
                  <a:pt x="115" y="132"/>
                </a:cubicBezTo>
                <a:cubicBezTo>
                  <a:pt x="114" y="133"/>
                  <a:pt x="113" y="134"/>
                  <a:pt x="112" y="135"/>
                </a:cubicBezTo>
                <a:cubicBezTo>
                  <a:pt x="111" y="136"/>
                  <a:pt x="112" y="134"/>
                  <a:pt x="109" y="137"/>
                </a:cubicBezTo>
                <a:cubicBezTo>
                  <a:pt x="111" y="135"/>
                  <a:pt x="109" y="136"/>
                  <a:pt x="110" y="134"/>
                </a:cubicBezTo>
                <a:cubicBezTo>
                  <a:pt x="112" y="133"/>
                  <a:pt x="110" y="133"/>
                  <a:pt x="111" y="133"/>
                </a:cubicBezTo>
                <a:cubicBezTo>
                  <a:pt x="112" y="131"/>
                  <a:pt x="115" y="128"/>
                  <a:pt x="116" y="127"/>
                </a:cubicBezTo>
                <a:cubicBezTo>
                  <a:pt x="118" y="126"/>
                  <a:pt x="119" y="125"/>
                  <a:pt x="120" y="126"/>
                </a:cubicBezTo>
                <a:cubicBezTo>
                  <a:pt x="121" y="125"/>
                  <a:pt x="121" y="124"/>
                  <a:pt x="121" y="124"/>
                </a:cubicBezTo>
                <a:cubicBezTo>
                  <a:pt x="121" y="124"/>
                  <a:pt x="119" y="125"/>
                  <a:pt x="119" y="124"/>
                </a:cubicBezTo>
                <a:cubicBezTo>
                  <a:pt x="122" y="121"/>
                  <a:pt x="125" y="119"/>
                  <a:pt x="126" y="117"/>
                </a:cubicBezTo>
                <a:cubicBezTo>
                  <a:pt x="127" y="116"/>
                  <a:pt x="127" y="116"/>
                  <a:pt x="128" y="116"/>
                </a:cubicBezTo>
                <a:cubicBezTo>
                  <a:pt x="142" y="104"/>
                  <a:pt x="148" y="99"/>
                  <a:pt x="162" y="88"/>
                </a:cubicBezTo>
                <a:cubicBezTo>
                  <a:pt x="163" y="89"/>
                  <a:pt x="163" y="89"/>
                  <a:pt x="164" y="88"/>
                </a:cubicBezTo>
                <a:cubicBezTo>
                  <a:pt x="166" y="86"/>
                  <a:pt x="163" y="88"/>
                  <a:pt x="163" y="88"/>
                </a:cubicBezTo>
                <a:cubicBezTo>
                  <a:pt x="175" y="79"/>
                  <a:pt x="184" y="73"/>
                  <a:pt x="197" y="65"/>
                </a:cubicBezTo>
                <a:cubicBezTo>
                  <a:pt x="197" y="65"/>
                  <a:pt x="196" y="65"/>
                  <a:pt x="195" y="66"/>
                </a:cubicBezTo>
                <a:cubicBezTo>
                  <a:pt x="196" y="65"/>
                  <a:pt x="197" y="65"/>
                  <a:pt x="199" y="63"/>
                </a:cubicBezTo>
                <a:cubicBezTo>
                  <a:pt x="199" y="64"/>
                  <a:pt x="199" y="64"/>
                  <a:pt x="201" y="63"/>
                </a:cubicBezTo>
                <a:cubicBezTo>
                  <a:pt x="202" y="63"/>
                  <a:pt x="201" y="62"/>
                  <a:pt x="201" y="62"/>
                </a:cubicBezTo>
                <a:cubicBezTo>
                  <a:pt x="203" y="61"/>
                  <a:pt x="203" y="61"/>
                  <a:pt x="203" y="62"/>
                </a:cubicBezTo>
                <a:cubicBezTo>
                  <a:pt x="207" y="60"/>
                  <a:pt x="211" y="58"/>
                  <a:pt x="214" y="56"/>
                </a:cubicBezTo>
                <a:cubicBezTo>
                  <a:pt x="213" y="56"/>
                  <a:pt x="212" y="57"/>
                  <a:pt x="210" y="57"/>
                </a:cubicBezTo>
                <a:cubicBezTo>
                  <a:pt x="214" y="54"/>
                  <a:pt x="214" y="57"/>
                  <a:pt x="222" y="53"/>
                </a:cubicBezTo>
                <a:cubicBezTo>
                  <a:pt x="222" y="52"/>
                  <a:pt x="218" y="54"/>
                  <a:pt x="217" y="54"/>
                </a:cubicBezTo>
                <a:cubicBezTo>
                  <a:pt x="219" y="52"/>
                  <a:pt x="216" y="54"/>
                  <a:pt x="216" y="53"/>
                </a:cubicBezTo>
                <a:cubicBezTo>
                  <a:pt x="215" y="53"/>
                  <a:pt x="214" y="54"/>
                  <a:pt x="214" y="54"/>
                </a:cubicBezTo>
                <a:cubicBezTo>
                  <a:pt x="212" y="54"/>
                  <a:pt x="215" y="53"/>
                  <a:pt x="210" y="56"/>
                </a:cubicBezTo>
                <a:cubicBezTo>
                  <a:pt x="211" y="54"/>
                  <a:pt x="217" y="52"/>
                  <a:pt x="219" y="50"/>
                </a:cubicBezTo>
                <a:cubicBezTo>
                  <a:pt x="220" y="50"/>
                  <a:pt x="219" y="51"/>
                  <a:pt x="221" y="50"/>
                </a:cubicBezTo>
                <a:cubicBezTo>
                  <a:pt x="227" y="46"/>
                  <a:pt x="237" y="41"/>
                  <a:pt x="245" y="39"/>
                </a:cubicBezTo>
                <a:cubicBezTo>
                  <a:pt x="246" y="40"/>
                  <a:pt x="242" y="40"/>
                  <a:pt x="241" y="41"/>
                </a:cubicBezTo>
                <a:cubicBezTo>
                  <a:pt x="242" y="41"/>
                  <a:pt x="244" y="40"/>
                  <a:pt x="245" y="40"/>
                </a:cubicBezTo>
                <a:cubicBezTo>
                  <a:pt x="247" y="39"/>
                  <a:pt x="249" y="39"/>
                  <a:pt x="254" y="37"/>
                </a:cubicBezTo>
                <a:cubicBezTo>
                  <a:pt x="252" y="37"/>
                  <a:pt x="247" y="38"/>
                  <a:pt x="253" y="36"/>
                </a:cubicBezTo>
                <a:cubicBezTo>
                  <a:pt x="252" y="36"/>
                  <a:pt x="250" y="37"/>
                  <a:pt x="251" y="36"/>
                </a:cubicBezTo>
                <a:cubicBezTo>
                  <a:pt x="252" y="36"/>
                  <a:pt x="254" y="35"/>
                  <a:pt x="255" y="35"/>
                </a:cubicBezTo>
                <a:cubicBezTo>
                  <a:pt x="257" y="35"/>
                  <a:pt x="255" y="34"/>
                  <a:pt x="258" y="33"/>
                </a:cubicBezTo>
                <a:cubicBezTo>
                  <a:pt x="259" y="34"/>
                  <a:pt x="259" y="34"/>
                  <a:pt x="259" y="34"/>
                </a:cubicBezTo>
                <a:cubicBezTo>
                  <a:pt x="263" y="32"/>
                  <a:pt x="265" y="32"/>
                  <a:pt x="267" y="31"/>
                </a:cubicBezTo>
                <a:cubicBezTo>
                  <a:pt x="273" y="28"/>
                  <a:pt x="273" y="30"/>
                  <a:pt x="279" y="27"/>
                </a:cubicBezTo>
                <a:cubicBezTo>
                  <a:pt x="280" y="27"/>
                  <a:pt x="279" y="27"/>
                  <a:pt x="279" y="28"/>
                </a:cubicBezTo>
                <a:cubicBezTo>
                  <a:pt x="282" y="27"/>
                  <a:pt x="285" y="26"/>
                  <a:pt x="285" y="25"/>
                </a:cubicBezTo>
                <a:cubicBezTo>
                  <a:pt x="288" y="26"/>
                  <a:pt x="294" y="23"/>
                  <a:pt x="301" y="22"/>
                </a:cubicBezTo>
                <a:cubicBezTo>
                  <a:pt x="301" y="21"/>
                  <a:pt x="301" y="21"/>
                  <a:pt x="301" y="21"/>
                </a:cubicBezTo>
                <a:cubicBezTo>
                  <a:pt x="301" y="21"/>
                  <a:pt x="297" y="22"/>
                  <a:pt x="296" y="22"/>
                </a:cubicBezTo>
                <a:cubicBezTo>
                  <a:pt x="298" y="21"/>
                  <a:pt x="297" y="22"/>
                  <a:pt x="298" y="21"/>
                </a:cubicBezTo>
                <a:cubicBezTo>
                  <a:pt x="301" y="20"/>
                  <a:pt x="301" y="20"/>
                  <a:pt x="301" y="20"/>
                </a:cubicBezTo>
                <a:cubicBezTo>
                  <a:pt x="301" y="20"/>
                  <a:pt x="297" y="21"/>
                  <a:pt x="297" y="21"/>
                </a:cubicBezTo>
                <a:cubicBezTo>
                  <a:pt x="300" y="19"/>
                  <a:pt x="301" y="19"/>
                  <a:pt x="305" y="18"/>
                </a:cubicBezTo>
                <a:cubicBezTo>
                  <a:pt x="305" y="19"/>
                  <a:pt x="307" y="18"/>
                  <a:pt x="306" y="19"/>
                </a:cubicBezTo>
                <a:cubicBezTo>
                  <a:pt x="308" y="18"/>
                  <a:pt x="309" y="17"/>
                  <a:pt x="309" y="18"/>
                </a:cubicBezTo>
                <a:cubicBezTo>
                  <a:pt x="316" y="16"/>
                  <a:pt x="316" y="16"/>
                  <a:pt x="322" y="15"/>
                </a:cubicBezTo>
                <a:cubicBezTo>
                  <a:pt x="325" y="15"/>
                  <a:pt x="325" y="14"/>
                  <a:pt x="327" y="13"/>
                </a:cubicBezTo>
                <a:cubicBezTo>
                  <a:pt x="329" y="12"/>
                  <a:pt x="329" y="13"/>
                  <a:pt x="330" y="13"/>
                </a:cubicBezTo>
                <a:cubicBezTo>
                  <a:pt x="332" y="13"/>
                  <a:pt x="332" y="12"/>
                  <a:pt x="334" y="12"/>
                </a:cubicBezTo>
                <a:cubicBezTo>
                  <a:pt x="336" y="12"/>
                  <a:pt x="338" y="11"/>
                  <a:pt x="338" y="12"/>
                </a:cubicBezTo>
                <a:cubicBezTo>
                  <a:pt x="337" y="12"/>
                  <a:pt x="338" y="12"/>
                  <a:pt x="337" y="12"/>
                </a:cubicBezTo>
                <a:cubicBezTo>
                  <a:pt x="337" y="12"/>
                  <a:pt x="336" y="12"/>
                  <a:pt x="336" y="12"/>
                </a:cubicBezTo>
                <a:cubicBezTo>
                  <a:pt x="336" y="13"/>
                  <a:pt x="340" y="11"/>
                  <a:pt x="341" y="12"/>
                </a:cubicBezTo>
                <a:cubicBezTo>
                  <a:pt x="343" y="12"/>
                  <a:pt x="337" y="12"/>
                  <a:pt x="340" y="11"/>
                </a:cubicBezTo>
                <a:cubicBezTo>
                  <a:pt x="342" y="11"/>
                  <a:pt x="342" y="11"/>
                  <a:pt x="342" y="11"/>
                </a:cubicBezTo>
                <a:cubicBezTo>
                  <a:pt x="344" y="11"/>
                  <a:pt x="344" y="11"/>
                  <a:pt x="345" y="11"/>
                </a:cubicBezTo>
                <a:cubicBezTo>
                  <a:pt x="346" y="10"/>
                  <a:pt x="340" y="11"/>
                  <a:pt x="342" y="10"/>
                </a:cubicBezTo>
                <a:cubicBezTo>
                  <a:pt x="347" y="10"/>
                  <a:pt x="347" y="10"/>
                  <a:pt x="347" y="10"/>
                </a:cubicBezTo>
                <a:cubicBezTo>
                  <a:pt x="347" y="9"/>
                  <a:pt x="347" y="9"/>
                  <a:pt x="345" y="9"/>
                </a:cubicBezTo>
                <a:cubicBezTo>
                  <a:pt x="349" y="8"/>
                  <a:pt x="350" y="10"/>
                  <a:pt x="354" y="10"/>
                </a:cubicBezTo>
                <a:cubicBezTo>
                  <a:pt x="356" y="10"/>
                  <a:pt x="358" y="9"/>
                  <a:pt x="360" y="9"/>
                </a:cubicBezTo>
                <a:cubicBezTo>
                  <a:pt x="361" y="9"/>
                  <a:pt x="359" y="9"/>
                  <a:pt x="361" y="9"/>
                </a:cubicBezTo>
                <a:cubicBezTo>
                  <a:pt x="360" y="9"/>
                  <a:pt x="359" y="9"/>
                  <a:pt x="358" y="9"/>
                </a:cubicBezTo>
                <a:cubicBezTo>
                  <a:pt x="355" y="8"/>
                  <a:pt x="363" y="8"/>
                  <a:pt x="360" y="8"/>
                </a:cubicBezTo>
                <a:cubicBezTo>
                  <a:pt x="361" y="7"/>
                  <a:pt x="362" y="9"/>
                  <a:pt x="364" y="8"/>
                </a:cubicBezTo>
                <a:cubicBezTo>
                  <a:pt x="367" y="8"/>
                  <a:pt x="362" y="8"/>
                  <a:pt x="363" y="7"/>
                </a:cubicBezTo>
                <a:cubicBezTo>
                  <a:pt x="364" y="7"/>
                  <a:pt x="365" y="7"/>
                  <a:pt x="365" y="7"/>
                </a:cubicBezTo>
                <a:cubicBezTo>
                  <a:pt x="366" y="7"/>
                  <a:pt x="367" y="8"/>
                  <a:pt x="367" y="8"/>
                </a:cubicBezTo>
                <a:cubicBezTo>
                  <a:pt x="367" y="9"/>
                  <a:pt x="370" y="8"/>
                  <a:pt x="371" y="9"/>
                </a:cubicBezTo>
                <a:cubicBezTo>
                  <a:pt x="374" y="8"/>
                  <a:pt x="371" y="8"/>
                  <a:pt x="372" y="8"/>
                </a:cubicBezTo>
                <a:cubicBezTo>
                  <a:pt x="372" y="7"/>
                  <a:pt x="371" y="8"/>
                  <a:pt x="371" y="8"/>
                </a:cubicBezTo>
                <a:cubicBezTo>
                  <a:pt x="371" y="7"/>
                  <a:pt x="379" y="9"/>
                  <a:pt x="381" y="7"/>
                </a:cubicBezTo>
                <a:cubicBezTo>
                  <a:pt x="384" y="7"/>
                  <a:pt x="386" y="8"/>
                  <a:pt x="390" y="7"/>
                </a:cubicBezTo>
                <a:cubicBezTo>
                  <a:pt x="390" y="7"/>
                  <a:pt x="389" y="7"/>
                  <a:pt x="390" y="7"/>
                </a:cubicBezTo>
                <a:cubicBezTo>
                  <a:pt x="387" y="6"/>
                  <a:pt x="389" y="6"/>
                  <a:pt x="386" y="5"/>
                </a:cubicBezTo>
                <a:cubicBezTo>
                  <a:pt x="388" y="6"/>
                  <a:pt x="389" y="7"/>
                  <a:pt x="391" y="6"/>
                </a:cubicBezTo>
                <a:cubicBezTo>
                  <a:pt x="392" y="6"/>
                  <a:pt x="392" y="7"/>
                  <a:pt x="394" y="7"/>
                </a:cubicBezTo>
                <a:cubicBezTo>
                  <a:pt x="395" y="7"/>
                  <a:pt x="395" y="6"/>
                  <a:pt x="395" y="6"/>
                </a:cubicBezTo>
                <a:cubicBezTo>
                  <a:pt x="396" y="6"/>
                  <a:pt x="399" y="6"/>
                  <a:pt x="397" y="6"/>
                </a:cubicBezTo>
                <a:cubicBezTo>
                  <a:pt x="401" y="5"/>
                  <a:pt x="402" y="7"/>
                  <a:pt x="401" y="7"/>
                </a:cubicBezTo>
                <a:cubicBezTo>
                  <a:pt x="408" y="7"/>
                  <a:pt x="400" y="5"/>
                  <a:pt x="400" y="4"/>
                </a:cubicBezTo>
                <a:cubicBezTo>
                  <a:pt x="402" y="5"/>
                  <a:pt x="404" y="4"/>
                  <a:pt x="401" y="4"/>
                </a:cubicBezTo>
                <a:cubicBezTo>
                  <a:pt x="406" y="3"/>
                  <a:pt x="402" y="5"/>
                  <a:pt x="407" y="5"/>
                </a:cubicBezTo>
                <a:cubicBezTo>
                  <a:pt x="411" y="4"/>
                  <a:pt x="406" y="3"/>
                  <a:pt x="410" y="3"/>
                </a:cubicBezTo>
                <a:cubicBezTo>
                  <a:pt x="408" y="2"/>
                  <a:pt x="400" y="3"/>
                  <a:pt x="399" y="2"/>
                </a:cubicBezTo>
                <a:cubicBezTo>
                  <a:pt x="400" y="1"/>
                  <a:pt x="404" y="2"/>
                  <a:pt x="404" y="2"/>
                </a:cubicBezTo>
                <a:cubicBezTo>
                  <a:pt x="407" y="2"/>
                  <a:pt x="407" y="1"/>
                  <a:pt x="412" y="2"/>
                </a:cubicBezTo>
                <a:cubicBezTo>
                  <a:pt x="411" y="2"/>
                  <a:pt x="413" y="2"/>
                  <a:pt x="412" y="3"/>
                </a:cubicBezTo>
                <a:cubicBezTo>
                  <a:pt x="415" y="3"/>
                  <a:pt x="415" y="1"/>
                  <a:pt x="419" y="1"/>
                </a:cubicBezTo>
                <a:cubicBezTo>
                  <a:pt x="417" y="2"/>
                  <a:pt x="416" y="2"/>
                  <a:pt x="421" y="2"/>
                </a:cubicBezTo>
                <a:cubicBezTo>
                  <a:pt x="420" y="3"/>
                  <a:pt x="417" y="3"/>
                  <a:pt x="417" y="2"/>
                </a:cubicBezTo>
                <a:cubicBezTo>
                  <a:pt x="416" y="2"/>
                  <a:pt x="416" y="3"/>
                  <a:pt x="415" y="3"/>
                </a:cubicBezTo>
                <a:cubicBezTo>
                  <a:pt x="414" y="3"/>
                  <a:pt x="417" y="3"/>
                  <a:pt x="417" y="4"/>
                </a:cubicBezTo>
                <a:cubicBezTo>
                  <a:pt x="419" y="4"/>
                  <a:pt x="418" y="3"/>
                  <a:pt x="416" y="3"/>
                </a:cubicBezTo>
                <a:cubicBezTo>
                  <a:pt x="417" y="3"/>
                  <a:pt x="421" y="3"/>
                  <a:pt x="421" y="4"/>
                </a:cubicBezTo>
                <a:cubicBezTo>
                  <a:pt x="418" y="4"/>
                  <a:pt x="427" y="5"/>
                  <a:pt x="424" y="5"/>
                </a:cubicBezTo>
                <a:cubicBezTo>
                  <a:pt x="427" y="5"/>
                  <a:pt x="427" y="6"/>
                  <a:pt x="430" y="6"/>
                </a:cubicBezTo>
                <a:cubicBezTo>
                  <a:pt x="426" y="5"/>
                  <a:pt x="427" y="5"/>
                  <a:pt x="425" y="4"/>
                </a:cubicBezTo>
                <a:cubicBezTo>
                  <a:pt x="426" y="4"/>
                  <a:pt x="428" y="4"/>
                  <a:pt x="430" y="4"/>
                </a:cubicBezTo>
                <a:cubicBezTo>
                  <a:pt x="427" y="4"/>
                  <a:pt x="430" y="4"/>
                  <a:pt x="428" y="4"/>
                </a:cubicBezTo>
                <a:cubicBezTo>
                  <a:pt x="429" y="5"/>
                  <a:pt x="432" y="5"/>
                  <a:pt x="433" y="5"/>
                </a:cubicBezTo>
                <a:cubicBezTo>
                  <a:pt x="434" y="5"/>
                  <a:pt x="431" y="5"/>
                  <a:pt x="431" y="4"/>
                </a:cubicBezTo>
                <a:cubicBezTo>
                  <a:pt x="432" y="4"/>
                  <a:pt x="438" y="5"/>
                  <a:pt x="438" y="5"/>
                </a:cubicBezTo>
                <a:cubicBezTo>
                  <a:pt x="442" y="6"/>
                  <a:pt x="445" y="6"/>
                  <a:pt x="453" y="7"/>
                </a:cubicBezTo>
                <a:cubicBezTo>
                  <a:pt x="453" y="7"/>
                  <a:pt x="452" y="7"/>
                  <a:pt x="451" y="7"/>
                </a:cubicBezTo>
                <a:cubicBezTo>
                  <a:pt x="451" y="7"/>
                  <a:pt x="453" y="7"/>
                  <a:pt x="453" y="7"/>
                </a:cubicBezTo>
                <a:cubicBezTo>
                  <a:pt x="452" y="8"/>
                  <a:pt x="450" y="7"/>
                  <a:pt x="447" y="6"/>
                </a:cubicBezTo>
                <a:cubicBezTo>
                  <a:pt x="447" y="7"/>
                  <a:pt x="447" y="7"/>
                  <a:pt x="447" y="7"/>
                </a:cubicBezTo>
                <a:cubicBezTo>
                  <a:pt x="448" y="7"/>
                  <a:pt x="453" y="8"/>
                  <a:pt x="453" y="9"/>
                </a:cubicBezTo>
                <a:cubicBezTo>
                  <a:pt x="454" y="8"/>
                  <a:pt x="456" y="7"/>
                  <a:pt x="453" y="6"/>
                </a:cubicBezTo>
                <a:cubicBezTo>
                  <a:pt x="454" y="6"/>
                  <a:pt x="457" y="7"/>
                  <a:pt x="455" y="6"/>
                </a:cubicBezTo>
                <a:cubicBezTo>
                  <a:pt x="456" y="6"/>
                  <a:pt x="458" y="7"/>
                  <a:pt x="460" y="7"/>
                </a:cubicBezTo>
                <a:cubicBezTo>
                  <a:pt x="460" y="7"/>
                  <a:pt x="459" y="7"/>
                  <a:pt x="458" y="6"/>
                </a:cubicBezTo>
                <a:cubicBezTo>
                  <a:pt x="460" y="6"/>
                  <a:pt x="465" y="7"/>
                  <a:pt x="465" y="6"/>
                </a:cubicBezTo>
                <a:cubicBezTo>
                  <a:pt x="466" y="7"/>
                  <a:pt x="466" y="7"/>
                  <a:pt x="465" y="7"/>
                </a:cubicBezTo>
                <a:cubicBezTo>
                  <a:pt x="466" y="7"/>
                  <a:pt x="469" y="8"/>
                  <a:pt x="468" y="8"/>
                </a:cubicBezTo>
                <a:cubicBezTo>
                  <a:pt x="466" y="8"/>
                  <a:pt x="466" y="8"/>
                  <a:pt x="463" y="7"/>
                </a:cubicBezTo>
                <a:cubicBezTo>
                  <a:pt x="463" y="8"/>
                  <a:pt x="464" y="8"/>
                  <a:pt x="464" y="8"/>
                </a:cubicBezTo>
                <a:cubicBezTo>
                  <a:pt x="468" y="9"/>
                  <a:pt x="467" y="8"/>
                  <a:pt x="470" y="9"/>
                </a:cubicBezTo>
                <a:cubicBezTo>
                  <a:pt x="470" y="8"/>
                  <a:pt x="473" y="8"/>
                  <a:pt x="477" y="9"/>
                </a:cubicBezTo>
                <a:cubicBezTo>
                  <a:pt x="476" y="10"/>
                  <a:pt x="474" y="9"/>
                  <a:pt x="471" y="9"/>
                </a:cubicBezTo>
                <a:cubicBezTo>
                  <a:pt x="472" y="9"/>
                  <a:pt x="472" y="10"/>
                  <a:pt x="472" y="10"/>
                </a:cubicBezTo>
                <a:cubicBezTo>
                  <a:pt x="473" y="10"/>
                  <a:pt x="475" y="10"/>
                  <a:pt x="476" y="10"/>
                </a:cubicBezTo>
                <a:cubicBezTo>
                  <a:pt x="478" y="10"/>
                  <a:pt x="478" y="11"/>
                  <a:pt x="478" y="11"/>
                </a:cubicBezTo>
                <a:cubicBezTo>
                  <a:pt x="479" y="11"/>
                  <a:pt x="481" y="11"/>
                  <a:pt x="483" y="12"/>
                </a:cubicBezTo>
                <a:cubicBezTo>
                  <a:pt x="483" y="11"/>
                  <a:pt x="484" y="11"/>
                  <a:pt x="482" y="11"/>
                </a:cubicBezTo>
                <a:cubicBezTo>
                  <a:pt x="483" y="10"/>
                  <a:pt x="485" y="11"/>
                  <a:pt x="484" y="12"/>
                </a:cubicBezTo>
                <a:cubicBezTo>
                  <a:pt x="485" y="12"/>
                  <a:pt x="486" y="11"/>
                  <a:pt x="487" y="12"/>
                </a:cubicBezTo>
                <a:cubicBezTo>
                  <a:pt x="487" y="12"/>
                  <a:pt x="485" y="10"/>
                  <a:pt x="490" y="11"/>
                </a:cubicBezTo>
                <a:cubicBezTo>
                  <a:pt x="490" y="10"/>
                  <a:pt x="485" y="10"/>
                  <a:pt x="484" y="9"/>
                </a:cubicBezTo>
                <a:cubicBezTo>
                  <a:pt x="482" y="9"/>
                  <a:pt x="481" y="9"/>
                  <a:pt x="482" y="9"/>
                </a:cubicBezTo>
                <a:cubicBezTo>
                  <a:pt x="480" y="9"/>
                  <a:pt x="481" y="9"/>
                  <a:pt x="478" y="8"/>
                </a:cubicBezTo>
                <a:cubicBezTo>
                  <a:pt x="478" y="8"/>
                  <a:pt x="482" y="9"/>
                  <a:pt x="481" y="7"/>
                </a:cubicBezTo>
                <a:cubicBezTo>
                  <a:pt x="484" y="8"/>
                  <a:pt x="482" y="8"/>
                  <a:pt x="482" y="8"/>
                </a:cubicBezTo>
                <a:cubicBezTo>
                  <a:pt x="486" y="9"/>
                  <a:pt x="486" y="9"/>
                  <a:pt x="489" y="9"/>
                </a:cubicBezTo>
                <a:cubicBezTo>
                  <a:pt x="489" y="9"/>
                  <a:pt x="487" y="9"/>
                  <a:pt x="487" y="8"/>
                </a:cubicBezTo>
                <a:cubicBezTo>
                  <a:pt x="491" y="9"/>
                  <a:pt x="493" y="10"/>
                  <a:pt x="496" y="11"/>
                </a:cubicBezTo>
                <a:cubicBezTo>
                  <a:pt x="495" y="11"/>
                  <a:pt x="495" y="10"/>
                  <a:pt x="495" y="11"/>
                </a:cubicBezTo>
                <a:cubicBezTo>
                  <a:pt x="496" y="11"/>
                  <a:pt x="499" y="12"/>
                  <a:pt x="499" y="11"/>
                </a:cubicBezTo>
                <a:cubicBezTo>
                  <a:pt x="500" y="12"/>
                  <a:pt x="500" y="12"/>
                  <a:pt x="501" y="13"/>
                </a:cubicBezTo>
                <a:cubicBezTo>
                  <a:pt x="505" y="13"/>
                  <a:pt x="510" y="15"/>
                  <a:pt x="512" y="16"/>
                </a:cubicBezTo>
                <a:cubicBezTo>
                  <a:pt x="514" y="17"/>
                  <a:pt x="512" y="15"/>
                  <a:pt x="510" y="14"/>
                </a:cubicBezTo>
                <a:cubicBezTo>
                  <a:pt x="510" y="14"/>
                  <a:pt x="516" y="16"/>
                  <a:pt x="514" y="16"/>
                </a:cubicBezTo>
                <a:cubicBezTo>
                  <a:pt x="516" y="17"/>
                  <a:pt x="519" y="18"/>
                  <a:pt x="520" y="18"/>
                </a:cubicBezTo>
                <a:cubicBezTo>
                  <a:pt x="519" y="17"/>
                  <a:pt x="518" y="17"/>
                  <a:pt x="517" y="17"/>
                </a:cubicBezTo>
                <a:cubicBezTo>
                  <a:pt x="520" y="17"/>
                  <a:pt x="527" y="19"/>
                  <a:pt x="532" y="21"/>
                </a:cubicBezTo>
                <a:cubicBezTo>
                  <a:pt x="529" y="19"/>
                  <a:pt x="537" y="22"/>
                  <a:pt x="537" y="22"/>
                </a:cubicBezTo>
                <a:cubicBezTo>
                  <a:pt x="539" y="22"/>
                  <a:pt x="538" y="23"/>
                  <a:pt x="540" y="23"/>
                </a:cubicBezTo>
                <a:cubicBezTo>
                  <a:pt x="539" y="23"/>
                  <a:pt x="538" y="23"/>
                  <a:pt x="536" y="22"/>
                </a:cubicBezTo>
                <a:cubicBezTo>
                  <a:pt x="536" y="23"/>
                  <a:pt x="543" y="25"/>
                  <a:pt x="545" y="25"/>
                </a:cubicBezTo>
                <a:cubicBezTo>
                  <a:pt x="545" y="25"/>
                  <a:pt x="542" y="25"/>
                  <a:pt x="540" y="24"/>
                </a:cubicBezTo>
                <a:cubicBezTo>
                  <a:pt x="543" y="24"/>
                  <a:pt x="547" y="25"/>
                  <a:pt x="551" y="27"/>
                </a:cubicBezTo>
                <a:cubicBezTo>
                  <a:pt x="551" y="27"/>
                  <a:pt x="550" y="27"/>
                  <a:pt x="552" y="28"/>
                </a:cubicBezTo>
                <a:cubicBezTo>
                  <a:pt x="551" y="28"/>
                  <a:pt x="549" y="26"/>
                  <a:pt x="549" y="27"/>
                </a:cubicBezTo>
                <a:cubicBezTo>
                  <a:pt x="550" y="28"/>
                  <a:pt x="552" y="28"/>
                  <a:pt x="552" y="29"/>
                </a:cubicBezTo>
                <a:cubicBezTo>
                  <a:pt x="554" y="30"/>
                  <a:pt x="550" y="28"/>
                  <a:pt x="551" y="29"/>
                </a:cubicBezTo>
                <a:cubicBezTo>
                  <a:pt x="555" y="29"/>
                  <a:pt x="555" y="30"/>
                  <a:pt x="558" y="30"/>
                </a:cubicBezTo>
                <a:cubicBezTo>
                  <a:pt x="562" y="32"/>
                  <a:pt x="569" y="34"/>
                  <a:pt x="569" y="35"/>
                </a:cubicBezTo>
                <a:cubicBezTo>
                  <a:pt x="571" y="36"/>
                  <a:pt x="570" y="35"/>
                  <a:pt x="571" y="35"/>
                </a:cubicBezTo>
                <a:cubicBezTo>
                  <a:pt x="572" y="36"/>
                  <a:pt x="575" y="37"/>
                  <a:pt x="573" y="37"/>
                </a:cubicBezTo>
                <a:cubicBezTo>
                  <a:pt x="575" y="38"/>
                  <a:pt x="575" y="38"/>
                  <a:pt x="577" y="39"/>
                </a:cubicBezTo>
                <a:cubicBezTo>
                  <a:pt x="577" y="39"/>
                  <a:pt x="575" y="39"/>
                  <a:pt x="576" y="39"/>
                </a:cubicBezTo>
                <a:cubicBezTo>
                  <a:pt x="578" y="40"/>
                  <a:pt x="578" y="39"/>
                  <a:pt x="579" y="39"/>
                </a:cubicBezTo>
                <a:cubicBezTo>
                  <a:pt x="579" y="38"/>
                  <a:pt x="576" y="38"/>
                  <a:pt x="576" y="38"/>
                </a:cubicBezTo>
                <a:cubicBezTo>
                  <a:pt x="576" y="37"/>
                  <a:pt x="580" y="39"/>
                  <a:pt x="579" y="39"/>
                </a:cubicBezTo>
                <a:cubicBezTo>
                  <a:pt x="581" y="40"/>
                  <a:pt x="581" y="40"/>
                  <a:pt x="583" y="40"/>
                </a:cubicBezTo>
                <a:cubicBezTo>
                  <a:pt x="586" y="42"/>
                  <a:pt x="586" y="42"/>
                  <a:pt x="589" y="44"/>
                </a:cubicBezTo>
                <a:cubicBezTo>
                  <a:pt x="587" y="43"/>
                  <a:pt x="587" y="42"/>
                  <a:pt x="586" y="42"/>
                </a:cubicBezTo>
                <a:cubicBezTo>
                  <a:pt x="585" y="40"/>
                  <a:pt x="593" y="44"/>
                  <a:pt x="594" y="45"/>
                </a:cubicBezTo>
                <a:cubicBezTo>
                  <a:pt x="594" y="45"/>
                  <a:pt x="591" y="43"/>
                  <a:pt x="590" y="43"/>
                </a:cubicBezTo>
                <a:cubicBezTo>
                  <a:pt x="592" y="45"/>
                  <a:pt x="596" y="46"/>
                  <a:pt x="598" y="48"/>
                </a:cubicBezTo>
                <a:cubicBezTo>
                  <a:pt x="600" y="49"/>
                  <a:pt x="597" y="46"/>
                  <a:pt x="599" y="47"/>
                </a:cubicBezTo>
                <a:cubicBezTo>
                  <a:pt x="600" y="48"/>
                  <a:pt x="601" y="49"/>
                  <a:pt x="603" y="50"/>
                </a:cubicBezTo>
                <a:cubicBezTo>
                  <a:pt x="603" y="50"/>
                  <a:pt x="606" y="52"/>
                  <a:pt x="606" y="51"/>
                </a:cubicBezTo>
                <a:cubicBezTo>
                  <a:pt x="612" y="54"/>
                  <a:pt x="615" y="56"/>
                  <a:pt x="620" y="59"/>
                </a:cubicBezTo>
                <a:cubicBezTo>
                  <a:pt x="619" y="58"/>
                  <a:pt x="619" y="59"/>
                  <a:pt x="619" y="59"/>
                </a:cubicBezTo>
                <a:cubicBezTo>
                  <a:pt x="624" y="60"/>
                  <a:pt x="634" y="67"/>
                  <a:pt x="640" y="71"/>
                </a:cubicBezTo>
                <a:cubicBezTo>
                  <a:pt x="642" y="72"/>
                  <a:pt x="641" y="71"/>
                  <a:pt x="643" y="73"/>
                </a:cubicBezTo>
                <a:cubicBezTo>
                  <a:pt x="643" y="73"/>
                  <a:pt x="643" y="73"/>
                  <a:pt x="644" y="73"/>
                </a:cubicBezTo>
                <a:cubicBezTo>
                  <a:pt x="644" y="73"/>
                  <a:pt x="643" y="72"/>
                  <a:pt x="642" y="72"/>
                </a:cubicBezTo>
                <a:cubicBezTo>
                  <a:pt x="645" y="73"/>
                  <a:pt x="651" y="78"/>
                  <a:pt x="653" y="78"/>
                </a:cubicBezTo>
                <a:cubicBezTo>
                  <a:pt x="655" y="80"/>
                  <a:pt x="658" y="83"/>
                  <a:pt x="661" y="84"/>
                </a:cubicBezTo>
                <a:cubicBezTo>
                  <a:pt x="665" y="87"/>
                  <a:pt x="675" y="94"/>
                  <a:pt x="680" y="98"/>
                </a:cubicBezTo>
                <a:cubicBezTo>
                  <a:pt x="680" y="98"/>
                  <a:pt x="679" y="97"/>
                  <a:pt x="679" y="98"/>
                </a:cubicBezTo>
                <a:cubicBezTo>
                  <a:pt x="681" y="99"/>
                  <a:pt x="682" y="100"/>
                  <a:pt x="684" y="102"/>
                </a:cubicBezTo>
                <a:cubicBezTo>
                  <a:pt x="685" y="102"/>
                  <a:pt x="683" y="101"/>
                  <a:pt x="684" y="101"/>
                </a:cubicBezTo>
                <a:cubicBezTo>
                  <a:pt x="688" y="104"/>
                  <a:pt x="693" y="109"/>
                  <a:pt x="699" y="114"/>
                </a:cubicBezTo>
                <a:cubicBezTo>
                  <a:pt x="698" y="114"/>
                  <a:pt x="698" y="114"/>
                  <a:pt x="699" y="115"/>
                </a:cubicBezTo>
                <a:cubicBezTo>
                  <a:pt x="701" y="117"/>
                  <a:pt x="702" y="118"/>
                  <a:pt x="703" y="118"/>
                </a:cubicBezTo>
                <a:cubicBezTo>
                  <a:pt x="705" y="120"/>
                  <a:pt x="704" y="119"/>
                  <a:pt x="705" y="120"/>
                </a:cubicBezTo>
                <a:cubicBezTo>
                  <a:pt x="707" y="122"/>
                  <a:pt x="704" y="119"/>
                  <a:pt x="705" y="119"/>
                </a:cubicBezTo>
                <a:cubicBezTo>
                  <a:pt x="707" y="121"/>
                  <a:pt x="707" y="121"/>
                  <a:pt x="709" y="123"/>
                </a:cubicBezTo>
                <a:cubicBezTo>
                  <a:pt x="705" y="121"/>
                  <a:pt x="715" y="129"/>
                  <a:pt x="718" y="132"/>
                </a:cubicBezTo>
                <a:cubicBezTo>
                  <a:pt x="716" y="131"/>
                  <a:pt x="717" y="131"/>
                  <a:pt x="716" y="129"/>
                </a:cubicBezTo>
                <a:cubicBezTo>
                  <a:pt x="716" y="129"/>
                  <a:pt x="717" y="130"/>
                  <a:pt x="717" y="130"/>
                </a:cubicBezTo>
                <a:cubicBezTo>
                  <a:pt x="722" y="135"/>
                  <a:pt x="722" y="134"/>
                  <a:pt x="723" y="137"/>
                </a:cubicBezTo>
                <a:cubicBezTo>
                  <a:pt x="724" y="138"/>
                  <a:pt x="723" y="136"/>
                  <a:pt x="724" y="136"/>
                </a:cubicBezTo>
                <a:cubicBezTo>
                  <a:pt x="727" y="139"/>
                  <a:pt x="727" y="140"/>
                  <a:pt x="728" y="141"/>
                </a:cubicBezTo>
                <a:cubicBezTo>
                  <a:pt x="729" y="142"/>
                  <a:pt x="732" y="144"/>
                  <a:pt x="732" y="145"/>
                </a:cubicBezTo>
                <a:cubicBezTo>
                  <a:pt x="732" y="146"/>
                  <a:pt x="735" y="148"/>
                  <a:pt x="734" y="148"/>
                </a:cubicBezTo>
                <a:cubicBezTo>
                  <a:pt x="736" y="149"/>
                  <a:pt x="736" y="149"/>
                  <a:pt x="737" y="150"/>
                </a:cubicBezTo>
                <a:cubicBezTo>
                  <a:pt x="738" y="150"/>
                  <a:pt x="735" y="148"/>
                  <a:pt x="734" y="147"/>
                </a:cubicBezTo>
                <a:cubicBezTo>
                  <a:pt x="736" y="147"/>
                  <a:pt x="734" y="144"/>
                  <a:pt x="736" y="144"/>
                </a:cubicBezTo>
                <a:cubicBezTo>
                  <a:pt x="739" y="150"/>
                  <a:pt x="741" y="155"/>
                  <a:pt x="745" y="161"/>
                </a:cubicBezTo>
                <a:cubicBezTo>
                  <a:pt x="747" y="163"/>
                  <a:pt x="742" y="157"/>
                  <a:pt x="747" y="162"/>
                </a:cubicBezTo>
                <a:cubicBezTo>
                  <a:pt x="747" y="161"/>
                  <a:pt x="745" y="159"/>
                  <a:pt x="746" y="160"/>
                </a:cubicBezTo>
                <a:cubicBezTo>
                  <a:pt x="744" y="157"/>
                  <a:pt x="744" y="158"/>
                  <a:pt x="743" y="156"/>
                </a:cubicBezTo>
                <a:cubicBezTo>
                  <a:pt x="743" y="156"/>
                  <a:pt x="745" y="158"/>
                  <a:pt x="746" y="159"/>
                </a:cubicBezTo>
                <a:cubicBezTo>
                  <a:pt x="746" y="159"/>
                  <a:pt x="745" y="156"/>
                  <a:pt x="747" y="158"/>
                </a:cubicBezTo>
                <a:cubicBezTo>
                  <a:pt x="746" y="156"/>
                  <a:pt x="744" y="153"/>
                  <a:pt x="745" y="154"/>
                </a:cubicBezTo>
                <a:cubicBezTo>
                  <a:pt x="747" y="156"/>
                  <a:pt x="748" y="158"/>
                  <a:pt x="749" y="159"/>
                </a:cubicBezTo>
                <a:cubicBezTo>
                  <a:pt x="749" y="160"/>
                  <a:pt x="752" y="165"/>
                  <a:pt x="750" y="164"/>
                </a:cubicBezTo>
                <a:cubicBezTo>
                  <a:pt x="752" y="166"/>
                  <a:pt x="751" y="167"/>
                  <a:pt x="751" y="167"/>
                </a:cubicBezTo>
                <a:cubicBezTo>
                  <a:pt x="753" y="170"/>
                  <a:pt x="756" y="173"/>
                  <a:pt x="757" y="174"/>
                </a:cubicBezTo>
                <a:cubicBezTo>
                  <a:pt x="757" y="173"/>
                  <a:pt x="755" y="172"/>
                  <a:pt x="754" y="170"/>
                </a:cubicBezTo>
                <a:cubicBezTo>
                  <a:pt x="754" y="168"/>
                  <a:pt x="759" y="172"/>
                  <a:pt x="756" y="168"/>
                </a:cubicBezTo>
                <a:cubicBezTo>
                  <a:pt x="757" y="169"/>
                  <a:pt x="757" y="170"/>
                  <a:pt x="759" y="173"/>
                </a:cubicBezTo>
                <a:cubicBezTo>
                  <a:pt x="759" y="174"/>
                  <a:pt x="757" y="173"/>
                  <a:pt x="760" y="177"/>
                </a:cubicBezTo>
                <a:cubicBezTo>
                  <a:pt x="759" y="176"/>
                  <a:pt x="759" y="175"/>
                  <a:pt x="758" y="175"/>
                </a:cubicBezTo>
                <a:cubicBezTo>
                  <a:pt x="760" y="177"/>
                  <a:pt x="760" y="179"/>
                  <a:pt x="762" y="181"/>
                </a:cubicBezTo>
                <a:cubicBezTo>
                  <a:pt x="762" y="182"/>
                  <a:pt x="762" y="181"/>
                  <a:pt x="764" y="182"/>
                </a:cubicBezTo>
                <a:cubicBezTo>
                  <a:pt x="765" y="184"/>
                  <a:pt x="766" y="187"/>
                  <a:pt x="767" y="186"/>
                </a:cubicBezTo>
                <a:cubicBezTo>
                  <a:pt x="768" y="186"/>
                  <a:pt x="765" y="183"/>
                  <a:pt x="764" y="182"/>
                </a:cubicBezTo>
                <a:cubicBezTo>
                  <a:pt x="762" y="178"/>
                  <a:pt x="767" y="183"/>
                  <a:pt x="764" y="178"/>
                </a:cubicBezTo>
                <a:cubicBezTo>
                  <a:pt x="766" y="180"/>
                  <a:pt x="766" y="181"/>
                  <a:pt x="766" y="179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70" y="185"/>
                  <a:pt x="768" y="190"/>
                  <a:pt x="774" y="194"/>
                </a:cubicBezTo>
                <a:cubicBezTo>
                  <a:pt x="773" y="192"/>
                  <a:pt x="774" y="192"/>
                  <a:pt x="776" y="194"/>
                </a:cubicBezTo>
                <a:cubicBezTo>
                  <a:pt x="775" y="192"/>
                  <a:pt x="774" y="188"/>
                  <a:pt x="776" y="190"/>
                </a:cubicBezTo>
                <a:cubicBezTo>
                  <a:pt x="782" y="200"/>
                  <a:pt x="774" y="198"/>
                  <a:pt x="781" y="209"/>
                </a:cubicBezTo>
                <a:cubicBezTo>
                  <a:pt x="782" y="211"/>
                  <a:pt x="782" y="210"/>
                  <a:pt x="784" y="211"/>
                </a:cubicBezTo>
                <a:cubicBezTo>
                  <a:pt x="782" y="207"/>
                  <a:pt x="785" y="207"/>
                  <a:pt x="785" y="203"/>
                </a:cubicBezTo>
                <a:cubicBezTo>
                  <a:pt x="789" y="210"/>
                  <a:pt x="784" y="206"/>
                  <a:pt x="788" y="212"/>
                </a:cubicBezTo>
                <a:cubicBezTo>
                  <a:pt x="786" y="212"/>
                  <a:pt x="788" y="216"/>
                  <a:pt x="786" y="217"/>
                </a:cubicBezTo>
                <a:cubicBezTo>
                  <a:pt x="787" y="218"/>
                  <a:pt x="788" y="218"/>
                  <a:pt x="789" y="220"/>
                </a:cubicBezTo>
                <a:cubicBezTo>
                  <a:pt x="788" y="220"/>
                  <a:pt x="787" y="218"/>
                  <a:pt x="787" y="219"/>
                </a:cubicBezTo>
                <a:cubicBezTo>
                  <a:pt x="788" y="221"/>
                  <a:pt x="789" y="223"/>
                  <a:pt x="791" y="226"/>
                </a:cubicBezTo>
                <a:cubicBezTo>
                  <a:pt x="793" y="227"/>
                  <a:pt x="790" y="222"/>
                  <a:pt x="793" y="224"/>
                </a:cubicBezTo>
                <a:cubicBezTo>
                  <a:pt x="792" y="220"/>
                  <a:pt x="793" y="220"/>
                  <a:pt x="795" y="221"/>
                </a:cubicBezTo>
                <a:cubicBezTo>
                  <a:pt x="798" y="227"/>
                  <a:pt x="796" y="231"/>
                  <a:pt x="795" y="230"/>
                </a:cubicBezTo>
                <a:cubicBezTo>
                  <a:pt x="795" y="231"/>
                  <a:pt x="796" y="233"/>
                  <a:pt x="796" y="234"/>
                </a:cubicBezTo>
                <a:cubicBezTo>
                  <a:pt x="793" y="231"/>
                  <a:pt x="796" y="239"/>
                  <a:pt x="792" y="235"/>
                </a:cubicBezTo>
                <a:cubicBezTo>
                  <a:pt x="794" y="238"/>
                  <a:pt x="793" y="237"/>
                  <a:pt x="792" y="236"/>
                </a:cubicBezTo>
                <a:cubicBezTo>
                  <a:pt x="794" y="240"/>
                  <a:pt x="794" y="243"/>
                  <a:pt x="797" y="248"/>
                </a:cubicBezTo>
                <a:cubicBezTo>
                  <a:pt x="797" y="246"/>
                  <a:pt x="797" y="245"/>
                  <a:pt x="799" y="248"/>
                </a:cubicBezTo>
                <a:cubicBezTo>
                  <a:pt x="799" y="247"/>
                  <a:pt x="798" y="246"/>
                  <a:pt x="798" y="245"/>
                </a:cubicBezTo>
                <a:cubicBezTo>
                  <a:pt x="798" y="244"/>
                  <a:pt x="799" y="247"/>
                  <a:pt x="800" y="247"/>
                </a:cubicBezTo>
                <a:cubicBezTo>
                  <a:pt x="800" y="246"/>
                  <a:pt x="799" y="246"/>
                  <a:pt x="798" y="244"/>
                </a:cubicBezTo>
                <a:cubicBezTo>
                  <a:pt x="799" y="244"/>
                  <a:pt x="800" y="246"/>
                  <a:pt x="800" y="246"/>
                </a:cubicBezTo>
                <a:cubicBezTo>
                  <a:pt x="802" y="250"/>
                  <a:pt x="800" y="249"/>
                  <a:pt x="801" y="252"/>
                </a:cubicBezTo>
                <a:cubicBezTo>
                  <a:pt x="799" y="250"/>
                  <a:pt x="800" y="252"/>
                  <a:pt x="799" y="251"/>
                </a:cubicBezTo>
                <a:cubicBezTo>
                  <a:pt x="800" y="252"/>
                  <a:pt x="801" y="254"/>
                  <a:pt x="802" y="256"/>
                </a:cubicBezTo>
                <a:cubicBezTo>
                  <a:pt x="800" y="254"/>
                  <a:pt x="800" y="256"/>
                  <a:pt x="799" y="255"/>
                </a:cubicBezTo>
                <a:cubicBezTo>
                  <a:pt x="799" y="256"/>
                  <a:pt x="800" y="257"/>
                  <a:pt x="800" y="258"/>
                </a:cubicBezTo>
                <a:cubicBezTo>
                  <a:pt x="798" y="257"/>
                  <a:pt x="797" y="261"/>
                  <a:pt x="794" y="257"/>
                </a:cubicBezTo>
                <a:cubicBezTo>
                  <a:pt x="794" y="258"/>
                  <a:pt x="795" y="260"/>
                  <a:pt x="794" y="260"/>
                </a:cubicBezTo>
                <a:cubicBezTo>
                  <a:pt x="792" y="255"/>
                  <a:pt x="791" y="256"/>
                  <a:pt x="790" y="256"/>
                </a:cubicBezTo>
                <a:cubicBezTo>
                  <a:pt x="792" y="259"/>
                  <a:pt x="794" y="261"/>
                  <a:pt x="795" y="265"/>
                </a:cubicBezTo>
                <a:cubicBezTo>
                  <a:pt x="793" y="262"/>
                  <a:pt x="795" y="266"/>
                  <a:pt x="793" y="262"/>
                </a:cubicBezTo>
                <a:cubicBezTo>
                  <a:pt x="792" y="267"/>
                  <a:pt x="790" y="268"/>
                  <a:pt x="787" y="266"/>
                </a:cubicBezTo>
                <a:cubicBezTo>
                  <a:pt x="786" y="263"/>
                  <a:pt x="784" y="260"/>
                  <a:pt x="784" y="259"/>
                </a:cubicBezTo>
                <a:cubicBezTo>
                  <a:pt x="784" y="258"/>
                  <a:pt x="783" y="258"/>
                  <a:pt x="783" y="257"/>
                </a:cubicBezTo>
                <a:cubicBezTo>
                  <a:pt x="783" y="257"/>
                  <a:pt x="783" y="258"/>
                  <a:pt x="784" y="259"/>
                </a:cubicBezTo>
                <a:cubicBezTo>
                  <a:pt x="783" y="258"/>
                  <a:pt x="782" y="256"/>
                  <a:pt x="782" y="255"/>
                </a:cubicBezTo>
                <a:close/>
                <a:moveTo>
                  <a:pt x="340" y="50"/>
                </a:moveTo>
                <a:cubicBezTo>
                  <a:pt x="338" y="51"/>
                  <a:pt x="336" y="51"/>
                  <a:pt x="336" y="51"/>
                </a:cubicBezTo>
                <a:cubicBezTo>
                  <a:pt x="338" y="51"/>
                  <a:pt x="340" y="51"/>
                  <a:pt x="340" y="50"/>
                </a:cubicBezTo>
                <a:close/>
                <a:moveTo>
                  <a:pt x="236" y="74"/>
                </a:moveTo>
                <a:cubicBezTo>
                  <a:pt x="236" y="74"/>
                  <a:pt x="235" y="75"/>
                  <a:pt x="235" y="74"/>
                </a:cubicBezTo>
                <a:cubicBezTo>
                  <a:pt x="234" y="75"/>
                  <a:pt x="233" y="75"/>
                  <a:pt x="233" y="76"/>
                </a:cubicBezTo>
                <a:cubicBezTo>
                  <a:pt x="236" y="75"/>
                  <a:pt x="230" y="77"/>
                  <a:pt x="232" y="77"/>
                </a:cubicBezTo>
                <a:cubicBezTo>
                  <a:pt x="234" y="76"/>
                  <a:pt x="235" y="75"/>
                  <a:pt x="236" y="74"/>
                </a:cubicBezTo>
                <a:close/>
                <a:moveTo>
                  <a:pt x="231" y="76"/>
                </a:moveTo>
                <a:cubicBezTo>
                  <a:pt x="232" y="75"/>
                  <a:pt x="233" y="76"/>
                  <a:pt x="234" y="74"/>
                </a:cubicBezTo>
                <a:cubicBezTo>
                  <a:pt x="234" y="75"/>
                  <a:pt x="236" y="72"/>
                  <a:pt x="237" y="71"/>
                </a:cubicBezTo>
                <a:cubicBezTo>
                  <a:pt x="233" y="73"/>
                  <a:pt x="233" y="74"/>
                  <a:pt x="231" y="76"/>
                </a:cubicBezTo>
                <a:close/>
                <a:moveTo>
                  <a:pt x="162" y="116"/>
                </a:moveTo>
                <a:cubicBezTo>
                  <a:pt x="164" y="115"/>
                  <a:pt x="164" y="115"/>
                  <a:pt x="164" y="115"/>
                </a:cubicBezTo>
                <a:cubicBezTo>
                  <a:pt x="162" y="115"/>
                  <a:pt x="165" y="114"/>
                  <a:pt x="167" y="112"/>
                </a:cubicBezTo>
                <a:cubicBezTo>
                  <a:pt x="165" y="113"/>
                  <a:pt x="164" y="114"/>
                  <a:pt x="164" y="114"/>
                </a:cubicBezTo>
                <a:cubicBezTo>
                  <a:pt x="167" y="111"/>
                  <a:pt x="164" y="113"/>
                  <a:pt x="165" y="111"/>
                </a:cubicBezTo>
                <a:cubicBezTo>
                  <a:pt x="164" y="112"/>
                  <a:pt x="162" y="113"/>
                  <a:pt x="162" y="114"/>
                </a:cubicBezTo>
                <a:cubicBezTo>
                  <a:pt x="168" y="110"/>
                  <a:pt x="160" y="115"/>
                  <a:pt x="162" y="114"/>
                </a:cubicBezTo>
                <a:cubicBezTo>
                  <a:pt x="166" y="112"/>
                  <a:pt x="161" y="116"/>
                  <a:pt x="162" y="116"/>
                </a:cubicBezTo>
                <a:close/>
                <a:moveTo>
                  <a:pt x="132" y="113"/>
                </a:moveTo>
                <a:cubicBezTo>
                  <a:pt x="134" y="112"/>
                  <a:pt x="135" y="111"/>
                  <a:pt x="134" y="111"/>
                </a:cubicBezTo>
                <a:cubicBezTo>
                  <a:pt x="132" y="113"/>
                  <a:pt x="132" y="113"/>
                  <a:pt x="132" y="113"/>
                </a:cubicBezTo>
                <a:close/>
                <a:moveTo>
                  <a:pt x="788" y="254"/>
                </a:moveTo>
                <a:cubicBezTo>
                  <a:pt x="788" y="256"/>
                  <a:pt x="790" y="259"/>
                  <a:pt x="791" y="260"/>
                </a:cubicBezTo>
                <a:cubicBezTo>
                  <a:pt x="790" y="258"/>
                  <a:pt x="789" y="255"/>
                  <a:pt x="788" y="254"/>
                </a:cubicBezTo>
                <a:close/>
                <a:moveTo>
                  <a:pt x="792" y="242"/>
                </a:moveTo>
                <a:cubicBezTo>
                  <a:pt x="793" y="245"/>
                  <a:pt x="794" y="247"/>
                  <a:pt x="796" y="250"/>
                </a:cubicBezTo>
                <a:cubicBezTo>
                  <a:pt x="797" y="249"/>
                  <a:pt x="792" y="240"/>
                  <a:pt x="790" y="237"/>
                </a:cubicBezTo>
                <a:cubicBezTo>
                  <a:pt x="790" y="239"/>
                  <a:pt x="794" y="244"/>
                  <a:pt x="795" y="246"/>
                </a:cubicBezTo>
                <a:cubicBezTo>
                  <a:pt x="794" y="246"/>
                  <a:pt x="793" y="243"/>
                  <a:pt x="792" y="242"/>
                </a:cubicBezTo>
                <a:close/>
                <a:moveTo>
                  <a:pt x="787" y="245"/>
                </a:moveTo>
                <a:cubicBezTo>
                  <a:pt x="787" y="245"/>
                  <a:pt x="787" y="247"/>
                  <a:pt x="786" y="246"/>
                </a:cubicBezTo>
                <a:cubicBezTo>
                  <a:pt x="788" y="248"/>
                  <a:pt x="789" y="252"/>
                  <a:pt x="790" y="253"/>
                </a:cubicBezTo>
                <a:cubicBezTo>
                  <a:pt x="789" y="250"/>
                  <a:pt x="788" y="247"/>
                  <a:pt x="787" y="245"/>
                </a:cubicBezTo>
                <a:close/>
                <a:moveTo>
                  <a:pt x="779" y="256"/>
                </a:moveTo>
                <a:cubicBezTo>
                  <a:pt x="779" y="256"/>
                  <a:pt x="776" y="252"/>
                  <a:pt x="777" y="255"/>
                </a:cubicBezTo>
                <a:cubicBezTo>
                  <a:pt x="778" y="255"/>
                  <a:pt x="778" y="255"/>
                  <a:pt x="779" y="257"/>
                </a:cubicBezTo>
                <a:cubicBezTo>
                  <a:pt x="779" y="258"/>
                  <a:pt x="779" y="258"/>
                  <a:pt x="779" y="258"/>
                </a:cubicBezTo>
                <a:cubicBezTo>
                  <a:pt x="780" y="258"/>
                  <a:pt x="780" y="258"/>
                  <a:pt x="779" y="256"/>
                </a:cubicBezTo>
                <a:close/>
                <a:moveTo>
                  <a:pt x="785" y="244"/>
                </a:moveTo>
                <a:cubicBezTo>
                  <a:pt x="787" y="249"/>
                  <a:pt x="783" y="241"/>
                  <a:pt x="784" y="244"/>
                </a:cubicBezTo>
                <a:cubicBezTo>
                  <a:pt x="786" y="246"/>
                  <a:pt x="784" y="246"/>
                  <a:pt x="785" y="247"/>
                </a:cubicBezTo>
                <a:cubicBezTo>
                  <a:pt x="785" y="246"/>
                  <a:pt x="787" y="249"/>
                  <a:pt x="787" y="249"/>
                </a:cubicBezTo>
                <a:cubicBezTo>
                  <a:pt x="786" y="247"/>
                  <a:pt x="786" y="245"/>
                  <a:pt x="785" y="244"/>
                </a:cubicBezTo>
                <a:close/>
                <a:moveTo>
                  <a:pt x="789" y="230"/>
                </a:moveTo>
                <a:cubicBezTo>
                  <a:pt x="790" y="231"/>
                  <a:pt x="791" y="232"/>
                  <a:pt x="792" y="233"/>
                </a:cubicBezTo>
                <a:cubicBezTo>
                  <a:pt x="790" y="230"/>
                  <a:pt x="789" y="228"/>
                  <a:pt x="790" y="229"/>
                </a:cubicBezTo>
                <a:cubicBezTo>
                  <a:pt x="788" y="225"/>
                  <a:pt x="789" y="224"/>
                  <a:pt x="787" y="222"/>
                </a:cubicBezTo>
                <a:cubicBezTo>
                  <a:pt x="787" y="222"/>
                  <a:pt x="787" y="224"/>
                  <a:pt x="786" y="224"/>
                </a:cubicBezTo>
                <a:cubicBezTo>
                  <a:pt x="788" y="225"/>
                  <a:pt x="788" y="226"/>
                  <a:pt x="789" y="227"/>
                </a:cubicBezTo>
                <a:cubicBezTo>
                  <a:pt x="789" y="228"/>
                  <a:pt x="789" y="229"/>
                  <a:pt x="789" y="229"/>
                </a:cubicBezTo>
                <a:cubicBezTo>
                  <a:pt x="788" y="226"/>
                  <a:pt x="787" y="226"/>
                  <a:pt x="785" y="224"/>
                </a:cubicBezTo>
                <a:cubicBezTo>
                  <a:pt x="787" y="227"/>
                  <a:pt x="786" y="227"/>
                  <a:pt x="785" y="226"/>
                </a:cubicBezTo>
                <a:cubicBezTo>
                  <a:pt x="787" y="230"/>
                  <a:pt x="786" y="228"/>
                  <a:pt x="787" y="231"/>
                </a:cubicBezTo>
                <a:cubicBezTo>
                  <a:pt x="788" y="231"/>
                  <a:pt x="789" y="234"/>
                  <a:pt x="790" y="235"/>
                </a:cubicBezTo>
                <a:cubicBezTo>
                  <a:pt x="790" y="235"/>
                  <a:pt x="792" y="237"/>
                  <a:pt x="791" y="235"/>
                </a:cubicBezTo>
                <a:cubicBezTo>
                  <a:pt x="790" y="235"/>
                  <a:pt x="790" y="233"/>
                  <a:pt x="789" y="232"/>
                </a:cubicBezTo>
                <a:cubicBezTo>
                  <a:pt x="789" y="232"/>
                  <a:pt x="790" y="235"/>
                  <a:pt x="789" y="233"/>
                </a:cubicBezTo>
                <a:cubicBezTo>
                  <a:pt x="789" y="233"/>
                  <a:pt x="787" y="230"/>
                  <a:pt x="788" y="230"/>
                </a:cubicBezTo>
                <a:cubicBezTo>
                  <a:pt x="789" y="232"/>
                  <a:pt x="790" y="234"/>
                  <a:pt x="792" y="235"/>
                </a:cubicBezTo>
                <a:cubicBezTo>
                  <a:pt x="791" y="234"/>
                  <a:pt x="789" y="231"/>
                  <a:pt x="789" y="230"/>
                </a:cubicBezTo>
                <a:close/>
                <a:moveTo>
                  <a:pt x="788" y="235"/>
                </a:moveTo>
                <a:cubicBezTo>
                  <a:pt x="788" y="233"/>
                  <a:pt x="786" y="229"/>
                  <a:pt x="785" y="229"/>
                </a:cubicBezTo>
                <a:cubicBezTo>
                  <a:pt x="787" y="231"/>
                  <a:pt x="787" y="234"/>
                  <a:pt x="788" y="235"/>
                </a:cubicBezTo>
                <a:close/>
                <a:moveTo>
                  <a:pt x="756" y="236"/>
                </a:moveTo>
                <a:cubicBezTo>
                  <a:pt x="755" y="236"/>
                  <a:pt x="757" y="239"/>
                  <a:pt x="758" y="240"/>
                </a:cubicBezTo>
                <a:cubicBezTo>
                  <a:pt x="760" y="241"/>
                  <a:pt x="759" y="242"/>
                  <a:pt x="760" y="244"/>
                </a:cubicBezTo>
                <a:cubicBezTo>
                  <a:pt x="760" y="243"/>
                  <a:pt x="762" y="245"/>
                  <a:pt x="761" y="242"/>
                </a:cubicBezTo>
                <a:cubicBezTo>
                  <a:pt x="759" y="241"/>
                  <a:pt x="759" y="241"/>
                  <a:pt x="756" y="236"/>
                </a:cubicBezTo>
                <a:close/>
                <a:moveTo>
                  <a:pt x="780" y="220"/>
                </a:moveTo>
                <a:cubicBezTo>
                  <a:pt x="781" y="222"/>
                  <a:pt x="781" y="223"/>
                  <a:pt x="782" y="225"/>
                </a:cubicBezTo>
                <a:cubicBezTo>
                  <a:pt x="783" y="226"/>
                  <a:pt x="784" y="227"/>
                  <a:pt x="785" y="228"/>
                </a:cubicBezTo>
                <a:cubicBezTo>
                  <a:pt x="783" y="225"/>
                  <a:pt x="782" y="222"/>
                  <a:pt x="780" y="220"/>
                </a:cubicBezTo>
                <a:close/>
                <a:moveTo>
                  <a:pt x="787" y="219"/>
                </a:moveTo>
                <a:cubicBezTo>
                  <a:pt x="786" y="219"/>
                  <a:pt x="786" y="220"/>
                  <a:pt x="787" y="221"/>
                </a:cubicBezTo>
                <a:cubicBezTo>
                  <a:pt x="787" y="221"/>
                  <a:pt x="789" y="225"/>
                  <a:pt x="789" y="223"/>
                </a:cubicBezTo>
                <a:cubicBezTo>
                  <a:pt x="787" y="221"/>
                  <a:pt x="787" y="220"/>
                  <a:pt x="787" y="219"/>
                </a:cubicBezTo>
                <a:close/>
                <a:moveTo>
                  <a:pt x="781" y="226"/>
                </a:moveTo>
                <a:cubicBezTo>
                  <a:pt x="781" y="227"/>
                  <a:pt x="780" y="223"/>
                  <a:pt x="779" y="224"/>
                </a:cubicBezTo>
                <a:cubicBezTo>
                  <a:pt x="780" y="224"/>
                  <a:pt x="780" y="225"/>
                  <a:pt x="779" y="225"/>
                </a:cubicBezTo>
                <a:cubicBezTo>
                  <a:pt x="781" y="228"/>
                  <a:pt x="783" y="228"/>
                  <a:pt x="781" y="226"/>
                </a:cubicBezTo>
                <a:close/>
                <a:moveTo>
                  <a:pt x="760" y="233"/>
                </a:moveTo>
                <a:cubicBezTo>
                  <a:pt x="761" y="237"/>
                  <a:pt x="756" y="230"/>
                  <a:pt x="756" y="233"/>
                </a:cubicBezTo>
                <a:cubicBezTo>
                  <a:pt x="758" y="234"/>
                  <a:pt x="760" y="235"/>
                  <a:pt x="762" y="237"/>
                </a:cubicBezTo>
                <a:cubicBezTo>
                  <a:pt x="761" y="235"/>
                  <a:pt x="761" y="233"/>
                  <a:pt x="760" y="233"/>
                </a:cubicBezTo>
                <a:close/>
                <a:moveTo>
                  <a:pt x="754" y="232"/>
                </a:moveTo>
                <a:cubicBezTo>
                  <a:pt x="755" y="231"/>
                  <a:pt x="756" y="235"/>
                  <a:pt x="757" y="236"/>
                </a:cubicBezTo>
                <a:cubicBezTo>
                  <a:pt x="757" y="234"/>
                  <a:pt x="753" y="229"/>
                  <a:pt x="754" y="232"/>
                </a:cubicBezTo>
                <a:close/>
                <a:moveTo>
                  <a:pt x="747" y="236"/>
                </a:moveTo>
                <a:cubicBezTo>
                  <a:pt x="746" y="236"/>
                  <a:pt x="748" y="238"/>
                  <a:pt x="748" y="239"/>
                </a:cubicBezTo>
                <a:cubicBezTo>
                  <a:pt x="749" y="239"/>
                  <a:pt x="749" y="240"/>
                  <a:pt x="749" y="239"/>
                </a:cubicBezTo>
                <a:cubicBezTo>
                  <a:pt x="748" y="239"/>
                  <a:pt x="748" y="237"/>
                  <a:pt x="747" y="236"/>
                </a:cubicBezTo>
                <a:close/>
                <a:moveTo>
                  <a:pt x="753" y="170"/>
                </a:moveTo>
                <a:cubicBezTo>
                  <a:pt x="752" y="170"/>
                  <a:pt x="752" y="170"/>
                  <a:pt x="753" y="172"/>
                </a:cubicBezTo>
                <a:cubicBezTo>
                  <a:pt x="754" y="172"/>
                  <a:pt x="755" y="172"/>
                  <a:pt x="756" y="173"/>
                </a:cubicBezTo>
                <a:cubicBezTo>
                  <a:pt x="754" y="172"/>
                  <a:pt x="753" y="171"/>
                  <a:pt x="753" y="170"/>
                </a:cubicBezTo>
                <a:close/>
                <a:moveTo>
                  <a:pt x="747" y="163"/>
                </a:moveTo>
                <a:cubicBezTo>
                  <a:pt x="746" y="162"/>
                  <a:pt x="745" y="163"/>
                  <a:pt x="746" y="165"/>
                </a:cubicBezTo>
                <a:cubicBezTo>
                  <a:pt x="746" y="164"/>
                  <a:pt x="749" y="168"/>
                  <a:pt x="749" y="167"/>
                </a:cubicBezTo>
                <a:cubicBezTo>
                  <a:pt x="746" y="163"/>
                  <a:pt x="748" y="165"/>
                  <a:pt x="747" y="163"/>
                </a:cubicBezTo>
                <a:close/>
                <a:moveTo>
                  <a:pt x="726" y="156"/>
                </a:moveTo>
                <a:cubicBezTo>
                  <a:pt x="725" y="156"/>
                  <a:pt x="728" y="159"/>
                  <a:pt x="729" y="160"/>
                </a:cubicBezTo>
                <a:cubicBezTo>
                  <a:pt x="730" y="160"/>
                  <a:pt x="728" y="158"/>
                  <a:pt x="726" y="156"/>
                </a:cubicBezTo>
                <a:close/>
                <a:moveTo>
                  <a:pt x="723" y="152"/>
                </a:moveTo>
                <a:cubicBezTo>
                  <a:pt x="722" y="152"/>
                  <a:pt x="721" y="151"/>
                  <a:pt x="721" y="150"/>
                </a:cubicBezTo>
                <a:cubicBezTo>
                  <a:pt x="720" y="150"/>
                  <a:pt x="720" y="151"/>
                  <a:pt x="721" y="152"/>
                </a:cubicBezTo>
                <a:cubicBezTo>
                  <a:pt x="722" y="151"/>
                  <a:pt x="725" y="155"/>
                  <a:pt x="724" y="153"/>
                </a:cubicBezTo>
                <a:cubicBezTo>
                  <a:pt x="723" y="153"/>
                  <a:pt x="723" y="153"/>
                  <a:pt x="723" y="152"/>
                </a:cubicBezTo>
                <a:close/>
                <a:moveTo>
                  <a:pt x="726" y="146"/>
                </a:moveTo>
                <a:cubicBezTo>
                  <a:pt x="727" y="147"/>
                  <a:pt x="726" y="147"/>
                  <a:pt x="728" y="149"/>
                </a:cubicBezTo>
                <a:cubicBezTo>
                  <a:pt x="729" y="150"/>
                  <a:pt x="727" y="147"/>
                  <a:pt x="726" y="146"/>
                </a:cubicBezTo>
                <a:close/>
                <a:moveTo>
                  <a:pt x="717" y="154"/>
                </a:moveTo>
                <a:cubicBezTo>
                  <a:pt x="718" y="156"/>
                  <a:pt x="715" y="152"/>
                  <a:pt x="714" y="152"/>
                </a:cubicBezTo>
                <a:cubicBezTo>
                  <a:pt x="714" y="153"/>
                  <a:pt x="716" y="154"/>
                  <a:pt x="717" y="156"/>
                </a:cubicBezTo>
                <a:cubicBezTo>
                  <a:pt x="718" y="156"/>
                  <a:pt x="718" y="155"/>
                  <a:pt x="717" y="154"/>
                </a:cubicBezTo>
                <a:close/>
                <a:moveTo>
                  <a:pt x="723" y="138"/>
                </a:moveTo>
                <a:cubicBezTo>
                  <a:pt x="726" y="140"/>
                  <a:pt x="727" y="142"/>
                  <a:pt x="728" y="143"/>
                </a:cubicBezTo>
                <a:cubicBezTo>
                  <a:pt x="727" y="141"/>
                  <a:pt x="725" y="139"/>
                  <a:pt x="723" y="138"/>
                </a:cubicBezTo>
                <a:close/>
                <a:moveTo>
                  <a:pt x="723" y="139"/>
                </a:moveTo>
                <a:cubicBezTo>
                  <a:pt x="723" y="138"/>
                  <a:pt x="722" y="137"/>
                  <a:pt x="721" y="137"/>
                </a:cubicBezTo>
                <a:cubicBezTo>
                  <a:pt x="720" y="136"/>
                  <a:pt x="720" y="136"/>
                  <a:pt x="720" y="137"/>
                </a:cubicBezTo>
                <a:cubicBezTo>
                  <a:pt x="721" y="139"/>
                  <a:pt x="722" y="140"/>
                  <a:pt x="723" y="141"/>
                </a:cubicBezTo>
                <a:cubicBezTo>
                  <a:pt x="722" y="139"/>
                  <a:pt x="720" y="138"/>
                  <a:pt x="721" y="137"/>
                </a:cubicBezTo>
                <a:cubicBezTo>
                  <a:pt x="723" y="139"/>
                  <a:pt x="724" y="140"/>
                  <a:pt x="725" y="140"/>
                </a:cubicBezTo>
                <a:cubicBezTo>
                  <a:pt x="724" y="139"/>
                  <a:pt x="724" y="139"/>
                  <a:pt x="723" y="139"/>
                </a:cubicBezTo>
                <a:close/>
                <a:moveTo>
                  <a:pt x="722" y="140"/>
                </a:moveTo>
                <a:cubicBezTo>
                  <a:pt x="719" y="137"/>
                  <a:pt x="719" y="137"/>
                  <a:pt x="719" y="137"/>
                </a:cubicBezTo>
                <a:cubicBezTo>
                  <a:pt x="718" y="137"/>
                  <a:pt x="720" y="140"/>
                  <a:pt x="721" y="141"/>
                </a:cubicBezTo>
                <a:cubicBezTo>
                  <a:pt x="722" y="141"/>
                  <a:pt x="722" y="141"/>
                  <a:pt x="722" y="140"/>
                </a:cubicBezTo>
                <a:close/>
                <a:moveTo>
                  <a:pt x="721" y="134"/>
                </a:moveTo>
                <a:cubicBezTo>
                  <a:pt x="720" y="134"/>
                  <a:pt x="719" y="134"/>
                  <a:pt x="719" y="134"/>
                </a:cubicBezTo>
                <a:cubicBezTo>
                  <a:pt x="723" y="138"/>
                  <a:pt x="724" y="137"/>
                  <a:pt x="721" y="134"/>
                </a:cubicBezTo>
                <a:close/>
                <a:moveTo>
                  <a:pt x="714" y="136"/>
                </a:moveTo>
                <a:cubicBezTo>
                  <a:pt x="715" y="135"/>
                  <a:pt x="715" y="135"/>
                  <a:pt x="714" y="134"/>
                </a:cubicBezTo>
                <a:cubicBezTo>
                  <a:pt x="713" y="133"/>
                  <a:pt x="712" y="134"/>
                  <a:pt x="714" y="136"/>
                </a:cubicBezTo>
                <a:close/>
                <a:moveTo>
                  <a:pt x="697" y="113"/>
                </a:moveTo>
                <a:cubicBezTo>
                  <a:pt x="698" y="114"/>
                  <a:pt x="698" y="113"/>
                  <a:pt x="697" y="113"/>
                </a:cubicBezTo>
                <a:cubicBezTo>
                  <a:pt x="696" y="113"/>
                  <a:pt x="694" y="110"/>
                  <a:pt x="693" y="110"/>
                </a:cubicBezTo>
                <a:cubicBezTo>
                  <a:pt x="695" y="112"/>
                  <a:pt x="698" y="116"/>
                  <a:pt x="700" y="117"/>
                </a:cubicBezTo>
                <a:cubicBezTo>
                  <a:pt x="699" y="116"/>
                  <a:pt x="696" y="113"/>
                  <a:pt x="697" y="113"/>
                </a:cubicBezTo>
                <a:close/>
                <a:moveTo>
                  <a:pt x="662" y="153"/>
                </a:moveTo>
                <a:cubicBezTo>
                  <a:pt x="663" y="154"/>
                  <a:pt x="665" y="156"/>
                  <a:pt x="666" y="156"/>
                </a:cubicBezTo>
                <a:cubicBezTo>
                  <a:pt x="665" y="155"/>
                  <a:pt x="663" y="152"/>
                  <a:pt x="662" y="153"/>
                </a:cubicBezTo>
                <a:close/>
                <a:moveTo>
                  <a:pt x="685" y="103"/>
                </a:moveTo>
                <a:cubicBezTo>
                  <a:pt x="687" y="104"/>
                  <a:pt x="686" y="104"/>
                  <a:pt x="687" y="105"/>
                </a:cubicBezTo>
                <a:cubicBezTo>
                  <a:pt x="688" y="106"/>
                  <a:pt x="689" y="106"/>
                  <a:pt x="689" y="106"/>
                </a:cubicBezTo>
                <a:cubicBezTo>
                  <a:pt x="688" y="105"/>
                  <a:pt x="687" y="103"/>
                  <a:pt x="685" y="103"/>
                </a:cubicBezTo>
                <a:close/>
                <a:moveTo>
                  <a:pt x="599" y="49"/>
                </a:moveTo>
                <a:cubicBezTo>
                  <a:pt x="600" y="50"/>
                  <a:pt x="603" y="51"/>
                  <a:pt x="603" y="50"/>
                </a:cubicBezTo>
                <a:cubicBezTo>
                  <a:pt x="600" y="49"/>
                  <a:pt x="601" y="50"/>
                  <a:pt x="599" y="49"/>
                </a:cubicBezTo>
                <a:close/>
                <a:moveTo>
                  <a:pt x="579" y="43"/>
                </a:moveTo>
                <a:cubicBezTo>
                  <a:pt x="579" y="42"/>
                  <a:pt x="584" y="44"/>
                  <a:pt x="581" y="43"/>
                </a:cubicBezTo>
                <a:cubicBezTo>
                  <a:pt x="581" y="43"/>
                  <a:pt x="576" y="41"/>
                  <a:pt x="579" y="43"/>
                </a:cubicBezTo>
                <a:close/>
                <a:moveTo>
                  <a:pt x="568" y="37"/>
                </a:moveTo>
                <a:cubicBezTo>
                  <a:pt x="568" y="36"/>
                  <a:pt x="570" y="37"/>
                  <a:pt x="571" y="38"/>
                </a:cubicBezTo>
                <a:cubicBezTo>
                  <a:pt x="573" y="38"/>
                  <a:pt x="568" y="36"/>
                  <a:pt x="567" y="36"/>
                </a:cubicBezTo>
                <a:cubicBezTo>
                  <a:pt x="570" y="37"/>
                  <a:pt x="565" y="36"/>
                  <a:pt x="568" y="37"/>
                </a:cubicBezTo>
                <a:close/>
                <a:moveTo>
                  <a:pt x="562" y="33"/>
                </a:moveTo>
                <a:cubicBezTo>
                  <a:pt x="563" y="34"/>
                  <a:pt x="563" y="33"/>
                  <a:pt x="565" y="33"/>
                </a:cubicBezTo>
                <a:cubicBezTo>
                  <a:pt x="567" y="35"/>
                  <a:pt x="567" y="35"/>
                  <a:pt x="567" y="35"/>
                </a:cubicBezTo>
                <a:cubicBezTo>
                  <a:pt x="570" y="35"/>
                  <a:pt x="558" y="30"/>
                  <a:pt x="562" y="33"/>
                </a:cubicBezTo>
                <a:close/>
                <a:moveTo>
                  <a:pt x="533" y="22"/>
                </a:moveTo>
                <a:cubicBezTo>
                  <a:pt x="531" y="22"/>
                  <a:pt x="527" y="19"/>
                  <a:pt x="523" y="19"/>
                </a:cubicBezTo>
                <a:cubicBezTo>
                  <a:pt x="524" y="20"/>
                  <a:pt x="519" y="18"/>
                  <a:pt x="519" y="19"/>
                </a:cubicBezTo>
                <a:cubicBezTo>
                  <a:pt x="522" y="20"/>
                  <a:pt x="520" y="20"/>
                  <a:pt x="524" y="21"/>
                </a:cubicBezTo>
                <a:cubicBezTo>
                  <a:pt x="522" y="19"/>
                  <a:pt x="526" y="20"/>
                  <a:pt x="528" y="20"/>
                </a:cubicBezTo>
                <a:cubicBezTo>
                  <a:pt x="529" y="21"/>
                  <a:pt x="532" y="22"/>
                  <a:pt x="535" y="23"/>
                </a:cubicBezTo>
                <a:cubicBezTo>
                  <a:pt x="534" y="23"/>
                  <a:pt x="535" y="22"/>
                  <a:pt x="533" y="22"/>
                </a:cubicBezTo>
                <a:close/>
                <a:moveTo>
                  <a:pt x="513" y="21"/>
                </a:moveTo>
                <a:cubicBezTo>
                  <a:pt x="515" y="21"/>
                  <a:pt x="520" y="24"/>
                  <a:pt x="520" y="23"/>
                </a:cubicBezTo>
                <a:cubicBezTo>
                  <a:pt x="516" y="22"/>
                  <a:pt x="514" y="21"/>
                  <a:pt x="513" y="21"/>
                </a:cubicBezTo>
                <a:close/>
                <a:moveTo>
                  <a:pt x="499" y="13"/>
                </a:moveTo>
                <a:cubicBezTo>
                  <a:pt x="501" y="14"/>
                  <a:pt x="499" y="14"/>
                  <a:pt x="502" y="15"/>
                </a:cubicBezTo>
                <a:cubicBezTo>
                  <a:pt x="501" y="14"/>
                  <a:pt x="504" y="14"/>
                  <a:pt x="502" y="14"/>
                </a:cubicBezTo>
                <a:cubicBezTo>
                  <a:pt x="502" y="14"/>
                  <a:pt x="499" y="13"/>
                  <a:pt x="499" y="13"/>
                </a:cubicBezTo>
                <a:close/>
                <a:moveTo>
                  <a:pt x="497" y="13"/>
                </a:moveTo>
                <a:cubicBezTo>
                  <a:pt x="502" y="15"/>
                  <a:pt x="497" y="14"/>
                  <a:pt x="497" y="15"/>
                </a:cubicBezTo>
                <a:cubicBezTo>
                  <a:pt x="499" y="15"/>
                  <a:pt x="500" y="16"/>
                  <a:pt x="501" y="16"/>
                </a:cubicBezTo>
                <a:cubicBezTo>
                  <a:pt x="500" y="15"/>
                  <a:pt x="499" y="13"/>
                  <a:pt x="497" y="13"/>
                </a:cubicBezTo>
                <a:close/>
                <a:moveTo>
                  <a:pt x="494" y="15"/>
                </a:moveTo>
                <a:cubicBezTo>
                  <a:pt x="494" y="14"/>
                  <a:pt x="496" y="15"/>
                  <a:pt x="496" y="14"/>
                </a:cubicBezTo>
                <a:cubicBezTo>
                  <a:pt x="492" y="13"/>
                  <a:pt x="493" y="14"/>
                  <a:pt x="494" y="15"/>
                </a:cubicBezTo>
                <a:close/>
                <a:moveTo>
                  <a:pt x="441" y="7"/>
                </a:moveTo>
                <a:cubicBezTo>
                  <a:pt x="441" y="7"/>
                  <a:pt x="443" y="7"/>
                  <a:pt x="445" y="7"/>
                </a:cubicBezTo>
                <a:cubicBezTo>
                  <a:pt x="444" y="7"/>
                  <a:pt x="445" y="7"/>
                  <a:pt x="444" y="7"/>
                </a:cubicBezTo>
                <a:cubicBezTo>
                  <a:pt x="444" y="7"/>
                  <a:pt x="439" y="7"/>
                  <a:pt x="441" y="7"/>
                </a:cubicBezTo>
                <a:close/>
                <a:moveTo>
                  <a:pt x="436" y="6"/>
                </a:moveTo>
                <a:cubicBezTo>
                  <a:pt x="433" y="6"/>
                  <a:pt x="434" y="5"/>
                  <a:pt x="431" y="6"/>
                </a:cubicBezTo>
                <a:cubicBezTo>
                  <a:pt x="431" y="6"/>
                  <a:pt x="433" y="6"/>
                  <a:pt x="432" y="7"/>
                </a:cubicBezTo>
                <a:cubicBezTo>
                  <a:pt x="434" y="7"/>
                  <a:pt x="436" y="8"/>
                  <a:pt x="437" y="7"/>
                </a:cubicBezTo>
                <a:cubicBezTo>
                  <a:pt x="432" y="7"/>
                  <a:pt x="433" y="6"/>
                  <a:pt x="436" y="6"/>
                </a:cubicBezTo>
                <a:close/>
                <a:moveTo>
                  <a:pt x="424" y="8"/>
                </a:moveTo>
                <a:cubicBezTo>
                  <a:pt x="420" y="7"/>
                  <a:pt x="426" y="6"/>
                  <a:pt x="421" y="7"/>
                </a:cubicBezTo>
                <a:cubicBezTo>
                  <a:pt x="423" y="7"/>
                  <a:pt x="420" y="8"/>
                  <a:pt x="424" y="8"/>
                </a:cubicBezTo>
                <a:close/>
                <a:moveTo>
                  <a:pt x="415" y="4"/>
                </a:moveTo>
                <a:cubicBezTo>
                  <a:pt x="415" y="4"/>
                  <a:pt x="414" y="4"/>
                  <a:pt x="413" y="4"/>
                </a:cubicBezTo>
                <a:cubicBezTo>
                  <a:pt x="415" y="4"/>
                  <a:pt x="417" y="5"/>
                  <a:pt x="420" y="5"/>
                </a:cubicBezTo>
                <a:cubicBezTo>
                  <a:pt x="420" y="4"/>
                  <a:pt x="417" y="4"/>
                  <a:pt x="415" y="4"/>
                </a:cubicBezTo>
                <a:close/>
                <a:moveTo>
                  <a:pt x="417" y="5"/>
                </a:moveTo>
                <a:cubicBezTo>
                  <a:pt x="417" y="6"/>
                  <a:pt x="414" y="6"/>
                  <a:pt x="412" y="5"/>
                </a:cubicBezTo>
                <a:cubicBezTo>
                  <a:pt x="412" y="6"/>
                  <a:pt x="415" y="6"/>
                  <a:pt x="416" y="7"/>
                </a:cubicBezTo>
                <a:cubicBezTo>
                  <a:pt x="416" y="7"/>
                  <a:pt x="417" y="7"/>
                  <a:pt x="418" y="7"/>
                </a:cubicBezTo>
                <a:cubicBezTo>
                  <a:pt x="413" y="6"/>
                  <a:pt x="418" y="6"/>
                  <a:pt x="419" y="6"/>
                </a:cubicBezTo>
                <a:cubicBezTo>
                  <a:pt x="419" y="6"/>
                  <a:pt x="419" y="5"/>
                  <a:pt x="417" y="5"/>
                </a:cubicBezTo>
                <a:close/>
                <a:moveTo>
                  <a:pt x="412" y="4"/>
                </a:moveTo>
                <a:cubicBezTo>
                  <a:pt x="409" y="4"/>
                  <a:pt x="409" y="5"/>
                  <a:pt x="410" y="5"/>
                </a:cubicBezTo>
                <a:cubicBezTo>
                  <a:pt x="409" y="4"/>
                  <a:pt x="414" y="5"/>
                  <a:pt x="413" y="5"/>
                </a:cubicBezTo>
                <a:cubicBezTo>
                  <a:pt x="410" y="4"/>
                  <a:pt x="413" y="4"/>
                  <a:pt x="412" y="4"/>
                </a:cubicBezTo>
                <a:close/>
                <a:moveTo>
                  <a:pt x="409" y="5"/>
                </a:moveTo>
                <a:cubicBezTo>
                  <a:pt x="405" y="5"/>
                  <a:pt x="405" y="5"/>
                  <a:pt x="405" y="5"/>
                </a:cubicBezTo>
                <a:cubicBezTo>
                  <a:pt x="404" y="6"/>
                  <a:pt x="408" y="6"/>
                  <a:pt x="407" y="7"/>
                </a:cubicBezTo>
                <a:cubicBezTo>
                  <a:pt x="409" y="7"/>
                  <a:pt x="409" y="7"/>
                  <a:pt x="412" y="8"/>
                </a:cubicBezTo>
                <a:cubicBezTo>
                  <a:pt x="411" y="7"/>
                  <a:pt x="404" y="6"/>
                  <a:pt x="409" y="5"/>
                </a:cubicBezTo>
                <a:close/>
                <a:moveTo>
                  <a:pt x="391" y="7"/>
                </a:moveTo>
                <a:cubicBezTo>
                  <a:pt x="393" y="7"/>
                  <a:pt x="395" y="7"/>
                  <a:pt x="397" y="7"/>
                </a:cubicBezTo>
                <a:cubicBezTo>
                  <a:pt x="397" y="7"/>
                  <a:pt x="397" y="7"/>
                  <a:pt x="397" y="7"/>
                </a:cubicBezTo>
                <a:cubicBezTo>
                  <a:pt x="395" y="7"/>
                  <a:pt x="393" y="7"/>
                  <a:pt x="391" y="7"/>
                </a:cubicBezTo>
                <a:close/>
                <a:moveTo>
                  <a:pt x="376" y="46"/>
                </a:moveTo>
                <a:cubicBezTo>
                  <a:pt x="376" y="47"/>
                  <a:pt x="379" y="47"/>
                  <a:pt x="380" y="47"/>
                </a:cubicBezTo>
                <a:cubicBezTo>
                  <a:pt x="378" y="47"/>
                  <a:pt x="378" y="46"/>
                  <a:pt x="376" y="46"/>
                </a:cubicBezTo>
                <a:close/>
                <a:moveTo>
                  <a:pt x="354" y="47"/>
                </a:moveTo>
                <a:cubicBezTo>
                  <a:pt x="353" y="48"/>
                  <a:pt x="359" y="47"/>
                  <a:pt x="359" y="47"/>
                </a:cubicBezTo>
                <a:cubicBezTo>
                  <a:pt x="357" y="47"/>
                  <a:pt x="357" y="46"/>
                  <a:pt x="354" y="47"/>
                </a:cubicBezTo>
                <a:close/>
                <a:moveTo>
                  <a:pt x="323" y="15"/>
                </a:moveTo>
                <a:cubicBezTo>
                  <a:pt x="323" y="16"/>
                  <a:pt x="322" y="16"/>
                  <a:pt x="324" y="16"/>
                </a:cubicBezTo>
                <a:cubicBezTo>
                  <a:pt x="326" y="16"/>
                  <a:pt x="326" y="15"/>
                  <a:pt x="323" y="15"/>
                </a:cubicBezTo>
                <a:close/>
                <a:moveTo>
                  <a:pt x="325" y="47"/>
                </a:moveTo>
                <a:cubicBezTo>
                  <a:pt x="324" y="48"/>
                  <a:pt x="328" y="47"/>
                  <a:pt x="329" y="46"/>
                </a:cubicBezTo>
                <a:cubicBezTo>
                  <a:pt x="327" y="47"/>
                  <a:pt x="327" y="46"/>
                  <a:pt x="325" y="47"/>
                </a:cubicBezTo>
                <a:close/>
                <a:moveTo>
                  <a:pt x="321" y="51"/>
                </a:moveTo>
                <a:cubicBezTo>
                  <a:pt x="324" y="50"/>
                  <a:pt x="323" y="50"/>
                  <a:pt x="321" y="51"/>
                </a:cubicBezTo>
                <a:cubicBezTo>
                  <a:pt x="323" y="51"/>
                  <a:pt x="325" y="50"/>
                  <a:pt x="327" y="50"/>
                </a:cubicBezTo>
                <a:cubicBezTo>
                  <a:pt x="328" y="50"/>
                  <a:pt x="328" y="49"/>
                  <a:pt x="328" y="49"/>
                </a:cubicBezTo>
                <a:cubicBezTo>
                  <a:pt x="325" y="50"/>
                  <a:pt x="321" y="49"/>
                  <a:pt x="321" y="51"/>
                </a:cubicBezTo>
                <a:close/>
                <a:moveTo>
                  <a:pt x="316" y="18"/>
                </a:moveTo>
                <a:cubicBezTo>
                  <a:pt x="319" y="17"/>
                  <a:pt x="317" y="18"/>
                  <a:pt x="320" y="18"/>
                </a:cubicBezTo>
                <a:cubicBezTo>
                  <a:pt x="319" y="17"/>
                  <a:pt x="321" y="17"/>
                  <a:pt x="321" y="16"/>
                </a:cubicBezTo>
                <a:cubicBezTo>
                  <a:pt x="318" y="17"/>
                  <a:pt x="319" y="17"/>
                  <a:pt x="317" y="17"/>
                </a:cubicBezTo>
                <a:cubicBezTo>
                  <a:pt x="317" y="17"/>
                  <a:pt x="317" y="17"/>
                  <a:pt x="316" y="18"/>
                </a:cubicBezTo>
                <a:close/>
                <a:moveTo>
                  <a:pt x="311" y="35"/>
                </a:moveTo>
                <a:cubicBezTo>
                  <a:pt x="312" y="34"/>
                  <a:pt x="316" y="34"/>
                  <a:pt x="315" y="34"/>
                </a:cubicBezTo>
                <a:cubicBezTo>
                  <a:pt x="314" y="34"/>
                  <a:pt x="308" y="35"/>
                  <a:pt x="311" y="35"/>
                </a:cubicBezTo>
                <a:close/>
                <a:moveTo>
                  <a:pt x="314" y="49"/>
                </a:moveTo>
                <a:cubicBezTo>
                  <a:pt x="314" y="50"/>
                  <a:pt x="318" y="49"/>
                  <a:pt x="318" y="49"/>
                </a:cubicBezTo>
                <a:lnTo>
                  <a:pt x="314" y="49"/>
                </a:lnTo>
                <a:close/>
                <a:moveTo>
                  <a:pt x="308" y="47"/>
                </a:moveTo>
                <a:cubicBezTo>
                  <a:pt x="308" y="48"/>
                  <a:pt x="314" y="46"/>
                  <a:pt x="315" y="46"/>
                </a:cubicBezTo>
                <a:cubicBezTo>
                  <a:pt x="315" y="46"/>
                  <a:pt x="315" y="45"/>
                  <a:pt x="316" y="45"/>
                </a:cubicBezTo>
                <a:cubicBezTo>
                  <a:pt x="313" y="46"/>
                  <a:pt x="309" y="47"/>
                  <a:pt x="308" y="47"/>
                </a:cubicBezTo>
                <a:close/>
                <a:moveTo>
                  <a:pt x="302" y="21"/>
                </a:moveTo>
                <a:cubicBezTo>
                  <a:pt x="305" y="21"/>
                  <a:pt x="305" y="20"/>
                  <a:pt x="306" y="20"/>
                </a:cubicBezTo>
                <a:cubicBezTo>
                  <a:pt x="306" y="19"/>
                  <a:pt x="307" y="19"/>
                  <a:pt x="307" y="19"/>
                </a:cubicBezTo>
                <a:cubicBezTo>
                  <a:pt x="304" y="20"/>
                  <a:pt x="303" y="20"/>
                  <a:pt x="302" y="21"/>
                </a:cubicBezTo>
                <a:close/>
                <a:moveTo>
                  <a:pt x="314" y="52"/>
                </a:moveTo>
                <a:cubicBezTo>
                  <a:pt x="313" y="52"/>
                  <a:pt x="311" y="53"/>
                  <a:pt x="311" y="53"/>
                </a:cubicBezTo>
                <a:cubicBezTo>
                  <a:pt x="314" y="52"/>
                  <a:pt x="313" y="53"/>
                  <a:pt x="315" y="52"/>
                </a:cubicBezTo>
                <a:cubicBezTo>
                  <a:pt x="315" y="52"/>
                  <a:pt x="315" y="52"/>
                  <a:pt x="314" y="52"/>
                </a:cubicBezTo>
                <a:close/>
                <a:moveTo>
                  <a:pt x="309" y="42"/>
                </a:moveTo>
                <a:cubicBezTo>
                  <a:pt x="307" y="43"/>
                  <a:pt x="305" y="43"/>
                  <a:pt x="304" y="44"/>
                </a:cubicBezTo>
                <a:cubicBezTo>
                  <a:pt x="306" y="44"/>
                  <a:pt x="309" y="43"/>
                  <a:pt x="310" y="42"/>
                </a:cubicBezTo>
                <a:cubicBezTo>
                  <a:pt x="310" y="42"/>
                  <a:pt x="310" y="41"/>
                  <a:pt x="309" y="41"/>
                </a:cubicBezTo>
                <a:lnTo>
                  <a:pt x="309" y="42"/>
                </a:lnTo>
                <a:close/>
                <a:moveTo>
                  <a:pt x="306" y="49"/>
                </a:moveTo>
                <a:cubicBezTo>
                  <a:pt x="308" y="49"/>
                  <a:pt x="309" y="49"/>
                  <a:pt x="310" y="49"/>
                </a:cubicBezTo>
                <a:cubicBezTo>
                  <a:pt x="310" y="48"/>
                  <a:pt x="310" y="48"/>
                  <a:pt x="311" y="48"/>
                </a:cubicBezTo>
                <a:cubicBezTo>
                  <a:pt x="311" y="48"/>
                  <a:pt x="311" y="48"/>
                  <a:pt x="311" y="48"/>
                </a:cubicBezTo>
                <a:cubicBezTo>
                  <a:pt x="308" y="49"/>
                  <a:pt x="307" y="48"/>
                  <a:pt x="306" y="49"/>
                </a:cubicBezTo>
                <a:close/>
                <a:moveTo>
                  <a:pt x="306" y="51"/>
                </a:moveTo>
                <a:cubicBezTo>
                  <a:pt x="307" y="51"/>
                  <a:pt x="308" y="50"/>
                  <a:pt x="309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07" y="50"/>
                  <a:pt x="304" y="51"/>
                  <a:pt x="306" y="51"/>
                </a:cubicBezTo>
                <a:close/>
                <a:moveTo>
                  <a:pt x="307" y="53"/>
                </a:moveTo>
                <a:cubicBezTo>
                  <a:pt x="309" y="53"/>
                  <a:pt x="306" y="54"/>
                  <a:pt x="306" y="54"/>
                </a:cubicBezTo>
                <a:cubicBezTo>
                  <a:pt x="309" y="54"/>
                  <a:pt x="310" y="53"/>
                  <a:pt x="311" y="52"/>
                </a:cubicBezTo>
                <a:cubicBezTo>
                  <a:pt x="310" y="52"/>
                  <a:pt x="308" y="53"/>
                  <a:pt x="307" y="53"/>
                </a:cubicBezTo>
                <a:close/>
                <a:moveTo>
                  <a:pt x="308" y="54"/>
                </a:moveTo>
                <a:cubicBezTo>
                  <a:pt x="305" y="55"/>
                  <a:pt x="306" y="55"/>
                  <a:pt x="305" y="56"/>
                </a:cubicBezTo>
                <a:cubicBezTo>
                  <a:pt x="308" y="55"/>
                  <a:pt x="309" y="56"/>
                  <a:pt x="310" y="55"/>
                </a:cubicBezTo>
                <a:cubicBezTo>
                  <a:pt x="308" y="55"/>
                  <a:pt x="308" y="55"/>
                  <a:pt x="308" y="54"/>
                </a:cubicBezTo>
                <a:close/>
                <a:moveTo>
                  <a:pt x="302" y="38"/>
                </a:moveTo>
                <a:cubicBezTo>
                  <a:pt x="300" y="39"/>
                  <a:pt x="300" y="39"/>
                  <a:pt x="300" y="40"/>
                </a:cubicBezTo>
                <a:cubicBezTo>
                  <a:pt x="303" y="39"/>
                  <a:pt x="303" y="39"/>
                  <a:pt x="302" y="38"/>
                </a:cubicBezTo>
                <a:close/>
                <a:moveTo>
                  <a:pt x="301" y="46"/>
                </a:moveTo>
                <a:cubicBezTo>
                  <a:pt x="300" y="47"/>
                  <a:pt x="300" y="47"/>
                  <a:pt x="299" y="47"/>
                </a:cubicBezTo>
                <a:cubicBezTo>
                  <a:pt x="299" y="47"/>
                  <a:pt x="297" y="48"/>
                  <a:pt x="299" y="48"/>
                </a:cubicBezTo>
                <a:cubicBezTo>
                  <a:pt x="300" y="47"/>
                  <a:pt x="305" y="45"/>
                  <a:pt x="302" y="46"/>
                </a:cubicBezTo>
                <a:cubicBezTo>
                  <a:pt x="302" y="46"/>
                  <a:pt x="301" y="46"/>
                  <a:pt x="301" y="46"/>
                </a:cubicBezTo>
                <a:close/>
                <a:moveTo>
                  <a:pt x="300" y="51"/>
                </a:moveTo>
                <a:cubicBezTo>
                  <a:pt x="300" y="51"/>
                  <a:pt x="303" y="50"/>
                  <a:pt x="303" y="50"/>
                </a:cubicBezTo>
                <a:cubicBezTo>
                  <a:pt x="301" y="50"/>
                  <a:pt x="297" y="52"/>
                  <a:pt x="300" y="51"/>
                </a:cubicBezTo>
                <a:close/>
                <a:moveTo>
                  <a:pt x="296" y="41"/>
                </a:moveTo>
                <a:cubicBezTo>
                  <a:pt x="296" y="40"/>
                  <a:pt x="297" y="40"/>
                  <a:pt x="297" y="40"/>
                </a:cubicBezTo>
                <a:cubicBezTo>
                  <a:pt x="294" y="40"/>
                  <a:pt x="293" y="42"/>
                  <a:pt x="296" y="41"/>
                </a:cubicBezTo>
                <a:close/>
                <a:moveTo>
                  <a:pt x="295" y="49"/>
                </a:moveTo>
                <a:cubicBezTo>
                  <a:pt x="293" y="50"/>
                  <a:pt x="294" y="51"/>
                  <a:pt x="297" y="51"/>
                </a:cubicBezTo>
                <a:cubicBezTo>
                  <a:pt x="298" y="50"/>
                  <a:pt x="294" y="50"/>
                  <a:pt x="297" y="49"/>
                </a:cubicBezTo>
                <a:cubicBezTo>
                  <a:pt x="296" y="49"/>
                  <a:pt x="296" y="49"/>
                  <a:pt x="295" y="49"/>
                </a:cubicBezTo>
                <a:close/>
                <a:moveTo>
                  <a:pt x="296" y="54"/>
                </a:moveTo>
                <a:cubicBezTo>
                  <a:pt x="296" y="55"/>
                  <a:pt x="294" y="55"/>
                  <a:pt x="294" y="55"/>
                </a:cubicBezTo>
                <a:cubicBezTo>
                  <a:pt x="294" y="56"/>
                  <a:pt x="294" y="56"/>
                  <a:pt x="295" y="57"/>
                </a:cubicBezTo>
                <a:cubicBezTo>
                  <a:pt x="293" y="57"/>
                  <a:pt x="293" y="57"/>
                  <a:pt x="293" y="57"/>
                </a:cubicBezTo>
                <a:cubicBezTo>
                  <a:pt x="293" y="58"/>
                  <a:pt x="293" y="58"/>
                  <a:pt x="292" y="58"/>
                </a:cubicBezTo>
                <a:cubicBezTo>
                  <a:pt x="294" y="58"/>
                  <a:pt x="294" y="58"/>
                  <a:pt x="295" y="58"/>
                </a:cubicBezTo>
                <a:cubicBezTo>
                  <a:pt x="293" y="58"/>
                  <a:pt x="293" y="57"/>
                  <a:pt x="297" y="57"/>
                </a:cubicBezTo>
                <a:cubicBezTo>
                  <a:pt x="297" y="56"/>
                  <a:pt x="295" y="56"/>
                  <a:pt x="295" y="56"/>
                </a:cubicBezTo>
                <a:cubicBezTo>
                  <a:pt x="295" y="55"/>
                  <a:pt x="299" y="54"/>
                  <a:pt x="298" y="54"/>
                </a:cubicBezTo>
                <a:cubicBezTo>
                  <a:pt x="297" y="55"/>
                  <a:pt x="297" y="54"/>
                  <a:pt x="296" y="54"/>
                </a:cubicBezTo>
                <a:close/>
                <a:moveTo>
                  <a:pt x="286" y="51"/>
                </a:moveTo>
                <a:cubicBezTo>
                  <a:pt x="286" y="52"/>
                  <a:pt x="282" y="52"/>
                  <a:pt x="282" y="53"/>
                </a:cubicBezTo>
                <a:cubicBezTo>
                  <a:pt x="285" y="52"/>
                  <a:pt x="292" y="51"/>
                  <a:pt x="293" y="49"/>
                </a:cubicBezTo>
                <a:cubicBezTo>
                  <a:pt x="289" y="50"/>
                  <a:pt x="289" y="51"/>
                  <a:pt x="286" y="51"/>
                </a:cubicBezTo>
                <a:close/>
                <a:moveTo>
                  <a:pt x="287" y="58"/>
                </a:moveTo>
                <a:cubicBezTo>
                  <a:pt x="291" y="56"/>
                  <a:pt x="292" y="55"/>
                  <a:pt x="293" y="54"/>
                </a:cubicBezTo>
                <a:cubicBezTo>
                  <a:pt x="288" y="56"/>
                  <a:pt x="290" y="56"/>
                  <a:pt x="287" y="58"/>
                </a:cubicBezTo>
                <a:close/>
                <a:moveTo>
                  <a:pt x="286" y="51"/>
                </a:moveTo>
                <a:cubicBezTo>
                  <a:pt x="288" y="50"/>
                  <a:pt x="291" y="49"/>
                  <a:pt x="291" y="48"/>
                </a:cubicBezTo>
                <a:cubicBezTo>
                  <a:pt x="289" y="49"/>
                  <a:pt x="285" y="51"/>
                  <a:pt x="286" y="51"/>
                </a:cubicBezTo>
                <a:close/>
                <a:moveTo>
                  <a:pt x="288" y="60"/>
                </a:moveTo>
                <a:cubicBezTo>
                  <a:pt x="289" y="60"/>
                  <a:pt x="294" y="59"/>
                  <a:pt x="294" y="59"/>
                </a:cubicBezTo>
                <a:cubicBezTo>
                  <a:pt x="293" y="59"/>
                  <a:pt x="289" y="59"/>
                  <a:pt x="288" y="60"/>
                </a:cubicBezTo>
                <a:close/>
                <a:moveTo>
                  <a:pt x="283" y="27"/>
                </a:moveTo>
                <a:cubicBezTo>
                  <a:pt x="276" y="29"/>
                  <a:pt x="276" y="29"/>
                  <a:pt x="276" y="29"/>
                </a:cubicBezTo>
                <a:cubicBezTo>
                  <a:pt x="277" y="30"/>
                  <a:pt x="274" y="30"/>
                  <a:pt x="274" y="31"/>
                </a:cubicBezTo>
                <a:cubicBezTo>
                  <a:pt x="278" y="29"/>
                  <a:pt x="276" y="29"/>
                  <a:pt x="281" y="28"/>
                </a:cubicBezTo>
                <a:cubicBezTo>
                  <a:pt x="281" y="28"/>
                  <a:pt x="279" y="29"/>
                  <a:pt x="280" y="29"/>
                </a:cubicBezTo>
                <a:cubicBezTo>
                  <a:pt x="282" y="28"/>
                  <a:pt x="282" y="29"/>
                  <a:pt x="284" y="28"/>
                </a:cubicBezTo>
                <a:cubicBezTo>
                  <a:pt x="285" y="27"/>
                  <a:pt x="281" y="28"/>
                  <a:pt x="283" y="27"/>
                </a:cubicBezTo>
                <a:close/>
                <a:moveTo>
                  <a:pt x="291" y="52"/>
                </a:moveTo>
                <a:cubicBezTo>
                  <a:pt x="291" y="51"/>
                  <a:pt x="289" y="52"/>
                  <a:pt x="291" y="51"/>
                </a:cubicBezTo>
                <a:cubicBezTo>
                  <a:pt x="285" y="53"/>
                  <a:pt x="289" y="53"/>
                  <a:pt x="291" y="52"/>
                </a:cubicBezTo>
                <a:close/>
                <a:moveTo>
                  <a:pt x="282" y="46"/>
                </a:moveTo>
                <a:cubicBezTo>
                  <a:pt x="282" y="46"/>
                  <a:pt x="281" y="46"/>
                  <a:pt x="281" y="47"/>
                </a:cubicBezTo>
                <a:cubicBezTo>
                  <a:pt x="283" y="46"/>
                  <a:pt x="285" y="46"/>
                  <a:pt x="286" y="45"/>
                </a:cubicBezTo>
                <a:cubicBezTo>
                  <a:pt x="284" y="45"/>
                  <a:pt x="284" y="45"/>
                  <a:pt x="282" y="46"/>
                </a:cubicBezTo>
                <a:close/>
                <a:moveTo>
                  <a:pt x="275" y="46"/>
                </a:moveTo>
                <a:cubicBezTo>
                  <a:pt x="277" y="46"/>
                  <a:pt x="280" y="44"/>
                  <a:pt x="281" y="44"/>
                </a:cubicBezTo>
                <a:cubicBezTo>
                  <a:pt x="282" y="44"/>
                  <a:pt x="286" y="42"/>
                  <a:pt x="284" y="42"/>
                </a:cubicBezTo>
                <a:cubicBezTo>
                  <a:pt x="283" y="43"/>
                  <a:pt x="276" y="45"/>
                  <a:pt x="275" y="46"/>
                </a:cubicBezTo>
                <a:close/>
                <a:moveTo>
                  <a:pt x="284" y="57"/>
                </a:moveTo>
                <a:cubicBezTo>
                  <a:pt x="285" y="56"/>
                  <a:pt x="283" y="55"/>
                  <a:pt x="287" y="54"/>
                </a:cubicBezTo>
                <a:cubicBezTo>
                  <a:pt x="288" y="53"/>
                  <a:pt x="286" y="54"/>
                  <a:pt x="285" y="54"/>
                </a:cubicBezTo>
                <a:cubicBezTo>
                  <a:pt x="284" y="55"/>
                  <a:pt x="285" y="55"/>
                  <a:pt x="283" y="56"/>
                </a:cubicBezTo>
                <a:cubicBezTo>
                  <a:pt x="282" y="56"/>
                  <a:pt x="285" y="56"/>
                  <a:pt x="281" y="57"/>
                </a:cubicBezTo>
                <a:cubicBezTo>
                  <a:pt x="281" y="58"/>
                  <a:pt x="283" y="57"/>
                  <a:pt x="284" y="57"/>
                </a:cubicBezTo>
                <a:cubicBezTo>
                  <a:pt x="283" y="57"/>
                  <a:pt x="283" y="57"/>
                  <a:pt x="284" y="57"/>
                </a:cubicBezTo>
                <a:close/>
                <a:moveTo>
                  <a:pt x="279" y="43"/>
                </a:moveTo>
                <a:cubicBezTo>
                  <a:pt x="279" y="43"/>
                  <a:pt x="279" y="43"/>
                  <a:pt x="280" y="43"/>
                </a:cubicBezTo>
                <a:cubicBezTo>
                  <a:pt x="280" y="43"/>
                  <a:pt x="283" y="42"/>
                  <a:pt x="283" y="42"/>
                </a:cubicBezTo>
                <a:cubicBezTo>
                  <a:pt x="281" y="42"/>
                  <a:pt x="281" y="42"/>
                  <a:pt x="279" y="43"/>
                </a:cubicBezTo>
                <a:close/>
                <a:moveTo>
                  <a:pt x="273" y="49"/>
                </a:moveTo>
                <a:cubicBezTo>
                  <a:pt x="277" y="47"/>
                  <a:pt x="276" y="49"/>
                  <a:pt x="277" y="48"/>
                </a:cubicBezTo>
                <a:cubicBezTo>
                  <a:pt x="278" y="48"/>
                  <a:pt x="278" y="48"/>
                  <a:pt x="278" y="47"/>
                </a:cubicBezTo>
                <a:cubicBezTo>
                  <a:pt x="276" y="48"/>
                  <a:pt x="274" y="48"/>
                  <a:pt x="273" y="49"/>
                </a:cubicBezTo>
                <a:close/>
                <a:moveTo>
                  <a:pt x="274" y="62"/>
                </a:moveTo>
                <a:cubicBezTo>
                  <a:pt x="273" y="62"/>
                  <a:pt x="272" y="63"/>
                  <a:pt x="272" y="63"/>
                </a:cubicBezTo>
                <a:cubicBezTo>
                  <a:pt x="273" y="62"/>
                  <a:pt x="274" y="63"/>
                  <a:pt x="275" y="62"/>
                </a:cubicBezTo>
                <a:cubicBezTo>
                  <a:pt x="274" y="62"/>
                  <a:pt x="281" y="60"/>
                  <a:pt x="282" y="59"/>
                </a:cubicBezTo>
                <a:cubicBezTo>
                  <a:pt x="281" y="60"/>
                  <a:pt x="280" y="60"/>
                  <a:pt x="280" y="60"/>
                </a:cubicBezTo>
                <a:cubicBezTo>
                  <a:pt x="279" y="60"/>
                  <a:pt x="280" y="59"/>
                  <a:pt x="278" y="59"/>
                </a:cubicBezTo>
                <a:cubicBezTo>
                  <a:pt x="279" y="60"/>
                  <a:pt x="277" y="60"/>
                  <a:pt x="275" y="61"/>
                </a:cubicBezTo>
                <a:cubicBezTo>
                  <a:pt x="276" y="61"/>
                  <a:pt x="275" y="61"/>
                  <a:pt x="274" y="62"/>
                </a:cubicBezTo>
                <a:close/>
                <a:moveTo>
                  <a:pt x="270" y="48"/>
                </a:moveTo>
                <a:cubicBezTo>
                  <a:pt x="270" y="49"/>
                  <a:pt x="273" y="48"/>
                  <a:pt x="276" y="47"/>
                </a:cubicBezTo>
                <a:cubicBezTo>
                  <a:pt x="273" y="47"/>
                  <a:pt x="273" y="46"/>
                  <a:pt x="271" y="47"/>
                </a:cubicBezTo>
                <a:cubicBezTo>
                  <a:pt x="272" y="47"/>
                  <a:pt x="274" y="47"/>
                  <a:pt x="270" y="48"/>
                </a:cubicBezTo>
                <a:close/>
                <a:moveTo>
                  <a:pt x="276" y="60"/>
                </a:moveTo>
                <a:cubicBezTo>
                  <a:pt x="276" y="60"/>
                  <a:pt x="277" y="59"/>
                  <a:pt x="276" y="59"/>
                </a:cubicBezTo>
                <a:cubicBezTo>
                  <a:pt x="270" y="61"/>
                  <a:pt x="269" y="62"/>
                  <a:pt x="276" y="60"/>
                </a:cubicBezTo>
                <a:close/>
                <a:moveTo>
                  <a:pt x="264" y="34"/>
                </a:moveTo>
                <a:cubicBezTo>
                  <a:pt x="262" y="34"/>
                  <a:pt x="261" y="35"/>
                  <a:pt x="261" y="35"/>
                </a:cubicBezTo>
                <a:cubicBezTo>
                  <a:pt x="263" y="35"/>
                  <a:pt x="265" y="34"/>
                  <a:pt x="265" y="34"/>
                </a:cubicBezTo>
                <a:cubicBezTo>
                  <a:pt x="264" y="34"/>
                  <a:pt x="264" y="34"/>
                  <a:pt x="264" y="34"/>
                </a:cubicBezTo>
                <a:close/>
                <a:moveTo>
                  <a:pt x="248" y="40"/>
                </a:moveTo>
                <a:cubicBezTo>
                  <a:pt x="250" y="40"/>
                  <a:pt x="247" y="41"/>
                  <a:pt x="248" y="41"/>
                </a:cubicBezTo>
                <a:cubicBezTo>
                  <a:pt x="251" y="40"/>
                  <a:pt x="250" y="40"/>
                  <a:pt x="252" y="39"/>
                </a:cubicBezTo>
                <a:cubicBezTo>
                  <a:pt x="252" y="39"/>
                  <a:pt x="252" y="40"/>
                  <a:pt x="253" y="39"/>
                </a:cubicBezTo>
                <a:cubicBezTo>
                  <a:pt x="254" y="39"/>
                  <a:pt x="253" y="39"/>
                  <a:pt x="254" y="38"/>
                </a:cubicBezTo>
                <a:cubicBezTo>
                  <a:pt x="257" y="37"/>
                  <a:pt x="256" y="38"/>
                  <a:pt x="259" y="36"/>
                </a:cubicBezTo>
                <a:cubicBezTo>
                  <a:pt x="260" y="36"/>
                  <a:pt x="260" y="36"/>
                  <a:pt x="260" y="35"/>
                </a:cubicBezTo>
                <a:cubicBezTo>
                  <a:pt x="258" y="36"/>
                  <a:pt x="258" y="36"/>
                  <a:pt x="256" y="36"/>
                </a:cubicBezTo>
                <a:cubicBezTo>
                  <a:pt x="258" y="36"/>
                  <a:pt x="253" y="38"/>
                  <a:pt x="254" y="37"/>
                </a:cubicBezTo>
                <a:cubicBezTo>
                  <a:pt x="251" y="38"/>
                  <a:pt x="252" y="39"/>
                  <a:pt x="250" y="40"/>
                </a:cubicBezTo>
                <a:cubicBezTo>
                  <a:pt x="250" y="39"/>
                  <a:pt x="251" y="39"/>
                  <a:pt x="250" y="39"/>
                </a:cubicBezTo>
                <a:cubicBezTo>
                  <a:pt x="245" y="41"/>
                  <a:pt x="242" y="42"/>
                  <a:pt x="238" y="44"/>
                </a:cubicBezTo>
                <a:cubicBezTo>
                  <a:pt x="237" y="45"/>
                  <a:pt x="241" y="44"/>
                  <a:pt x="239" y="45"/>
                </a:cubicBezTo>
                <a:cubicBezTo>
                  <a:pt x="235" y="46"/>
                  <a:pt x="238" y="43"/>
                  <a:pt x="235" y="45"/>
                </a:cubicBezTo>
                <a:cubicBezTo>
                  <a:pt x="236" y="45"/>
                  <a:pt x="236" y="46"/>
                  <a:pt x="238" y="45"/>
                </a:cubicBezTo>
                <a:cubicBezTo>
                  <a:pt x="239" y="44"/>
                  <a:pt x="241" y="44"/>
                  <a:pt x="242" y="44"/>
                </a:cubicBezTo>
                <a:cubicBezTo>
                  <a:pt x="243" y="43"/>
                  <a:pt x="241" y="44"/>
                  <a:pt x="242" y="43"/>
                </a:cubicBezTo>
                <a:cubicBezTo>
                  <a:pt x="245" y="42"/>
                  <a:pt x="246" y="41"/>
                  <a:pt x="248" y="40"/>
                </a:cubicBezTo>
                <a:close/>
                <a:moveTo>
                  <a:pt x="253" y="56"/>
                </a:moveTo>
                <a:cubicBezTo>
                  <a:pt x="253" y="57"/>
                  <a:pt x="253" y="57"/>
                  <a:pt x="254" y="57"/>
                </a:cubicBezTo>
                <a:cubicBezTo>
                  <a:pt x="257" y="55"/>
                  <a:pt x="256" y="56"/>
                  <a:pt x="258" y="55"/>
                </a:cubicBezTo>
                <a:cubicBezTo>
                  <a:pt x="258" y="55"/>
                  <a:pt x="263" y="53"/>
                  <a:pt x="264" y="52"/>
                </a:cubicBezTo>
                <a:cubicBezTo>
                  <a:pt x="260" y="53"/>
                  <a:pt x="255" y="56"/>
                  <a:pt x="253" y="56"/>
                </a:cubicBezTo>
                <a:close/>
                <a:moveTo>
                  <a:pt x="264" y="64"/>
                </a:moveTo>
                <a:cubicBezTo>
                  <a:pt x="267" y="64"/>
                  <a:pt x="264" y="65"/>
                  <a:pt x="263" y="65"/>
                </a:cubicBezTo>
                <a:cubicBezTo>
                  <a:pt x="263" y="66"/>
                  <a:pt x="263" y="66"/>
                  <a:pt x="264" y="66"/>
                </a:cubicBezTo>
                <a:cubicBezTo>
                  <a:pt x="264" y="65"/>
                  <a:pt x="265" y="66"/>
                  <a:pt x="267" y="65"/>
                </a:cubicBezTo>
                <a:cubicBezTo>
                  <a:pt x="268" y="64"/>
                  <a:pt x="268" y="64"/>
                  <a:pt x="268" y="63"/>
                </a:cubicBezTo>
                <a:cubicBezTo>
                  <a:pt x="267" y="64"/>
                  <a:pt x="265" y="63"/>
                  <a:pt x="264" y="64"/>
                </a:cubicBezTo>
                <a:close/>
                <a:moveTo>
                  <a:pt x="261" y="65"/>
                </a:moveTo>
                <a:cubicBezTo>
                  <a:pt x="261" y="65"/>
                  <a:pt x="261" y="65"/>
                  <a:pt x="261" y="65"/>
                </a:cubicBezTo>
                <a:cubicBezTo>
                  <a:pt x="263" y="65"/>
                  <a:pt x="266" y="63"/>
                  <a:pt x="264" y="63"/>
                </a:cubicBezTo>
                <a:cubicBezTo>
                  <a:pt x="264" y="64"/>
                  <a:pt x="263" y="64"/>
                  <a:pt x="261" y="65"/>
                </a:cubicBezTo>
                <a:close/>
                <a:moveTo>
                  <a:pt x="253" y="68"/>
                </a:moveTo>
                <a:cubicBezTo>
                  <a:pt x="255" y="68"/>
                  <a:pt x="258" y="67"/>
                  <a:pt x="259" y="67"/>
                </a:cubicBezTo>
                <a:cubicBezTo>
                  <a:pt x="258" y="67"/>
                  <a:pt x="261" y="66"/>
                  <a:pt x="260" y="66"/>
                </a:cubicBezTo>
                <a:cubicBezTo>
                  <a:pt x="257" y="67"/>
                  <a:pt x="256" y="67"/>
                  <a:pt x="253" y="68"/>
                </a:cubicBezTo>
                <a:close/>
                <a:moveTo>
                  <a:pt x="256" y="64"/>
                </a:moveTo>
                <a:cubicBezTo>
                  <a:pt x="258" y="64"/>
                  <a:pt x="255" y="65"/>
                  <a:pt x="257" y="65"/>
                </a:cubicBezTo>
                <a:cubicBezTo>
                  <a:pt x="258" y="64"/>
                  <a:pt x="257" y="64"/>
                  <a:pt x="258" y="63"/>
                </a:cubicBezTo>
                <a:lnTo>
                  <a:pt x="256" y="64"/>
                </a:lnTo>
                <a:close/>
                <a:moveTo>
                  <a:pt x="249" y="75"/>
                </a:moveTo>
                <a:cubicBezTo>
                  <a:pt x="249" y="75"/>
                  <a:pt x="249" y="75"/>
                  <a:pt x="248" y="75"/>
                </a:cubicBezTo>
                <a:cubicBezTo>
                  <a:pt x="247" y="75"/>
                  <a:pt x="250" y="73"/>
                  <a:pt x="247" y="74"/>
                </a:cubicBezTo>
                <a:cubicBezTo>
                  <a:pt x="250" y="74"/>
                  <a:pt x="243" y="77"/>
                  <a:pt x="246" y="77"/>
                </a:cubicBezTo>
                <a:cubicBezTo>
                  <a:pt x="246" y="77"/>
                  <a:pt x="247" y="76"/>
                  <a:pt x="247" y="76"/>
                </a:cubicBezTo>
                <a:cubicBezTo>
                  <a:pt x="246" y="77"/>
                  <a:pt x="246" y="77"/>
                  <a:pt x="247" y="77"/>
                </a:cubicBezTo>
                <a:cubicBezTo>
                  <a:pt x="249" y="75"/>
                  <a:pt x="255" y="74"/>
                  <a:pt x="257" y="72"/>
                </a:cubicBezTo>
                <a:cubicBezTo>
                  <a:pt x="255" y="72"/>
                  <a:pt x="252" y="74"/>
                  <a:pt x="249" y="75"/>
                </a:cubicBezTo>
                <a:close/>
                <a:moveTo>
                  <a:pt x="248" y="62"/>
                </a:moveTo>
                <a:cubicBezTo>
                  <a:pt x="250" y="61"/>
                  <a:pt x="251" y="61"/>
                  <a:pt x="251" y="60"/>
                </a:cubicBezTo>
                <a:cubicBezTo>
                  <a:pt x="249" y="61"/>
                  <a:pt x="248" y="62"/>
                  <a:pt x="248" y="62"/>
                </a:cubicBezTo>
                <a:close/>
                <a:moveTo>
                  <a:pt x="246" y="67"/>
                </a:moveTo>
                <a:cubicBezTo>
                  <a:pt x="243" y="68"/>
                  <a:pt x="245" y="69"/>
                  <a:pt x="248" y="68"/>
                </a:cubicBezTo>
                <a:cubicBezTo>
                  <a:pt x="248" y="67"/>
                  <a:pt x="246" y="68"/>
                  <a:pt x="246" y="67"/>
                </a:cubicBezTo>
                <a:close/>
                <a:moveTo>
                  <a:pt x="244" y="65"/>
                </a:moveTo>
                <a:cubicBezTo>
                  <a:pt x="243" y="65"/>
                  <a:pt x="245" y="64"/>
                  <a:pt x="245" y="63"/>
                </a:cubicBezTo>
                <a:cubicBezTo>
                  <a:pt x="242" y="64"/>
                  <a:pt x="242" y="66"/>
                  <a:pt x="244" y="65"/>
                </a:cubicBezTo>
                <a:close/>
                <a:moveTo>
                  <a:pt x="241" y="72"/>
                </a:moveTo>
                <a:cubicBezTo>
                  <a:pt x="241" y="72"/>
                  <a:pt x="241" y="71"/>
                  <a:pt x="240" y="71"/>
                </a:cubicBezTo>
                <a:cubicBezTo>
                  <a:pt x="240" y="72"/>
                  <a:pt x="239" y="72"/>
                  <a:pt x="239" y="72"/>
                </a:cubicBezTo>
                <a:cubicBezTo>
                  <a:pt x="239" y="72"/>
                  <a:pt x="238" y="73"/>
                  <a:pt x="238" y="73"/>
                </a:cubicBezTo>
                <a:cubicBezTo>
                  <a:pt x="242" y="71"/>
                  <a:pt x="237" y="74"/>
                  <a:pt x="239" y="74"/>
                </a:cubicBezTo>
                <a:cubicBezTo>
                  <a:pt x="243" y="71"/>
                  <a:pt x="246" y="72"/>
                  <a:pt x="248" y="70"/>
                </a:cubicBezTo>
                <a:cubicBezTo>
                  <a:pt x="245" y="70"/>
                  <a:pt x="241" y="73"/>
                  <a:pt x="239" y="73"/>
                </a:cubicBezTo>
                <a:cubicBezTo>
                  <a:pt x="239" y="73"/>
                  <a:pt x="240" y="72"/>
                  <a:pt x="241" y="72"/>
                </a:cubicBezTo>
                <a:close/>
                <a:moveTo>
                  <a:pt x="239" y="71"/>
                </a:moveTo>
                <a:cubicBezTo>
                  <a:pt x="236" y="72"/>
                  <a:pt x="237" y="73"/>
                  <a:pt x="236" y="74"/>
                </a:cubicBezTo>
                <a:cubicBezTo>
                  <a:pt x="238" y="73"/>
                  <a:pt x="239" y="72"/>
                  <a:pt x="239" y="71"/>
                </a:cubicBezTo>
                <a:close/>
                <a:moveTo>
                  <a:pt x="226" y="49"/>
                </a:moveTo>
                <a:cubicBezTo>
                  <a:pt x="226" y="48"/>
                  <a:pt x="225" y="49"/>
                  <a:pt x="227" y="47"/>
                </a:cubicBezTo>
                <a:cubicBezTo>
                  <a:pt x="225" y="49"/>
                  <a:pt x="222" y="49"/>
                  <a:pt x="221" y="51"/>
                </a:cubicBezTo>
                <a:cubicBezTo>
                  <a:pt x="225" y="49"/>
                  <a:pt x="224" y="50"/>
                  <a:pt x="226" y="50"/>
                </a:cubicBezTo>
                <a:cubicBezTo>
                  <a:pt x="224" y="51"/>
                  <a:pt x="224" y="51"/>
                  <a:pt x="222" y="51"/>
                </a:cubicBezTo>
                <a:cubicBezTo>
                  <a:pt x="223" y="52"/>
                  <a:pt x="227" y="50"/>
                  <a:pt x="230" y="49"/>
                </a:cubicBezTo>
                <a:cubicBezTo>
                  <a:pt x="230" y="48"/>
                  <a:pt x="230" y="48"/>
                  <a:pt x="231" y="47"/>
                </a:cubicBezTo>
                <a:cubicBezTo>
                  <a:pt x="231" y="47"/>
                  <a:pt x="231" y="48"/>
                  <a:pt x="233" y="47"/>
                </a:cubicBezTo>
                <a:cubicBezTo>
                  <a:pt x="233" y="46"/>
                  <a:pt x="233" y="46"/>
                  <a:pt x="233" y="46"/>
                </a:cubicBezTo>
                <a:cubicBezTo>
                  <a:pt x="229" y="48"/>
                  <a:pt x="228" y="48"/>
                  <a:pt x="226" y="49"/>
                </a:cubicBezTo>
                <a:close/>
                <a:moveTo>
                  <a:pt x="235" y="57"/>
                </a:moveTo>
                <a:cubicBezTo>
                  <a:pt x="233" y="58"/>
                  <a:pt x="231" y="59"/>
                  <a:pt x="230" y="59"/>
                </a:cubicBezTo>
                <a:cubicBezTo>
                  <a:pt x="228" y="60"/>
                  <a:pt x="231" y="59"/>
                  <a:pt x="232" y="59"/>
                </a:cubicBezTo>
                <a:cubicBezTo>
                  <a:pt x="232" y="59"/>
                  <a:pt x="231" y="59"/>
                  <a:pt x="233" y="58"/>
                </a:cubicBezTo>
                <a:cubicBezTo>
                  <a:pt x="233" y="58"/>
                  <a:pt x="233" y="59"/>
                  <a:pt x="232" y="59"/>
                </a:cubicBezTo>
                <a:cubicBezTo>
                  <a:pt x="234" y="58"/>
                  <a:pt x="236" y="58"/>
                  <a:pt x="236" y="57"/>
                </a:cubicBezTo>
                <a:cubicBezTo>
                  <a:pt x="235" y="57"/>
                  <a:pt x="235" y="57"/>
                  <a:pt x="235" y="57"/>
                </a:cubicBezTo>
                <a:close/>
                <a:moveTo>
                  <a:pt x="235" y="64"/>
                </a:moveTo>
                <a:cubicBezTo>
                  <a:pt x="237" y="63"/>
                  <a:pt x="235" y="65"/>
                  <a:pt x="235" y="65"/>
                </a:cubicBezTo>
                <a:cubicBezTo>
                  <a:pt x="238" y="64"/>
                  <a:pt x="238" y="64"/>
                  <a:pt x="238" y="63"/>
                </a:cubicBezTo>
                <a:cubicBezTo>
                  <a:pt x="237" y="64"/>
                  <a:pt x="235" y="64"/>
                  <a:pt x="235" y="64"/>
                </a:cubicBezTo>
                <a:close/>
                <a:moveTo>
                  <a:pt x="230" y="61"/>
                </a:moveTo>
                <a:cubicBezTo>
                  <a:pt x="230" y="61"/>
                  <a:pt x="228" y="63"/>
                  <a:pt x="231" y="62"/>
                </a:cubicBezTo>
                <a:cubicBezTo>
                  <a:pt x="230" y="62"/>
                  <a:pt x="232" y="60"/>
                  <a:pt x="232" y="60"/>
                </a:cubicBezTo>
                <a:cubicBezTo>
                  <a:pt x="231" y="60"/>
                  <a:pt x="230" y="61"/>
                  <a:pt x="230" y="61"/>
                </a:cubicBezTo>
                <a:close/>
                <a:moveTo>
                  <a:pt x="227" y="61"/>
                </a:moveTo>
                <a:cubicBezTo>
                  <a:pt x="227" y="62"/>
                  <a:pt x="227" y="62"/>
                  <a:pt x="227" y="62"/>
                </a:cubicBezTo>
                <a:cubicBezTo>
                  <a:pt x="228" y="61"/>
                  <a:pt x="229" y="60"/>
                  <a:pt x="230" y="60"/>
                </a:cubicBezTo>
                <a:cubicBezTo>
                  <a:pt x="230" y="60"/>
                  <a:pt x="229" y="60"/>
                  <a:pt x="227" y="61"/>
                </a:cubicBezTo>
                <a:close/>
                <a:moveTo>
                  <a:pt x="225" y="71"/>
                </a:moveTo>
                <a:cubicBezTo>
                  <a:pt x="228" y="69"/>
                  <a:pt x="229" y="68"/>
                  <a:pt x="232" y="66"/>
                </a:cubicBezTo>
                <a:cubicBezTo>
                  <a:pt x="230" y="67"/>
                  <a:pt x="232" y="66"/>
                  <a:pt x="232" y="65"/>
                </a:cubicBezTo>
                <a:cubicBezTo>
                  <a:pt x="230" y="67"/>
                  <a:pt x="226" y="67"/>
                  <a:pt x="226" y="68"/>
                </a:cubicBezTo>
                <a:cubicBezTo>
                  <a:pt x="227" y="69"/>
                  <a:pt x="228" y="67"/>
                  <a:pt x="230" y="67"/>
                </a:cubicBezTo>
                <a:cubicBezTo>
                  <a:pt x="230" y="67"/>
                  <a:pt x="231" y="67"/>
                  <a:pt x="231" y="67"/>
                </a:cubicBezTo>
                <a:cubicBezTo>
                  <a:pt x="228" y="69"/>
                  <a:pt x="225" y="70"/>
                  <a:pt x="225" y="71"/>
                </a:cubicBezTo>
                <a:close/>
                <a:moveTo>
                  <a:pt x="228" y="73"/>
                </a:moveTo>
                <a:cubicBezTo>
                  <a:pt x="228" y="73"/>
                  <a:pt x="228" y="72"/>
                  <a:pt x="226" y="73"/>
                </a:cubicBezTo>
                <a:cubicBezTo>
                  <a:pt x="227" y="74"/>
                  <a:pt x="227" y="74"/>
                  <a:pt x="227" y="74"/>
                </a:cubicBezTo>
                <a:cubicBezTo>
                  <a:pt x="228" y="73"/>
                  <a:pt x="231" y="72"/>
                  <a:pt x="230" y="72"/>
                </a:cubicBezTo>
                <a:lnTo>
                  <a:pt x="228" y="73"/>
                </a:lnTo>
                <a:close/>
                <a:moveTo>
                  <a:pt x="221" y="77"/>
                </a:moveTo>
                <a:cubicBezTo>
                  <a:pt x="221" y="77"/>
                  <a:pt x="224" y="76"/>
                  <a:pt x="225" y="76"/>
                </a:cubicBezTo>
                <a:cubicBezTo>
                  <a:pt x="224" y="77"/>
                  <a:pt x="222" y="78"/>
                  <a:pt x="221" y="79"/>
                </a:cubicBezTo>
                <a:cubicBezTo>
                  <a:pt x="223" y="78"/>
                  <a:pt x="225" y="77"/>
                  <a:pt x="227" y="76"/>
                </a:cubicBezTo>
                <a:cubicBezTo>
                  <a:pt x="228" y="75"/>
                  <a:pt x="227" y="75"/>
                  <a:pt x="226" y="74"/>
                </a:cubicBezTo>
                <a:cubicBezTo>
                  <a:pt x="224" y="75"/>
                  <a:pt x="223" y="76"/>
                  <a:pt x="222" y="77"/>
                </a:cubicBezTo>
                <a:cubicBezTo>
                  <a:pt x="222" y="76"/>
                  <a:pt x="221" y="76"/>
                  <a:pt x="221" y="77"/>
                </a:cubicBezTo>
                <a:close/>
                <a:moveTo>
                  <a:pt x="224" y="73"/>
                </a:moveTo>
                <a:cubicBezTo>
                  <a:pt x="220" y="76"/>
                  <a:pt x="220" y="76"/>
                  <a:pt x="220" y="76"/>
                </a:cubicBezTo>
                <a:cubicBezTo>
                  <a:pt x="222" y="76"/>
                  <a:pt x="221" y="76"/>
                  <a:pt x="224" y="75"/>
                </a:cubicBezTo>
                <a:cubicBezTo>
                  <a:pt x="223" y="74"/>
                  <a:pt x="226" y="73"/>
                  <a:pt x="224" y="73"/>
                </a:cubicBezTo>
                <a:close/>
                <a:moveTo>
                  <a:pt x="206" y="64"/>
                </a:moveTo>
                <a:cubicBezTo>
                  <a:pt x="207" y="65"/>
                  <a:pt x="208" y="64"/>
                  <a:pt x="207" y="65"/>
                </a:cubicBezTo>
                <a:cubicBezTo>
                  <a:pt x="212" y="62"/>
                  <a:pt x="208" y="64"/>
                  <a:pt x="209" y="63"/>
                </a:cubicBezTo>
                <a:cubicBezTo>
                  <a:pt x="210" y="62"/>
                  <a:pt x="210" y="63"/>
                  <a:pt x="212" y="62"/>
                </a:cubicBezTo>
                <a:cubicBezTo>
                  <a:pt x="212" y="61"/>
                  <a:pt x="209" y="62"/>
                  <a:pt x="206" y="64"/>
                </a:cubicBezTo>
                <a:close/>
                <a:moveTo>
                  <a:pt x="197" y="73"/>
                </a:moveTo>
                <a:cubicBezTo>
                  <a:pt x="198" y="73"/>
                  <a:pt x="198" y="72"/>
                  <a:pt x="198" y="73"/>
                </a:cubicBezTo>
                <a:cubicBezTo>
                  <a:pt x="199" y="72"/>
                  <a:pt x="200" y="71"/>
                  <a:pt x="200" y="71"/>
                </a:cubicBezTo>
                <a:cubicBezTo>
                  <a:pt x="198" y="72"/>
                  <a:pt x="201" y="70"/>
                  <a:pt x="200" y="70"/>
                </a:cubicBezTo>
                <a:cubicBezTo>
                  <a:pt x="197" y="72"/>
                  <a:pt x="200" y="72"/>
                  <a:pt x="197" y="73"/>
                </a:cubicBezTo>
                <a:close/>
                <a:moveTo>
                  <a:pt x="196" y="70"/>
                </a:moveTo>
                <a:cubicBezTo>
                  <a:pt x="196" y="71"/>
                  <a:pt x="198" y="69"/>
                  <a:pt x="197" y="71"/>
                </a:cubicBezTo>
                <a:cubicBezTo>
                  <a:pt x="200" y="69"/>
                  <a:pt x="198" y="68"/>
                  <a:pt x="196" y="70"/>
                </a:cubicBezTo>
                <a:close/>
                <a:moveTo>
                  <a:pt x="191" y="75"/>
                </a:moveTo>
                <a:cubicBezTo>
                  <a:pt x="192" y="74"/>
                  <a:pt x="194" y="72"/>
                  <a:pt x="192" y="73"/>
                </a:cubicBezTo>
                <a:cubicBezTo>
                  <a:pt x="192" y="74"/>
                  <a:pt x="189" y="75"/>
                  <a:pt x="191" y="75"/>
                </a:cubicBezTo>
                <a:close/>
                <a:moveTo>
                  <a:pt x="187" y="76"/>
                </a:moveTo>
                <a:cubicBezTo>
                  <a:pt x="186" y="77"/>
                  <a:pt x="184" y="78"/>
                  <a:pt x="185" y="79"/>
                </a:cubicBezTo>
                <a:cubicBezTo>
                  <a:pt x="185" y="78"/>
                  <a:pt x="187" y="77"/>
                  <a:pt x="187" y="78"/>
                </a:cubicBezTo>
                <a:cubicBezTo>
                  <a:pt x="186" y="78"/>
                  <a:pt x="187" y="78"/>
                  <a:pt x="188" y="77"/>
                </a:cubicBezTo>
                <a:cubicBezTo>
                  <a:pt x="189" y="76"/>
                  <a:pt x="189" y="76"/>
                  <a:pt x="187" y="76"/>
                </a:cubicBezTo>
                <a:close/>
                <a:moveTo>
                  <a:pt x="186" y="75"/>
                </a:moveTo>
                <a:cubicBezTo>
                  <a:pt x="185" y="76"/>
                  <a:pt x="184" y="77"/>
                  <a:pt x="184" y="77"/>
                </a:cubicBezTo>
                <a:cubicBezTo>
                  <a:pt x="183" y="78"/>
                  <a:pt x="188" y="76"/>
                  <a:pt x="188" y="75"/>
                </a:cubicBezTo>
                <a:cubicBezTo>
                  <a:pt x="186" y="76"/>
                  <a:pt x="187" y="75"/>
                  <a:pt x="186" y="75"/>
                </a:cubicBezTo>
                <a:close/>
                <a:moveTo>
                  <a:pt x="186" y="95"/>
                </a:moveTo>
                <a:cubicBezTo>
                  <a:pt x="187" y="94"/>
                  <a:pt x="186" y="95"/>
                  <a:pt x="186" y="95"/>
                </a:cubicBezTo>
                <a:cubicBezTo>
                  <a:pt x="191" y="92"/>
                  <a:pt x="191" y="92"/>
                  <a:pt x="191" y="92"/>
                </a:cubicBezTo>
                <a:cubicBezTo>
                  <a:pt x="192" y="92"/>
                  <a:pt x="191" y="93"/>
                  <a:pt x="193" y="92"/>
                </a:cubicBezTo>
                <a:cubicBezTo>
                  <a:pt x="192" y="92"/>
                  <a:pt x="195" y="91"/>
                  <a:pt x="195" y="90"/>
                </a:cubicBezTo>
                <a:cubicBezTo>
                  <a:pt x="194" y="91"/>
                  <a:pt x="193" y="90"/>
                  <a:pt x="192" y="91"/>
                </a:cubicBezTo>
                <a:cubicBezTo>
                  <a:pt x="190" y="93"/>
                  <a:pt x="187" y="94"/>
                  <a:pt x="186" y="95"/>
                </a:cubicBezTo>
                <a:close/>
                <a:moveTo>
                  <a:pt x="178" y="81"/>
                </a:moveTo>
                <a:cubicBezTo>
                  <a:pt x="176" y="83"/>
                  <a:pt x="179" y="82"/>
                  <a:pt x="180" y="81"/>
                </a:cubicBezTo>
                <a:cubicBezTo>
                  <a:pt x="181" y="80"/>
                  <a:pt x="183" y="79"/>
                  <a:pt x="183" y="79"/>
                </a:cubicBezTo>
                <a:cubicBezTo>
                  <a:pt x="180" y="81"/>
                  <a:pt x="183" y="78"/>
                  <a:pt x="178" y="81"/>
                </a:cubicBezTo>
                <a:close/>
                <a:moveTo>
                  <a:pt x="182" y="80"/>
                </a:moveTo>
                <a:cubicBezTo>
                  <a:pt x="182" y="81"/>
                  <a:pt x="178" y="83"/>
                  <a:pt x="179" y="83"/>
                </a:cubicBezTo>
                <a:cubicBezTo>
                  <a:pt x="181" y="82"/>
                  <a:pt x="182" y="82"/>
                  <a:pt x="183" y="81"/>
                </a:cubicBezTo>
                <a:cubicBezTo>
                  <a:pt x="180" y="82"/>
                  <a:pt x="186" y="79"/>
                  <a:pt x="182" y="80"/>
                </a:cubicBezTo>
                <a:close/>
                <a:moveTo>
                  <a:pt x="182" y="82"/>
                </a:moveTo>
                <a:cubicBezTo>
                  <a:pt x="180" y="84"/>
                  <a:pt x="178" y="86"/>
                  <a:pt x="180" y="86"/>
                </a:cubicBezTo>
                <a:cubicBezTo>
                  <a:pt x="180" y="85"/>
                  <a:pt x="183" y="83"/>
                  <a:pt x="181" y="85"/>
                </a:cubicBezTo>
                <a:cubicBezTo>
                  <a:pt x="186" y="82"/>
                  <a:pt x="180" y="85"/>
                  <a:pt x="183" y="82"/>
                </a:cubicBezTo>
                <a:cubicBezTo>
                  <a:pt x="182" y="82"/>
                  <a:pt x="182" y="83"/>
                  <a:pt x="182" y="82"/>
                </a:cubicBezTo>
                <a:close/>
                <a:moveTo>
                  <a:pt x="165" y="91"/>
                </a:moveTo>
                <a:cubicBezTo>
                  <a:pt x="163" y="92"/>
                  <a:pt x="163" y="92"/>
                  <a:pt x="163" y="93"/>
                </a:cubicBezTo>
                <a:cubicBezTo>
                  <a:pt x="163" y="92"/>
                  <a:pt x="159" y="95"/>
                  <a:pt x="158" y="95"/>
                </a:cubicBezTo>
                <a:cubicBezTo>
                  <a:pt x="159" y="96"/>
                  <a:pt x="163" y="93"/>
                  <a:pt x="166" y="91"/>
                </a:cubicBezTo>
                <a:cubicBezTo>
                  <a:pt x="165" y="91"/>
                  <a:pt x="167" y="90"/>
                  <a:pt x="165" y="91"/>
                </a:cubicBezTo>
                <a:close/>
                <a:moveTo>
                  <a:pt x="167" y="91"/>
                </a:moveTo>
                <a:cubicBezTo>
                  <a:pt x="169" y="90"/>
                  <a:pt x="169" y="90"/>
                  <a:pt x="171" y="90"/>
                </a:cubicBezTo>
                <a:cubicBezTo>
                  <a:pt x="171" y="88"/>
                  <a:pt x="176" y="85"/>
                  <a:pt x="178" y="83"/>
                </a:cubicBezTo>
                <a:cubicBezTo>
                  <a:pt x="176" y="84"/>
                  <a:pt x="176" y="82"/>
                  <a:pt x="174" y="84"/>
                </a:cubicBezTo>
                <a:cubicBezTo>
                  <a:pt x="175" y="85"/>
                  <a:pt x="170" y="87"/>
                  <a:pt x="170" y="88"/>
                </a:cubicBezTo>
                <a:cubicBezTo>
                  <a:pt x="169" y="88"/>
                  <a:pt x="169" y="88"/>
                  <a:pt x="169" y="87"/>
                </a:cubicBezTo>
                <a:cubicBezTo>
                  <a:pt x="166" y="90"/>
                  <a:pt x="167" y="90"/>
                  <a:pt x="167" y="91"/>
                </a:cubicBezTo>
                <a:close/>
                <a:moveTo>
                  <a:pt x="173" y="93"/>
                </a:moveTo>
                <a:cubicBezTo>
                  <a:pt x="174" y="92"/>
                  <a:pt x="173" y="94"/>
                  <a:pt x="176" y="92"/>
                </a:cubicBezTo>
                <a:cubicBezTo>
                  <a:pt x="176" y="91"/>
                  <a:pt x="175" y="92"/>
                  <a:pt x="176" y="91"/>
                </a:cubicBezTo>
                <a:cubicBezTo>
                  <a:pt x="174" y="92"/>
                  <a:pt x="173" y="92"/>
                  <a:pt x="173" y="93"/>
                </a:cubicBezTo>
                <a:close/>
                <a:moveTo>
                  <a:pt x="174" y="104"/>
                </a:moveTo>
                <a:cubicBezTo>
                  <a:pt x="174" y="105"/>
                  <a:pt x="181" y="100"/>
                  <a:pt x="180" y="100"/>
                </a:cubicBezTo>
                <a:cubicBezTo>
                  <a:pt x="177" y="102"/>
                  <a:pt x="177" y="103"/>
                  <a:pt x="174" y="104"/>
                </a:cubicBezTo>
                <a:close/>
                <a:moveTo>
                  <a:pt x="164" y="99"/>
                </a:moveTo>
                <a:cubicBezTo>
                  <a:pt x="166" y="98"/>
                  <a:pt x="169" y="96"/>
                  <a:pt x="170" y="95"/>
                </a:cubicBezTo>
                <a:cubicBezTo>
                  <a:pt x="167" y="97"/>
                  <a:pt x="165" y="97"/>
                  <a:pt x="164" y="99"/>
                </a:cubicBezTo>
                <a:close/>
                <a:moveTo>
                  <a:pt x="159" y="99"/>
                </a:moveTo>
                <a:cubicBezTo>
                  <a:pt x="159" y="100"/>
                  <a:pt x="158" y="100"/>
                  <a:pt x="158" y="100"/>
                </a:cubicBezTo>
                <a:cubicBezTo>
                  <a:pt x="160" y="99"/>
                  <a:pt x="160" y="98"/>
                  <a:pt x="161" y="97"/>
                </a:cubicBezTo>
                <a:cubicBezTo>
                  <a:pt x="161" y="97"/>
                  <a:pt x="161" y="98"/>
                  <a:pt x="162" y="97"/>
                </a:cubicBezTo>
                <a:cubicBezTo>
                  <a:pt x="163" y="96"/>
                  <a:pt x="162" y="97"/>
                  <a:pt x="162" y="97"/>
                </a:cubicBezTo>
                <a:cubicBezTo>
                  <a:pt x="158" y="99"/>
                  <a:pt x="158" y="99"/>
                  <a:pt x="158" y="99"/>
                </a:cubicBezTo>
                <a:cubicBezTo>
                  <a:pt x="158" y="100"/>
                  <a:pt x="157" y="102"/>
                  <a:pt x="159" y="99"/>
                </a:cubicBezTo>
                <a:close/>
                <a:moveTo>
                  <a:pt x="153" y="99"/>
                </a:moveTo>
                <a:cubicBezTo>
                  <a:pt x="153" y="99"/>
                  <a:pt x="152" y="100"/>
                  <a:pt x="153" y="101"/>
                </a:cubicBezTo>
                <a:cubicBezTo>
                  <a:pt x="151" y="101"/>
                  <a:pt x="149" y="103"/>
                  <a:pt x="150" y="103"/>
                </a:cubicBezTo>
                <a:cubicBezTo>
                  <a:pt x="154" y="100"/>
                  <a:pt x="153" y="100"/>
                  <a:pt x="156" y="98"/>
                </a:cubicBezTo>
                <a:cubicBezTo>
                  <a:pt x="155" y="98"/>
                  <a:pt x="155" y="98"/>
                  <a:pt x="154" y="98"/>
                </a:cubicBezTo>
                <a:cubicBezTo>
                  <a:pt x="154" y="100"/>
                  <a:pt x="154" y="98"/>
                  <a:pt x="153" y="99"/>
                </a:cubicBezTo>
                <a:close/>
                <a:moveTo>
                  <a:pt x="160" y="120"/>
                </a:moveTo>
                <a:cubicBezTo>
                  <a:pt x="160" y="120"/>
                  <a:pt x="160" y="121"/>
                  <a:pt x="161" y="120"/>
                </a:cubicBezTo>
                <a:cubicBezTo>
                  <a:pt x="162" y="119"/>
                  <a:pt x="165" y="116"/>
                  <a:pt x="163" y="117"/>
                </a:cubicBezTo>
                <a:cubicBezTo>
                  <a:pt x="163" y="117"/>
                  <a:pt x="162" y="119"/>
                  <a:pt x="160" y="120"/>
                </a:cubicBezTo>
                <a:close/>
                <a:moveTo>
                  <a:pt x="150" y="106"/>
                </a:moveTo>
                <a:cubicBezTo>
                  <a:pt x="148" y="108"/>
                  <a:pt x="154" y="103"/>
                  <a:pt x="151" y="106"/>
                </a:cubicBezTo>
                <a:cubicBezTo>
                  <a:pt x="154" y="104"/>
                  <a:pt x="154" y="104"/>
                  <a:pt x="154" y="104"/>
                </a:cubicBezTo>
                <a:cubicBezTo>
                  <a:pt x="154" y="103"/>
                  <a:pt x="153" y="104"/>
                  <a:pt x="154" y="103"/>
                </a:cubicBezTo>
                <a:cubicBezTo>
                  <a:pt x="151" y="105"/>
                  <a:pt x="151" y="105"/>
                  <a:pt x="150" y="106"/>
                </a:cubicBezTo>
                <a:close/>
                <a:moveTo>
                  <a:pt x="146" y="105"/>
                </a:moveTo>
                <a:cubicBezTo>
                  <a:pt x="142" y="108"/>
                  <a:pt x="147" y="106"/>
                  <a:pt x="145" y="108"/>
                </a:cubicBezTo>
                <a:cubicBezTo>
                  <a:pt x="147" y="106"/>
                  <a:pt x="146" y="106"/>
                  <a:pt x="149" y="104"/>
                </a:cubicBezTo>
                <a:cubicBezTo>
                  <a:pt x="148" y="104"/>
                  <a:pt x="149" y="103"/>
                  <a:pt x="149" y="103"/>
                </a:cubicBezTo>
                <a:cubicBezTo>
                  <a:pt x="145" y="105"/>
                  <a:pt x="149" y="103"/>
                  <a:pt x="146" y="106"/>
                </a:cubicBezTo>
                <a:cubicBezTo>
                  <a:pt x="146" y="105"/>
                  <a:pt x="147" y="104"/>
                  <a:pt x="146" y="105"/>
                </a:cubicBezTo>
                <a:close/>
                <a:moveTo>
                  <a:pt x="153" y="120"/>
                </a:moveTo>
                <a:cubicBezTo>
                  <a:pt x="156" y="118"/>
                  <a:pt x="154" y="119"/>
                  <a:pt x="157" y="116"/>
                </a:cubicBezTo>
                <a:cubicBezTo>
                  <a:pt x="156" y="117"/>
                  <a:pt x="154" y="118"/>
                  <a:pt x="152" y="119"/>
                </a:cubicBezTo>
                <a:cubicBezTo>
                  <a:pt x="154" y="119"/>
                  <a:pt x="151" y="121"/>
                  <a:pt x="149" y="122"/>
                </a:cubicBezTo>
                <a:cubicBezTo>
                  <a:pt x="148" y="124"/>
                  <a:pt x="152" y="120"/>
                  <a:pt x="151" y="122"/>
                </a:cubicBezTo>
                <a:cubicBezTo>
                  <a:pt x="153" y="120"/>
                  <a:pt x="153" y="119"/>
                  <a:pt x="154" y="119"/>
                </a:cubicBezTo>
                <a:cubicBezTo>
                  <a:pt x="154" y="119"/>
                  <a:pt x="153" y="120"/>
                  <a:pt x="153" y="120"/>
                </a:cubicBezTo>
                <a:close/>
                <a:moveTo>
                  <a:pt x="136" y="117"/>
                </a:moveTo>
                <a:cubicBezTo>
                  <a:pt x="139" y="115"/>
                  <a:pt x="135" y="118"/>
                  <a:pt x="135" y="118"/>
                </a:cubicBezTo>
                <a:cubicBezTo>
                  <a:pt x="138" y="116"/>
                  <a:pt x="140" y="115"/>
                  <a:pt x="142" y="113"/>
                </a:cubicBezTo>
                <a:cubicBezTo>
                  <a:pt x="142" y="112"/>
                  <a:pt x="147" y="109"/>
                  <a:pt x="148" y="107"/>
                </a:cubicBezTo>
                <a:cubicBezTo>
                  <a:pt x="147" y="108"/>
                  <a:pt x="146" y="108"/>
                  <a:pt x="146" y="108"/>
                </a:cubicBezTo>
                <a:cubicBezTo>
                  <a:pt x="144" y="109"/>
                  <a:pt x="144" y="110"/>
                  <a:pt x="142" y="111"/>
                </a:cubicBezTo>
                <a:cubicBezTo>
                  <a:pt x="141" y="113"/>
                  <a:pt x="142" y="113"/>
                  <a:pt x="141" y="113"/>
                </a:cubicBezTo>
                <a:cubicBezTo>
                  <a:pt x="140" y="113"/>
                  <a:pt x="136" y="116"/>
                  <a:pt x="136" y="117"/>
                </a:cubicBezTo>
                <a:close/>
                <a:moveTo>
                  <a:pt x="153" y="123"/>
                </a:moveTo>
                <a:cubicBezTo>
                  <a:pt x="154" y="123"/>
                  <a:pt x="157" y="120"/>
                  <a:pt x="156" y="120"/>
                </a:cubicBezTo>
                <a:cubicBezTo>
                  <a:pt x="155" y="121"/>
                  <a:pt x="152" y="123"/>
                  <a:pt x="153" y="123"/>
                </a:cubicBezTo>
                <a:close/>
                <a:moveTo>
                  <a:pt x="137" y="109"/>
                </a:moveTo>
                <a:cubicBezTo>
                  <a:pt x="139" y="108"/>
                  <a:pt x="141" y="106"/>
                  <a:pt x="141" y="106"/>
                </a:cubicBezTo>
                <a:cubicBezTo>
                  <a:pt x="139" y="107"/>
                  <a:pt x="137" y="109"/>
                  <a:pt x="137" y="109"/>
                </a:cubicBezTo>
                <a:close/>
                <a:moveTo>
                  <a:pt x="136" y="114"/>
                </a:moveTo>
                <a:cubicBezTo>
                  <a:pt x="138" y="114"/>
                  <a:pt x="137" y="113"/>
                  <a:pt x="137" y="115"/>
                </a:cubicBezTo>
                <a:cubicBezTo>
                  <a:pt x="138" y="114"/>
                  <a:pt x="138" y="113"/>
                  <a:pt x="141" y="111"/>
                </a:cubicBezTo>
                <a:cubicBezTo>
                  <a:pt x="142" y="110"/>
                  <a:pt x="141" y="111"/>
                  <a:pt x="140" y="111"/>
                </a:cubicBezTo>
                <a:cubicBezTo>
                  <a:pt x="141" y="110"/>
                  <a:pt x="142" y="110"/>
                  <a:pt x="143" y="109"/>
                </a:cubicBezTo>
                <a:cubicBezTo>
                  <a:pt x="143" y="109"/>
                  <a:pt x="144" y="108"/>
                  <a:pt x="143" y="108"/>
                </a:cubicBezTo>
                <a:cubicBezTo>
                  <a:pt x="141" y="111"/>
                  <a:pt x="139" y="111"/>
                  <a:pt x="136" y="114"/>
                </a:cubicBezTo>
                <a:close/>
                <a:moveTo>
                  <a:pt x="142" y="117"/>
                </a:moveTo>
                <a:cubicBezTo>
                  <a:pt x="140" y="118"/>
                  <a:pt x="142" y="116"/>
                  <a:pt x="144" y="115"/>
                </a:cubicBezTo>
                <a:cubicBezTo>
                  <a:pt x="144" y="114"/>
                  <a:pt x="142" y="115"/>
                  <a:pt x="141" y="116"/>
                </a:cubicBezTo>
                <a:cubicBezTo>
                  <a:pt x="141" y="116"/>
                  <a:pt x="141" y="117"/>
                  <a:pt x="140" y="117"/>
                </a:cubicBezTo>
                <a:cubicBezTo>
                  <a:pt x="137" y="118"/>
                  <a:pt x="139" y="119"/>
                  <a:pt x="136" y="120"/>
                </a:cubicBezTo>
                <a:cubicBezTo>
                  <a:pt x="136" y="121"/>
                  <a:pt x="133" y="123"/>
                  <a:pt x="132" y="124"/>
                </a:cubicBezTo>
                <a:cubicBezTo>
                  <a:pt x="133" y="124"/>
                  <a:pt x="131" y="125"/>
                  <a:pt x="131" y="126"/>
                </a:cubicBezTo>
                <a:cubicBezTo>
                  <a:pt x="133" y="124"/>
                  <a:pt x="135" y="122"/>
                  <a:pt x="134" y="124"/>
                </a:cubicBezTo>
                <a:cubicBezTo>
                  <a:pt x="135" y="124"/>
                  <a:pt x="139" y="121"/>
                  <a:pt x="138" y="121"/>
                </a:cubicBezTo>
                <a:cubicBezTo>
                  <a:pt x="137" y="121"/>
                  <a:pt x="135" y="124"/>
                  <a:pt x="135" y="123"/>
                </a:cubicBezTo>
                <a:cubicBezTo>
                  <a:pt x="136" y="122"/>
                  <a:pt x="135" y="122"/>
                  <a:pt x="137" y="121"/>
                </a:cubicBezTo>
                <a:cubicBezTo>
                  <a:pt x="139" y="119"/>
                  <a:pt x="142" y="117"/>
                  <a:pt x="142" y="117"/>
                </a:cubicBezTo>
                <a:close/>
                <a:moveTo>
                  <a:pt x="143" y="118"/>
                </a:moveTo>
                <a:cubicBezTo>
                  <a:pt x="141" y="119"/>
                  <a:pt x="141" y="119"/>
                  <a:pt x="141" y="119"/>
                </a:cubicBezTo>
                <a:cubicBezTo>
                  <a:pt x="140" y="120"/>
                  <a:pt x="140" y="120"/>
                  <a:pt x="141" y="121"/>
                </a:cubicBezTo>
                <a:cubicBezTo>
                  <a:pt x="143" y="119"/>
                  <a:pt x="142" y="119"/>
                  <a:pt x="143" y="118"/>
                </a:cubicBezTo>
                <a:cubicBezTo>
                  <a:pt x="143" y="119"/>
                  <a:pt x="144" y="118"/>
                  <a:pt x="145" y="117"/>
                </a:cubicBezTo>
                <a:cubicBezTo>
                  <a:pt x="143" y="118"/>
                  <a:pt x="144" y="117"/>
                  <a:pt x="143" y="118"/>
                </a:cubicBezTo>
                <a:close/>
                <a:moveTo>
                  <a:pt x="146" y="128"/>
                </a:moveTo>
                <a:cubicBezTo>
                  <a:pt x="147" y="128"/>
                  <a:pt x="145" y="129"/>
                  <a:pt x="145" y="130"/>
                </a:cubicBezTo>
                <a:cubicBezTo>
                  <a:pt x="146" y="129"/>
                  <a:pt x="146" y="129"/>
                  <a:pt x="148" y="128"/>
                </a:cubicBezTo>
                <a:cubicBezTo>
                  <a:pt x="147" y="128"/>
                  <a:pt x="147" y="127"/>
                  <a:pt x="148" y="127"/>
                </a:cubicBezTo>
                <a:cubicBezTo>
                  <a:pt x="147" y="127"/>
                  <a:pt x="146" y="128"/>
                  <a:pt x="146" y="128"/>
                </a:cubicBezTo>
                <a:close/>
                <a:moveTo>
                  <a:pt x="133" y="117"/>
                </a:moveTo>
                <a:cubicBezTo>
                  <a:pt x="133" y="118"/>
                  <a:pt x="134" y="117"/>
                  <a:pt x="135" y="117"/>
                </a:cubicBezTo>
                <a:cubicBezTo>
                  <a:pt x="136" y="116"/>
                  <a:pt x="137" y="115"/>
                  <a:pt x="137" y="115"/>
                </a:cubicBezTo>
                <a:cubicBezTo>
                  <a:pt x="136" y="116"/>
                  <a:pt x="135" y="115"/>
                  <a:pt x="133" y="117"/>
                </a:cubicBezTo>
                <a:close/>
                <a:moveTo>
                  <a:pt x="144" y="129"/>
                </a:moveTo>
                <a:cubicBezTo>
                  <a:pt x="143" y="129"/>
                  <a:pt x="141" y="129"/>
                  <a:pt x="139" y="132"/>
                </a:cubicBezTo>
                <a:cubicBezTo>
                  <a:pt x="139" y="133"/>
                  <a:pt x="145" y="129"/>
                  <a:pt x="146" y="127"/>
                </a:cubicBezTo>
                <a:cubicBezTo>
                  <a:pt x="145" y="128"/>
                  <a:pt x="144" y="128"/>
                  <a:pt x="144" y="129"/>
                </a:cubicBezTo>
                <a:close/>
                <a:moveTo>
                  <a:pt x="133" y="117"/>
                </a:moveTo>
                <a:cubicBezTo>
                  <a:pt x="132" y="118"/>
                  <a:pt x="132" y="117"/>
                  <a:pt x="131" y="118"/>
                </a:cubicBezTo>
                <a:cubicBezTo>
                  <a:pt x="131" y="119"/>
                  <a:pt x="133" y="117"/>
                  <a:pt x="135" y="116"/>
                </a:cubicBezTo>
                <a:cubicBezTo>
                  <a:pt x="134" y="116"/>
                  <a:pt x="136" y="114"/>
                  <a:pt x="134" y="115"/>
                </a:cubicBezTo>
                <a:cubicBezTo>
                  <a:pt x="134" y="116"/>
                  <a:pt x="134" y="116"/>
                  <a:pt x="133" y="117"/>
                </a:cubicBezTo>
                <a:close/>
                <a:moveTo>
                  <a:pt x="138" y="122"/>
                </a:moveTo>
                <a:cubicBezTo>
                  <a:pt x="137" y="123"/>
                  <a:pt x="137" y="123"/>
                  <a:pt x="139" y="122"/>
                </a:cubicBezTo>
                <a:cubicBezTo>
                  <a:pt x="140" y="121"/>
                  <a:pt x="140" y="120"/>
                  <a:pt x="138" y="122"/>
                </a:cubicBezTo>
                <a:close/>
                <a:moveTo>
                  <a:pt x="139" y="137"/>
                </a:moveTo>
                <a:cubicBezTo>
                  <a:pt x="141" y="135"/>
                  <a:pt x="141" y="137"/>
                  <a:pt x="139" y="138"/>
                </a:cubicBezTo>
                <a:cubicBezTo>
                  <a:pt x="140" y="137"/>
                  <a:pt x="141" y="137"/>
                  <a:pt x="142" y="136"/>
                </a:cubicBezTo>
                <a:cubicBezTo>
                  <a:pt x="142" y="135"/>
                  <a:pt x="142" y="135"/>
                  <a:pt x="142" y="135"/>
                </a:cubicBezTo>
                <a:cubicBezTo>
                  <a:pt x="142" y="135"/>
                  <a:pt x="143" y="134"/>
                  <a:pt x="144" y="134"/>
                </a:cubicBezTo>
                <a:cubicBezTo>
                  <a:pt x="142" y="136"/>
                  <a:pt x="138" y="139"/>
                  <a:pt x="138" y="140"/>
                </a:cubicBezTo>
                <a:cubicBezTo>
                  <a:pt x="138" y="140"/>
                  <a:pt x="137" y="141"/>
                  <a:pt x="136" y="141"/>
                </a:cubicBezTo>
                <a:cubicBezTo>
                  <a:pt x="138" y="140"/>
                  <a:pt x="138" y="139"/>
                  <a:pt x="139" y="138"/>
                </a:cubicBezTo>
                <a:cubicBezTo>
                  <a:pt x="139" y="137"/>
                  <a:pt x="136" y="138"/>
                  <a:pt x="133" y="141"/>
                </a:cubicBezTo>
                <a:cubicBezTo>
                  <a:pt x="134" y="141"/>
                  <a:pt x="136" y="139"/>
                  <a:pt x="137" y="139"/>
                </a:cubicBezTo>
                <a:cubicBezTo>
                  <a:pt x="137" y="139"/>
                  <a:pt x="138" y="139"/>
                  <a:pt x="138" y="139"/>
                </a:cubicBezTo>
                <a:cubicBezTo>
                  <a:pt x="135" y="142"/>
                  <a:pt x="132" y="145"/>
                  <a:pt x="132" y="146"/>
                </a:cubicBezTo>
                <a:cubicBezTo>
                  <a:pt x="133" y="145"/>
                  <a:pt x="135" y="144"/>
                  <a:pt x="135" y="143"/>
                </a:cubicBezTo>
                <a:cubicBezTo>
                  <a:pt x="134" y="144"/>
                  <a:pt x="134" y="144"/>
                  <a:pt x="134" y="144"/>
                </a:cubicBezTo>
                <a:cubicBezTo>
                  <a:pt x="135" y="144"/>
                  <a:pt x="136" y="142"/>
                  <a:pt x="136" y="142"/>
                </a:cubicBezTo>
                <a:cubicBezTo>
                  <a:pt x="137" y="142"/>
                  <a:pt x="134" y="145"/>
                  <a:pt x="137" y="143"/>
                </a:cubicBezTo>
                <a:cubicBezTo>
                  <a:pt x="136" y="142"/>
                  <a:pt x="139" y="141"/>
                  <a:pt x="140" y="141"/>
                </a:cubicBezTo>
                <a:cubicBezTo>
                  <a:pt x="139" y="140"/>
                  <a:pt x="141" y="139"/>
                  <a:pt x="141" y="139"/>
                </a:cubicBezTo>
                <a:cubicBezTo>
                  <a:pt x="140" y="139"/>
                  <a:pt x="140" y="139"/>
                  <a:pt x="141" y="138"/>
                </a:cubicBezTo>
                <a:cubicBezTo>
                  <a:pt x="144" y="136"/>
                  <a:pt x="146" y="134"/>
                  <a:pt x="148" y="133"/>
                </a:cubicBezTo>
                <a:cubicBezTo>
                  <a:pt x="147" y="133"/>
                  <a:pt x="143" y="135"/>
                  <a:pt x="146" y="132"/>
                </a:cubicBezTo>
                <a:cubicBezTo>
                  <a:pt x="143" y="133"/>
                  <a:pt x="141" y="134"/>
                  <a:pt x="139" y="137"/>
                </a:cubicBezTo>
                <a:close/>
                <a:moveTo>
                  <a:pt x="142" y="131"/>
                </a:moveTo>
                <a:cubicBezTo>
                  <a:pt x="142" y="131"/>
                  <a:pt x="143" y="132"/>
                  <a:pt x="144" y="130"/>
                </a:cubicBezTo>
                <a:cubicBezTo>
                  <a:pt x="144" y="130"/>
                  <a:pt x="144" y="130"/>
                  <a:pt x="144" y="129"/>
                </a:cubicBezTo>
                <a:cubicBezTo>
                  <a:pt x="144" y="130"/>
                  <a:pt x="143" y="130"/>
                  <a:pt x="142" y="131"/>
                </a:cubicBezTo>
                <a:close/>
                <a:moveTo>
                  <a:pt x="142" y="143"/>
                </a:moveTo>
                <a:cubicBezTo>
                  <a:pt x="142" y="143"/>
                  <a:pt x="145" y="140"/>
                  <a:pt x="145" y="142"/>
                </a:cubicBezTo>
                <a:cubicBezTo>
                  <a:pt x="147" y="140"/>
                  <a:pt x="149" y="139"/>
                  <a:pt x="150" y="138"/>
                </a:cubicBezTo>
                <a:cubicBezTo>
                  <a:pt x="148" y="139"/>
                  <a:pt x="147" y="140"/>
                  <a:pt x="146" y="140"/>
                </a:cubicBezTo>
                <a:cubicBezTo>
                  <a:pt x="147" y="139"/>
                  <a:pt x="147" y="139"/>
                  <a:pt x="148" y="138"/>
                </a:cubicBezTo>
                <a:cubicBezTo>
                  <a:pt x="147" y="139"/>
                  <a:pt x="150" y="137"/>
                  <a:pt x="150" y="137"/>
                </a:cubicBezTo>
                <a:cubicBezTo>
                  <a:pt x="148" y="138"/>
                  <a:pt x="142" y="142"/>
                  <a:pt x="142" y="143"/>
                </a:cubicBezTo>
                <a:close/>
                <a:moveTo>
                  <a:pt x="125" y="125"/>
                </a:moveTo>
                <a:cubicBezTo>
                  <a:pt x="126" y="125"/>
                  <a:pt x="128" y="123"/>
                  <a:pt x="128" y="124"/>
                </a:cubicBezTo>
                <a:cubicBezTo>
                  <a:pt x="126" y="126"/>
                  <a:pt x="124" y="127"/>
                  <a:pt x="124" y="128"/>
                </a:cubicBezTo>
                <a:cubicBezTo>
                  <a:pt x="129" y="124"/>
                  <a:pt x="129" y="124"/>
                  <a:pt x="129" y="124"/>
                </a:cubicBezTo>
                <a:cubicBezTo>
                  <a:pt x="128" y="123"/>
                  <a:pt x="132" y="121"/>
                  <a:pt x="131" y="120"/>
                </a:cubicBezTo>
                <a:cubicBezTo>
                  <a:pt x="129" y="122"/>
                  <a:pt x="127" y="123"/>
                  <a:pt x="125" y="125"/>
                </a:cubicBezTo>
                <a:close/>
                <a:moveTo>
                  <a:pt x="131" y="122"/>
                </a:moveTo>
                <a:cubicBezTo>
                  <a:pt x="132" y="122"/>
                  <a:pt x="131" y="122"/>
                  <a:pt x="131" y="123"/>
                </a:cubicBezTo>
                <a:cubicBezTo>
                  <a:pt x="132" y="122"/>
                  <a:pt x="132" y="121"/>
                  <a:pt x="133" y="120"/>
                </a:cubicBezTo>
                <a:cubicBezTo>
                  <a:pt x="134" y="120"/>
                  <a:pt x="134" y="120"/>
                  <a:pt x="134" y="120"/>
                </a:cubicBezTo>
                <a:cubicBezTo>
                  <a:pt x="133" y="120"/>
                  <a:pt x="135" y="117"/>
                  <a:pt x="131" y="119"/>
                </a:cubicBezTo>
                <a:cubicBezTo>
                  <a:pt x="131" y="120"/>
                  <a:pt x="134" y="119"/>
                  <a:pt x="131" y="122"/>
                </a:cubicBezTo>
                <a:close/>
                <a:moveTo>
                  <a:pt x="139" y="130"/>
                </a:moveTo>
                <a:cubicBezTo>
                  <a:pt x="138" y="132"/>
                  <a:pt x="142" y="129"/>
                  <a:pt x="142" y="129"/>
                </a:cubicBezTo>
                <a:lnTo>
                  <a:pt x="139" y="130"/>
                </a:lnTo>
                <a:close/>
                <a:moveTo>
                  <a:pt x="133" y="129"/>
                </a:moveTo>
                <a:cubicBezTo>
                  <a:pt x="135" y="127"/>
                  <a:pt x="136" y="126"/>
                  <a:pt x="135" y="126"/>
                </a:cubicBezTo>
                <a:cubicBezTo>
                  <a:pt x="133" y="128"/>
                  <a:pt x="132" y="129"/>
                  <a:pt x="133" y="129"/>
                </a:cubicBezTo>
                <a:close/>
                <a:moveTo>
                  <a:pt x="129" y="121"/>
                </a:moveTo>
                <a:cubicBezTo>
                  <a:pt x="128" y="120"/>
                  <a:pt x="126" y="121"/>
                  <a:pt x="124" y="124"/>
                </a:cubicBezTo>
                <a:cubicBezTo>
                  <a:pt x="125" y="123"/>
                  <a:pt x="125" y="123"/>
                  <a:pt x="124" y="124"/>
                </a:cubicBezTo>
                <a:cubicBezTo>
                  <a:pt x="123" y="124"/>
                  <a:pt x="121" y="127"/>
                  <a:pt x="120" y="128"/>
                </a:cubicBezTo>
                <a:cubicBezTo>
                  <a:pt x="121" y="128"/>
                  <a:pt x="121" y="128"/>
                  <a:pt x="120" y="130"/>
                </a:cubicBezTo>
                <a:cubicBezTo>
                  <a:pt x="121" y="129"/>
                  <a:pt x="121" y="129"/>
                  <a:pt x="121" y="129"/>
                </a:cubicBezTo>
                <a:cubicBezTo>
                  <a:pt x="125" y="126"/>
                  <a:pt x="124" y="125"/>
                  <a:pt x="128" y="123"/>
                </a:cubicBezTo>
                <a:cubicBezTo>
                  <a:pt x="127" y="122"/>
                  <a:pt x="126" y="123"/>
                  <a:pt x="129" y="121"/>
                </a:cubicBezTo>
                <a:close/>
                <a:moveTo>
                  <a:pt x="129" y="131"/>
                </a:moveTo>
                <a:cubicBezTo>
                  <a:pt x="130" y="130"/>
                  <a:pt x="133" y="127"/>
                  <a:pt x="134" y="126"/>
                </a:cubicBezTo>
                <a:cubicBezTo>
                  <a:pt x="131" y="128"/>
                  <a:pt x="130" y="130"/>
                  <a:pt x="129" y="131"/>
                </a:cubicBezTo>
                <a:close/>
                <a:moveTo>
                  <a:pt x="133" y="136"/>
                </a:moveTo>
                <a:cubicBezTo>
                  <a:pt x="135" y="136"/>
                  <a:pt x="137" y="136"/>
                  <a:pt x="139" y="133"/>
                </a:cubicBezTo>
                <a:cubicBezTo>
                  <a:pt x="136" y="135"/>
                  <a:pt x="136" y="134"/>
                  <a:pt x="133" y="136"/>
                </a:cubicBezTo>
                <a:close/>
                <a:moveTo>
                  <a:pt x="124" y="131"/>
                </a:moveTo>
                <a:cubicBezTo>
                  <a:pt x="125" y="131"/>
                  <a:pt x="125" y="131"/>
                  <a:pt x="124" y="132"/>
                </a:cubicBezTo>
                <a:cubicBezTo>
                  <a:pt x="126" y="131"/>
                  <a:pt x="131" y="127"/>
                  <a:pt x="128" y="128"/>
                </a:cubicBezTo>
                <a:cubicBezTo>
                  <a:pt x="128" y="129"/>
                  <a:pt x="126" y="130"/>
                  <a:pt x="124" y="131"/>
                </a:cubicBezTo>
                <a:close/>
                <a:moveTo>
                  <a:pt x="121" y="127"/>
                </a:moveTo>
                <a:cubicBezTo>
                  <a:pt x="121" y="126"/>
                  <a:pt x="121" y="125"/>
                  <a:pt x="123" y="124"/>
                </a:cubicBezTo>
                <a:cubicBezTo>
                  <a:pt x="120" y="126"/>
                  <a:pt x="117" y="127"/>
                  <a:pt x="117" y="128"/>
                </a:cubicBezTo>
                <a:cubicBezTo>
                  <a:pt x="118" y="128"/>
                  <a:pt x="120" y="126"/>
                  <a:pt x="121" y="126"/>
                </a:cubicBezTo>
                <a:cubicBezTo>
                  <a:pt x="120" y="126"/>
                  <a:pt x="119" y="128"/>
                  <a:pt x="121" y="127"/>
                </a:cubicBezTo>
                <a:close/>
                <a:moveTo>
                  <a:pt x="120" y="131"/>
                </a:moveTo>
                <a:cubicBezTo>
                  <a:pt x="121" y="131"/>
                  <a:pt x="122" y="131"/>
                  <a:pt x="124" y="129"/>
                </a:cubicBezTo>
                <a:cubicBezTo>
                  <a:pt x="124" y="128"/>
                  <a:pt x="121" y="130"/>
                  <a:pt x="120" y="131"/>
                </a:cubicBezTo>
                <a:close/>
                <a:moveTo>
                  <a:pt x="119" y="140"/>
                </a:moveTo>
                <a:cubicBezTo>
                  <a:pt x="121" y="139"/>
                  <a:pt x="122" y="137"/>
                  <a:pt x="124" y="135"/>
                </a:cubicBezTo>
                <a:cubicBezTo>
                  <a:pt x="124" y="134"/>
                  <a:pt x="124" y="134"/>
                  <a:pt x="124" y="134"/>
                </a:cubicBezTo>
                <a:cubicBezTo>
                  <a:pt x="121" y="137"/>
                  <a:pt x="119" y="139"/>
                  <a:pt x="119" y="140"/>
                </a:cubicBezTo>
                <a:close/>
                <a:moveTo>
                  <a:pt x="117" y="131"/>
                </a:moveTo>
                <a:cubicBezTo>
                  <a:pt x="119" y="130"/>
                  <a:pt x="117" y="130"/>
                  <a:pt x="118" y="129"/>
                </a:cubicBezTo>
                <a:cubicBezTo>
                  <a:pt x="116" y="131"/>
                  <a:pt x="116" y="131"/>
                  <a:pt x="117" y="131"/>
                </a:cubicBezTo>
                <a:close/>
                <a:moveTo>
                  <a:pt x="112" y="133"/>
                </a:moveTo>
                <a:cubicBezTo>
                  <a:pt x="112" y="134"/>
                  <a:pt x="114" y="132"/>
                  <a:pt x="113" y="133"/>
                </a:cubicBezTo>
                <a:cubicBezTo>
                  <a:pt x="117" y="130"/>
                  <a:pt x="114" y="131"/>
                  <a:pt x="112" y="133"/>
                </a:cubicBezTo>
                <a:close/>
                <a:moveTo>
                  <a:pt x="117" y="138"/>
                </a:moveTo>
                <a:cubicBezTo>
                  <a:pt x="116" y="140"/>
                  <a:pt x="113" y="143"/>
                  <a:pt x="114" y="143"/>
                </a:cubicBezTo>
                <a:cubicBezTo>
                  <a:pt x="117" y="140"/>
                  <a:pt x="116" y="140"/>
                  <a:pt x="119" y="137"/>
                </a:cubicBezTo>
                <a:cubicBezTo>
                  <a:pt x="118" y="138"/>
                  <a:pt x="118" y="137"/>
                  <a:pt x="117" y="138"/>
                </a:cubicBezTo>
                <a:close/>
                <a:moveTo>
                  <a:pt x="114" y="157"/>
                </a:moveTo>
                <a:cubicBezTo>
                  <a:pt x="112" y="158"/>
                  <a:pt x="113" y="158"/>
                  <a:pt x="111" y="158"/>
                </a:cubicBezTo>
                <a:cubicBezTo>
                  <a:pt x="113" y="158"/>
                  <a:pt x="109" y="161"/>
                  <a:pt x="109" y="161"/>
                </a:cubicBezTo>
                <a:cubicBezTo>
                  <a:pt x="111" y="159"/>
                  <a:pt x="109" y="160"/>
                  <a:pt x="108" y="161"/>
                </a:cubicBezTo>
                <a:cubicBezTo>
                  <a:pt x="108" y="162"/>
                  <a:pt x="107" y="163"/>
                  <a:pt x="107" y="164"/>
                </a:cubicBezTo>
                <a:cubicBezTo>
                  <a:pt x="105" y="166"/>
                  <a:pt x="105" y="164"/>
                  <a:pt x="102" y="167"/>
                </a:cubicBezTo>
                <a:cubicBezTo>
                  <a:pt x="102" y="169"/>
                  <a:pt x="103" y="167"/>
                  <a:pt x="104" y="167"/>
                </a:cubicBezTo>
                <a:cubicBezTo>
                  <a:pt x="103" y="168"/>
                  <a:pt x="102" y="168"/>
                  <a:pt x="101" y="169"/>
                </a:cubicBezTo>
                <a:cubicBezTo>
                  <a:pt x="103" y="169"/>
                  <a:pt x="106" y="166"/>
                  <a:pt x="107" y="164"/>
                </a:cubicBezTo>
                <a:cubicBezTo>
                  <a:pt x="106" y="167"/>
                  <a:pt x="101" y="172"/>
                  <a:pt x="99" y="173"/>
                </a:cubicBezTo>
                <a:cubicBezTo>
                  <a:pt x="99" y="173"/>
                  <a:pt x="99" y="175"/>
                  <a:pt x="98" y="175"/>
                </a:cubicBezTo>
                <a:cubicBezTo>
                  <a:pt x="98" y="175"/>
                  <a:pt x="99" y="175"/>
                  <a:pt x="98" y="175"/>
                </a:cubicBezTo>
                <a:cubicBezTo>
                  <a:pt x="99" y="175"/>
                  <a:pt x="98" y="175"/>
                  <a:pt x="99" y="175"/>
                </a:cubicBezTo>
                <a:cubicBezTo>
                  <a:pt x="99" y="175"/>
                  <a:pt x="100" y="174"/>
                  <a:pt x="100" y="174"/>
                </a:cubicBezTo>
                <a:cubicBezTo>
                  <a:pt x="100" y="174"/>
                  <a:pt x="100" y="174"/>
                  <a:pt x="100" y="174"/>
                </a:cubicBezTo>
                <a:cubicBezTo>
                  <a:pt x="101" y="172"/>
                  <a:pt x="101" y="172"/>
                  <a:pt x="101" y="172"/>
                </a:cubicBezTo>
                <a:cubicBezTo>
                  <a:pt x="102" y="172"/>
                  <a:pt x="103" y="171"/>
                  <a:pt x="104" y="170"/>
                </a:cubicBezTo>
                <a:cubicBezTo>
                  <a:pt x="103" y="170"/>
                  <a:pt x="106" y="168"/>
                  <a:pt x="106" y="167"/>
                </a:cubicBezTo>
                <a:cubicBezTo>
                  <a:pt x="108" y="166"/>
                  <a:pt x="114" y="158"/>
                  <a:pt x="117" y="157"/>
                </a:cubicBezTo>
                <a:cubicBezTo>
                  <a:pt x="117" y="157"/>
                  <a:pt x="116" y="157"/>
                  <a:pt x="117" y="156"/>
                </a:cubicBezTo>
                <a:cubicBezTo>
                  <a:pt x="119" y="155"/>
                  <a:pt x="120" y="153"/>
                  <a:pt x="123" y="151"/>
                </a:cubicBezTo>
                <a:cubicBezTo>
                  <a:pt x="122" y="150"/>
                  <a:pt x="125" y="150"/>
                  <a:pt x="126" y="148"/>
                </a:cubicBezTo>
                <a:cubicBezTo>
                  <a:pt x="126" y="148"/>
                  <a:pt x="127" y="147"/>
                  <a:pt x="126" y="147"/>
                </a:cubicBezTo>
                <a:cubicBezTo>
                  <a:pt x="123" y="150"/>
                  <a:pt x="122" y="148"/>
                  <a:pt x="120" y="151"/>
                </a:cubicBezTo>
                <a:cubicBezTo>
                  <a:pt x="121" y="150"/>
                  <a:pt x="120" y="153"/>
                  <a:pt x="119" y="153"/>
                </a:cubicBezTo>
                <a:cubicBezTo>
                  <a:pt x="119" y="152"/>
                  <a:pt x="117" y="155"/>
                  <a:pt x="116" y="155"/>
                </a:cubicBezTo>
                <a:cubicBezTo>
                  <a:pt x="117" y="154"/>
                  <a:pt x="118" y="153"/>
                  <a:pt x="118" y="152"/>
                </a:cubicBezTo>
                <a:cubicBezTo>
                  <a:pt x="117" y="154"/>
                  <a:pt x="116" y="154"/>
                  <a:pt x="116" y="154"/>
                </a:cubicBezTo>
                <a:cubicBezTo>
                  <a:pt x="116" y="154"/>
                  <a:pt x="117" y="153"/>
                  <a:pt x="117" y="153"/>
                </a:cubicBezTo>
                <a:cubicBezTo>
                  <a:pt x="115" y="155"/>
                  <a:pt x="115" y="155"/>
                  <a:pt x="114" y="157"/>
                </a:cubicBezTo>
                <a:close/>
                <a:moveTo>
                  <a:pt x="119" y="151"/>
                </a:moveTo>
                <a:cubicBezTo>
                  <a:pt x="120" y="150"/>
                  <a:pt x="121" y="149"/>
                  <a:pt x="121" y="148"/>
                </a:cubicBezTo>
                <a:cubicBezTo>
                  <a:pt x="120" y="149"/>
                  <a:pt x="119" y="149"/>
                  <a:pt x="118" y="151"/>
                </a:cubicBezTo>
                <a:cubicBezTo>
                  <a:pt x="118" y="152"/>
                  <a:pt x="119" y="150"/>
                  <a:pt x="120" y="150"/>
                </a:cubicBezTo>
                <a:cubicBezTo>
                  <a:pt x="119" y="151"/>
                  <a:pt x="118" y="152"/>
                  <a:pt x="119" y="151"/>
                </a:cubicBezTo>
                <a:close/>
                <a:moveTo>
                  <a:pt x="124" y="159"/>
                </a:moveTo>
                <a:cubicBezTo>
                  <a:pt x="125" y="159"/>
                  <a:pt x="128" y="159"/>
                  <a:pt x="128" y="157"/>
                </a:cubicBezTo>
                <a:cubicBezTo>
                  <a:pt x="125" y="160"/>
                  <a:pt x="127" y="156"/>
                  <a:pt x="124" y="159"/>
                </a:cubicBezTo>
                <a:close/>
                <a:moveTo>
                  <a:pt x="112" y="142"/>
                </a:moveTo>
                <a:cubicBezTo>
                  <a:pt x="110" y="143"/>
                  <a:pt x="109" y="144"/>
                  <a:pt x="109" y="145"/>
                </a:cubicBezTo>
                <a:cubicBezTo>
                  <a:pt x="110" y="145"/>
                  <a:pt x="111" y="143"/>
                  <a:pt x="112" y="142"/>
                </a:cubicBezTo>
                <a:cubicBezTo>
                  <a:pt x="112" y="143"/>
                  <a:pt x="112" y="143"/>
                  <a:pt x="113" y="142"/>
                </a:cubicBezTo>
                <a:cubicBezTo>
                  <a:pt x="113" y="142"/>
                  <a:pt x="112" y="142"/>
                  <a:pt x="112" y="142"/>
                </a:cubicBezTo>
                <a:close/>
                <a:moveTo>
                  <a:pt x="114" y="170"/>
                </a:moveTo>
                <a:cubicBezTo>
                  <a:pt x="115" y="170"/>
                  <a:pt x="118" y="166"/>
                  <a:pt x="117" y="166"/>
                </a:cubicBezTo>
                <a:cubicBezTo>
                  <a:pt x="115" y="168"/>
                  <a:pt x="116" y="167"/>
                  <a:pt x="114" y="170"/>
                </a:cubicBezTo>
                <a:close/>
                <a:moveTo>
                  <a:pt x="88" y="182"/>
                </a:moveTo>
                <a:cubicBezTo>
                  <a:pt x="88" y="182"/>
                  <a:pt x="89" y="182"/>
                  <a:pt x="89" y="181"/>
                </a:cubicBezTo>
                <a:cubicBezTo>
                  <a:pt x="88" y="181"/>
                  <a:pt x="88" y="182"/>
                  <a:pt x="88" y="182"/>
                </a:cubicBezTo>
                <a:close/>
                <a:moveTo>
                  <a:pt x="108" y="144"/>
                </a:moveTo>
                <a:cubicBezTo>
                  <a:pt x="106" y="144"/>
                  <a:pt x="109" y="142"/>
                  <a:pt x="108" y="142"/>
                </a:cubicBezTo>
                <a:cubicBezTo>
                  <a:pt x="107" y="142"/>
                  <a:pt x="103" y="145"/>
                  <a:pt x="103" y="145"/>
                </a:cubicBezTo>
                <a:cubicBezTo>
                  <a:pt x="105" y="144"/>
                  <a:pt x="106" y="145"/>
                  <a:pt x="107" y="144"/>
                </a:cubicBezTo>
                <a:cubicBezTo>
                  <a:pt x="109" y="143"/>
                  <a:pt x="109" y="143"/>
                  <a:pt x="110" y="141"/>
                </a:cubicBezTo>
                <a:cubicBezTo>
                  <a:pt x="110" y="141"/>
                  <a:pt x="110" y="141"/>
                  <a:pt x="110" y="141"/>
                </a:cubicBezTo>
                <a:cubicBezTo>
                  <a:pt x="107" y="143"/>
                  <a:pt x="110" y="142"/>
                  <a:pt x="108" y="144"/>
                </a:cubicBezTo>
                <a:close/>
                <a:moveTo>
                  <a:pt x="802" y="247"/>
                </a:moveTo>
                <a:cubicBezTo>
                  <a:pt x="799" y="242"/>
                  <a:pt x="799" y="242"/>
                  <a:pt x="799" y="242"/>
                </a:cubicBezTo>
                <a:cubicBezTo>
                  <a:pt x="798" y="242"/>
                  <a:pt x="801" y="247"/>
                  <a:pt x="801" y="246"/>
                </a:cubicBezTo>
                <a:cubicBezTo>
                  <a:pt x="801" y="247"/>
                  <a:pt x="801" y="247"/>
                  <a:pt x="801" y="247"/>
                </a:cubicBezTo>
                <a:cubicBezTo>
                  <a:pt x="800" y="244"/>
                  <a:pt x="802" y="246"/>
                  <a:pt x="802" y="247"/>
                </a:cubicBezTo>
                <a:close/>
                <a:moveTo>
                  <a:pt x="596" y="44"/>
                </a:moveTo>
                <a:cubicBezTo>
                  <a:pt x="592" y="42"/>
                  <a:pt x="592" y="42"/>
                  <a:pt x="592" y="42"/>
                </a:cubicBezTo>
                <a:cubicBezTo>
                  <a:pt x="592" y="43"/>
                  <a:pt x="593" y="43"/>
                  <a:pt x="594" y="44"/>
                </a:cubicBezTo>
                <a:cubicBezTo>
                  <a:pt x="591" y="43"/>
                  <a:pt x="597" y="45"/>
                  <a:pt x="596" y="44"/>
                </a:cubicBezTo>
                <a:close/>
                <a:moveTo>
                  <a:pt x="493" y="9"/>
                </a:moveTo>
                <a:cubicBezTo>
                  <a:pt x="495" y="10"/>
                  <a:pt x="500" y="11"/>
                  <a:pt x="502" y="11"/>
                </a:cubicBezTo>
                <a:cubicBezTo>
                  <a:pt x="500" y="10"/>
                  <a:pt x="492" y="9"/>
                  <a:pt x="493" y="9"/>
                </a:cubicBezTo>
                <a:close/>
                <a:moveTo>
                  <a:pt x="467" y="5"/>
                </a:moveTo>
                <a:cubicBezTo>
                  <a:pt x="469" y="5"/>
                  <a:pt x="477" y="7"/>
                  <a:pt x="475" y="6"/>
                </a:cubicBezTo>
                <a:cubicBezTo>
                  <a:pt x="473" y="6"/>
                  <a:pt x="466" y="4"/>
                  <a:pt x="466" y="5"/>
                </a:cubicBezTo>
                <a:cubicBezTo>
                  <a:pt x="467" y="6"/>
                  <a:pt x="469" y="7"/>
                  <a:pt x="470" y="6"/>
                </a:cubicBezTo>
                <a:cubicBezTo>
                  <a:pt x="469" y="6"/>
                  <a:pt x="468" y="6"/>
                  <a:pt x="467" y="5"/>
                </a:cubicBezTo>
                <a:close/>
                <a:moveTo>
                  <a:pt x="411" y="0"/>
                </a:moveTo>
                <a:cubicBezTo>
                  <a:pt x="410" y="0"/>
                  <a:pt x="406" y="0"/>
                  <a:pt x="404" y="1"/>
                </a:cubicBezTo>
                <a:cubicBezTo>
                  <a:pt x="407" y="1"/>
                  <a:pt x="411" y="1"/>
                  <a:pt x="414" y="1"/>
                </a:cubicBezTo>
                <a:cubicBezTo>
                  <a:pt x="413" y="1"/>
                  <a:pt x="411" y="1"/>
                  <a:pt x="412" y="1"/>
                </a:cubicBezTo>
                <a:cubicBezTo>
                  <a:pt x="413" y="1"/>
                  <a:pt x="417" y="0"/>
                  <a:pt x="415" y="0"/>
                </a:cubicBezTo>
                <a:cubicBezTo>
                  <a:pt x="415" y="1"/>
                  <a:pt x="413" y="0"/>
                  <a:pt x="411" y="0"/>
                </a:cubicBezTo>
                <a:close/>
                <a:moveTo>
                  <a:pt x="394" y="50"/>
                </a:moveTo>
                <a:cubicBezTo>
                  <a:pt x="394" y="49"/>
                  <a:pt x="401" y="50"/>
                  <a:pt x="399" y="50"/>
                </a:cubicBezTo>
                <a:cubicBezTo>
                  <a:pt x="399" y="49"/>
                  <a:pt x="391" y="49"/>
                  <a:pt x="394" y="50"/>
                </a:cubicBezTo>
                <a:close/>
                <a:moveTo>
                  <a:pt x="388" y="50"/>
                </a:moveTo>
                <a:cubicBezTo>
                  <a:pt x="389" y="50"/>
                  <a:pt x="391" y="51"/>
                  <a:pt x="393" y="50"/>
                </a:cubicBezTo>
                <a:cubicBezTo>
                  <a:pt x="384" y="50"/>
                  <a:pt x="379" y="50"/>
                  <a:pt x="376" y="50"/>
                </a:cubicBezTo>
                <a:cubicBezTo>
                  <a:pt x="379" y="50"/>
                  <a:pt x="373" y="51"/>
                  <a:pt x="376" y="51"/>
                </a:cubicBezTo>
                <a:cubicBezTo>
                  <a:pt x="378" y="50"/>
                  <a:pt x="383" y="51"/>
                  <a:pt x="382" y="50"/>
                </a:cubicBezTo>
                <a:cubicBezTo>
                  <a:pt x="383" y="50"/>
                  <a:pt x="386" y="50"/>
                  <a:pt x="388" y="50"/>
                </a:cubicBezTo>
                <a:close/>
                <a:moveTo>
                  <a:pt x="350" y="7"/>
                </a:moveTo>
                <a:cubicBezTo>
                  <a:pt x="351" y="6"/>
                  <a:pt x="358" y="6"/>
                  <a:pt x="359" y="6"/>
                </a:cubicBezTo>
                <a:cubicBezTo>
                  <a:pt x="355" y="6"/>
                  <a:pt x="351" y="7"/>
                  <a:pt x="349" y="7"/>
                </a:cubicBezTo>
                <a:cubicBezTo>
                  <a:pt x="350" y="7"/>
                  <a:pt x="350" y="7"/>
                  <a:pt x="350" y="7"/>
                </a:cubicBezTo>
                <a:cubicBezTo>
                  <a:pt x="350" y="7"/>
                  <a:pt x="349" y="7"/>
                  <a:pt x="350" y="7"/>
                </a:cubicBezTo>
                <a:close/>
                <a:moveTo>
                  <a:pt x="350" y="8"/>
                </a:moveTo>
                <a:cubicBezTo>
                  <a:pt x="350" y="8"/>
                  <a:pt x="350" y="8"/>
                  <a:pt x="351" y="7"/>
                </a:cubicBezTo>
                <a:cubicBezTo>
                  <a:pt x="348" y="8"/>
                  <a:pt x="348" y="7"/>
                  <a:pt x="347" y="7"/>
                </a:cubicBezTo>
                <a:cubicBezTo>
                  <a:pt x="346" y="8"/>
                  <a:pt x="345" y="8"/>
                  <a:pt x="343" y="8"/>
                </a:cubicBezTo>
                <a:cubicBezTo>
                  <a:pt x="342" y="8"/>
                  <a:pt x="336" y="8"/>
                  <a:pt x="335" y="9"/>
                </a:cubicBezTo>
                <a:cubicBezTo>
                  <a:pt x="336" y="9"/>
                  <a:pt x="337" y="9"/>
                  <a:pt x="337" y="9"/>
                </a:cubicBezTo>
                <a:cubicBezTo>
                  <a:pt x="334" y="10"/>
                  <a:pt x="330" y="9"/>
                  <a:pt x="327" y="11"/>
                </a:cubicBezTo>
                <a:cubicBezTo>
                  <a:pt x="331" y="11"/>
                  <a:pt x="333" y="10"/>
                  <a:pt x="336" y="10"/>
                </a:cubicBezTo>
                <a:cubicBezTo>
                  <a:pt x="336" y="9"/>
                  <a:pt x="337" y="9"/>
                  <a:pt x="339" y="9"/>
                </a:cubicBezTo>
                <a:cubicBezTo>
                  <a:pt x="339" y="9"/>
                  <a:pt x="336" y="9"/>
                  <a:pt x="337" y="10"/>
                </a:cubicBezTo>
                <a:cubicBezTo>
                  <a:pt x="342" y="9"/>
                  <a:pt x="350" y="9"/>
                  <a:pt x="351" y="8"/>
                </a:cubicBezTo>
                <a:cubicBezTo>
                  <a:pt x="350" y="8"/>
                  <a:pt x="350" y="8"/>
                  <a:pt x="350" y="8"/>
                </a:cubicBezTo>
                <a:close/>
                <a:moveTo>
                  <a:pt x="314" y="14"/>
                </a:moveTo>
                <a:cubicBezTo>
                  <a:pt x="315" y="14"/>
                  <a:pt x="322" y="13"/>
                  <a:pt x="320" y="13"/>
                </a:cubicBezTo>
                <a:cubicBezTo>
                  <a:pt x="317" y="14"/>
                  <a:pt x="316" y="13"/>
                  <a:pt x="314" y="14"/>
                </a:cubicBezTo>
                <a:close/>
                <a:moveTo>
                  <a:pt x="241" y="77"/>
                </a:moveTo>
                <a:cubicBezTo>
                  <a:pt x="240" y="77"/>
                  <a:pt x="241" y="75"/>
                  <a:pt x="240" y="76"/>
                </a:cubicBezTo>
                <a:cubicBezTo>
                  <a:pt x="240" y="76"/>
                  <a:pt x="238" y="77"/>
                  <a:pt x="238" y="77"/>
                </a:cubicBezTo>
                <a:cubicBezTo>
                  <a:pt x="238" y="77"/>
                  <a:pt x="238" y="77"/>
                  <a:pt x="237" y="77"/>
                </a:cubicBezTo>
                <a:cubicBezTo>
                  <a:pt x="237" y="78"/>
                  <a:pt x="238" y="77"/>
                  <a:pt x="238" y="77"/>
                </a:cubicBezTo>
                <a:cubicBezTo>
                  <a:pt x="236" y="79"/>
                  <a:pt x="236" y="78"/>
                  <a:pt x="235" y="79"/>
                </a:cubicBezTo>
                <a:cubicBezTo>
                  <a:pt x="236" y="79"/>
                  <a:pt x="240" y="77"/>
                  <a:pt x="241" y="77"/>
                </a:cubicBezTo>
                <a:close/>
                <a:moveTo>
                  <a:pt x="232" y="80"/>
                </a:moveTo>
                <a:cubicBezTo>
                  <a:pt x="232" y="81"/>
                  <a:pt x="233" y="81"/>
                  <a:pt x="228" y="83"/>
                </a:cubicBezTo>
                <a:cubicBezTo>
                  <a:pt x="231" y="83"/>
                  <a:pt x="236" y="79"/>
                  <a:pt x="241" y="77"/>
                </a:cubicBezTo>
                <a:cubicBezTo>
                  <a:pt x="238" y="78"/>
                  <a:pt x="235" y="79"/>
                  <a:pt x="232" y="80"/>
                </a:cubicBezTo>
                <a:close/>
                <a:moveTo>
                  <a:pt x="222" y="84"/>
                </a:moveTo>
                <a:cubicBezTo>
                  <a:pt x="220" y="86"/>
                  <a:pt x="220" y="87"/>
                  <a:pt x="223" y="86"/>
                </a:cubicBezTo>
                <a:cubicBezTo>
                  <a:pt x="221" y="87"/>
                  <a:pt x="219" y="89"/>
                  <a:pt x="217" y="89"/>
                </a:cubicBezTo>
                <a:cubicBezTo>
                  <a:pt x="217" y="88"/>
                  <a:pt x="219" y="88"/>
                  <a:pt x="219" y="87"/>
                </a:cubicBezTo>
                <a:cubicBezTo>
                  <a:pt x="217" y="88"/>
                  <a:pt x="213" y="90"/>
                  <a:pt x="213" y="91"/>
                </a:cubicBezTo>
                <a:cubicBezTo>
                  <a:pt x="218" y="88"/>
                  <a:pt x="214" y="91"/>
                  <a:pt x="215" y="91"/>
                </a:cubicBezTo>
                <a:cubicBezTo>
                  <a:pt x="219" y="89"/>
                  <a:pt x="219" y="89"/>
                  <a:pt x="219" y="89"/>
                </a:cubicBezTo>
                <a:cubicBezTo>
                  <a:pt x="219" y="88"/>
                  <a:pt x="224" y="86"/>
                  <a:pt x="226" y="84"/>
                </a:cubicBezTo>
                <a:cubicBezTo>
                  <a:pt x="222" y="86"/>
                  <a:pt x="223" y="85"/>
                  <a:pt x="222" y="84"/>
                </a:cubicBezTo>
                <a:close/>
                <a:moveTo>
                  <a:pt x="214" y="101"/>
                </a:moveTo>
                <a:cubicBezTo>
                  <a:pt x="214" y="103"/>
                  <a:pt x="210" y="104"/>
                  <a:pt x="207" y="106"/>
                </a:cubicBezTo>
                <a:cubicBezTo>
                  <a:pt x="211" y="104"/>
                  <a:pt x="216" y="101"/>
                  <a:pt x="220" y="99"/>
                </a:cubicBezTo>
                <a:cubicBezTo>
                  <a:pt x="219" y="99"/>
                  <a:pt x="215" y="102"/>
                  <a:pt x="215" y="101"/>
                </a:cubicBezTo>
                <a:cubicBezTo>
                  <a:pt x="219" y="99"/>
                  <a:pt x="223" y="98"/>
                  <a:pt x="226" y="95"/>
                </a:cubicBezTo>
                <a:cubicBezTo>
                  <a:pt x="223" y="97"/>
                  <a:pt x="219" y="98"/>
                  <a:pt x="214" y="101"/>
                </a:cubicBezTo>
                <a:close/>
                <a:moveTo>
                  <a:pt x="211" y="86"/>
                </a:moveTo>
                <a:cubicBezTo>
                  <a:pt x="213" y="83"/>
                  <a:pt x="216" y="83"/>
                  <a:pt x="217" y="81"/>
                </a:cubicBezTo>
                <a:cubicBezTo>
                  <a:pt x="214" y="83"/>
                  <a:pt x="214" y="82"/>
                  <a:pt x="210" y="84"/>
                </a:cubicBezTo>
                <a:cubicBezTo>
                  <a:pt x="210" y="85"/>
                  <a:pt x="208" y="86"/>
                  <a:pt x="211" y="86"/>
                </a:cubicBezTo>
                <a:close/>
                <a:moveTo>
                  <a:pt x="210" y="82"/>
                </a:moveTo>
                <a:cubicBezTo>
                  <a:pt x="211" y="82"/>
                  <a:pt x="207" y="83"/>
                  <a:pt x="208" y="84"/>
                </a:cubicBezTo>
                <a:cubicBezTo>
                  <a:pt x="211" y="83"/>
                  <a:pt x="211" y="82"/>
                  <a:pt x="213" y="80"/>
                </a:cubicBezTo>
                <a:cubicBezTo>
                  <a:pt x="214" y="80"/>
                  <a:pt x="214" y="81"/>
                  <a:pt x="215" y="80"/>
                </a:cubicBezTo>
                <a:cubicBezTo>
                  <a:pt x="216" y="79"/>
                  <a:pt x="212" y="81"/>
                  <a:pt x="210" y="82"/>
                </a:cubicBezTo>
                <a:close/>
                <a:moveTo>
                  <a:pt x="203" y="100"/>
                </a:moveTo>
                <a:cubicBezTo>
                  <a:pt x="201" y="100"/>
                  <a:pt x="199" y="102"/>
                  <a:pt x="199" y="102"/>
                </a:cubicBezTo>
                <a:cubicBezTo>
                  <a:pt x="201" y="100"/>
                  <a:pt x="205" y="97"/>
                  <a:pt x="207" y="96"/>
                </a:cubicBezTo>
                <a:cubicBezTo>
                  <a:pt x="207" y="96"/>
                  <a:pt x="213" y="92"/>
                  <a:pt x="212" y="92"/>
                </a:cubicBezTo>
                <a:cubicBezTo>
                  <a:pt x="211" y="93"/>
                  <a:pt x="207" y="95"/>
                  <a:pt x="207" y="96"/>
                </a:cubicBezTo>
                <a:cubicBezTo>
                  <a:pt x="204" y="97"/>
                  <a:pt x="201" y="100"/>
                  <a:pt x="197" y="101"/>
                </a:cubicBezTo>
                <a:cubicBezTo>
                  <a:pt x="197" y="102"/>
                  <a:pt x="198" y="101"/>
                  <a:pt x="196" y="103"/>
                </a:cubicBezTo>
                <a:cubicBezTo>
                  <a:pt x="192" y="104"/>
                  <a:pt x="183" y="110"/>
                  <a:pt x="180" y="114"/>
                </a:cubicBezTo>
                <a:cubicBezTo>
                  <a:pt x="175" y="115"/>
                  <a:pt x="167" y="123"/>
                  <a:pt x="160" y="128"/>
                </a:cubicBezTo>
                <a:cubicBezTo>
                  <a:pt x="161" y="128"/>
                  <a:pt x="163" y="127"/>
                  <a:pt x="161" y="129"/>
                </a:cubicBezTo>
                <a:cubicBezTo>
                  <a:pt x="164" y="127"/>
                  <a:pt x="163" y="126"/>
                  <a:pt x="165" y="125"/>
                </a:cubicBezTo>
                <a:cubicBezTo>
                  <a:pt x="166" y="125"/>
                  <a:pt x="167" y="124"/>
                  <a:pt x="165" y="127"/>
                </a:cubicBezTo>
                <a:cubicBezTo>
                  <a:pt x="167" y="125"/>
                  <a:pt x="166" y="126"/>
                  <a:pt x="168" y="125"/>
                </a:cubicBezTo>
                <a:cubicBezTo>
                  <a:pt x="168" y="124"/>
                  <a:pt x="169" y="122"/>
                  <a:pt x="167" y="123"/>
                </a:cubicBezTo>
                <a:cubicBezTo>
                  <a:pt x="172" y="119"/>
                  <a:pt x="174" y="119"/>
                  <a:pt x="177" y="116"/>
                </a:cubicBezTo>
                <a:cubicBezTo>
                  <a:pt x="176" y="117"/>
                  <a:pt x="178" y="116"/>
                  <a:pt x="179" y="115"/>
                </a:cubicBezTo>
                <a:cubicBezTo>
                  <a:pt x="179" y="115"/>
                  <a:pt x="178" y="115"/>
                  <a:pt x="179" y="114"/>
                </a:cubicBezTo>
                <a:cubicBezTo>
                  <a:pt x="183" y="113"/>
                  <a:pt x="189" y="107"/>
                  <a:pt x="193" y="105"/>
                </a:cubicBezTo>
                <a:cubicBezTo>
                  <a:pt x="193" y="105"/>
                  <a:pt x="192" y="105"/>
                  <a:pt x="194" y="104"/>
                </a:cubicBezTo>
                <a:cubicBezTo>
                  <a:pt x="193" y="106"/>
                  <a:pt x="196" y="103"/>
                  <a:pt x="198" y="102"/>
                </a:cubicBezTo>
                <a:cubicBezTo>
                  <a:pt x="198" y="103"/>
                  <a:pt x="189" y="108"/>
                  <a:pt x="194" y="106"/>
                </a:cubicBezTo>
                <a:cubicBezTo>
                  <a:pt x="192" y="107"/>
                  <a:pt x="190" y="108"/>
                  <a:pt x="190" y="108"/>
                </a:cubicBezTo>
                <a:cubicBezTo>
                  <a:pt x="194" y="106"/>
                  <a:pt x="190" y="109"/>
                  <a:pt x="189" y="110"/>
                </a:cubicBezTo>
                <a:cubicBezTo>
                  <a:pt x="194" y="107"/>
                  <a:pt x="196" y="106"/>
                  <a:pt x="200" y="103"/>
                </a:cubicBezTo>
                <a:cubicBezTo>
                  <a:pt x="201" y="103"/>
                  <a:pt x="200" y="103"/>
                  <a:pt x="201" y="102"/>
                </a:cubicBezTo>
                <a:cubicBezTo>
                  <a:pt x="202" y="102"/>
                  <a:pt x="205" y="100"/>
                  <a:pt x="205" y="99"/>
                </a:cubicBezTo>
                <a:cubicBezTo>
                  <a:pt x="207" y="98"/>
                  <a:pt x="210" y="96"/>
                  <a:pt x="210" y="97"/>
                </a:cubicBezTo>
                <a:cubicBezTo>
                  <a:pt x="212" y="96"/>
                  <a:pt x="213" y="96"/>
                  <a:pt x="213" y="95"/>
                </a:cubicBezTo>
                <a:cubicBezTo>
                  <a:pt x="211" y="96"/>
                  <a:pt x="215" y="94"/>
                  <a:pt x="214" y="94"/>
                </a:cubicBezTo>
                <a:cubicBezTo>
                  <a:pt x="213" y="95"/>
                  <a:pt x="213" y="94"/>
                  <a:pt x="211" y="95"/>
                </a:cubicBezTo>
                <a:cubicBezTo>
                  <a:pt x="211" y="96"/>
                  <a:pt x="207" y="98"/>
                  <a:pt x="205" y="99"/>
                </a:cubicBezTo>
                <a:cubicBezTo>
                  <a:pt x="205" y="99"/>
                  <a:pt x="202" y="101"/>
                  <a:pt x="202" y="101"/>
                </a:cubicBezTo>
                <a:cubicBezTo>
                  <a:pt x="200" y="101"/>
                  <a:pt x="205" y="99"/>
                  <a:pt x="203" y="100"/>
                </a:cubicBezTo>
                <a:close/>
                <a:moveTo>
                  <a:pt x="201" y="82"/>
                </a:moveTo>
                <a:cubicBezTo>
                  <a:pt x="203" y="81"/>
                  <a:pt x="203" y="82"/>
                  <a:pt x="205" y="81"/>
                </a:cubicBezTo>
                <a:cubicBezTo>
                  <a:pt x="205" y="80"/>
                  <a:pt x="206" y="80"/>
                  <a:pt x="205" y="79"/>
                </a:cubicBezTo>
                <a:cubicBezTo>
                  <a:pt x="203" y="80"/>
                  <a:pt x="202" y="81"/>
                  <a:pt x="201" y="82"/>
                </a:cubicBezTo>
                <a:close/>
                <a:moveTo>
                  <a:pt x="192" y="82"/>
                </a:moveTo>
                <a:cubicBezTo>
                  <a:pt x="192" y="81"/>
                  <a:pt x="194" y="80"/>
                  <a:pt x="194" y="80"/>
                </a:cubicBezTo>
                <a:cubicBezTo>
                  <a:pt x="192" y="80"/>
                  <a:pt x="187" y="84"/>
                  <a:pt x="190" y="83"/>
                </a:cubicBezTo>
                <a:cubicBezTo>
                  <a:pt x="192" y="81"/>
                  <a:pt x="191" y="83"/>
                  <a:pt x="191" y="83"/>
                </a:cubicBezTo>
                <a:cubicBezTo>
                  <a:pt x="192" y="83"/>
                  <a:pt x="194" y="82"/>
                  <a:pt x="195" y="81"/>
                </a:cubicBezTo>
                <a:cubicBezTo>
                  <a:pt x="195" y="81"/>
                  <a:pt x="195" y="82"/>
                  <a:pt x="195" y="82"/>
                </a:cubicBezTo>
                <a:cubicBezTo>
                  <a:pt x="197" y="81"/>
                  <a:pt x="197" y="81"/>
                  <a:pt x="197" y="81"/>
                </a:cubicBezTo>
                <a:cubicBezTo>
                  <a:pt x="197" y="80"/>
                  <a:pt x="197" y="80"/>
                  <a:pt x="197" y="80"/>
                </a:cubicBezTo>
                <a:cubicBezTo>
                  <a:pt x="194" y="82"/>
                  <a:pt x="193" y="81"/>
                  <a:pt x="192" y="82"/>
                </a:cubicBezTo>
                <a:close/>
                <a:moveTo>
                  <a:pt x="196" y="84"/>
                </a:moveTo>
                <a:cubicBezTo>
                  <a:pt x="193" y="86"/>
                  <a:pt x="192" y="85"/>
                  <a:pt x="192" y="85"/>
                </a:cubicBezTo>
                <a:cubicBezTo>
                  <a:pt x="192" y="86"/>
                  <a:pt x="191" y="86"/>
                  <a:pt x="191" y="87"/>
                </a:cubicBezTo>
                <a:cubicBezTo>
                  <a:pt x="193" y="86"/>
                  <a:pt x="192" y="87"/>
                  <a:pt x="194" y="87"/>
                </a:cubicBezTo>
                <a:cubicBezTo>
                  <a:pt x="196" y="86"/>
                  <a:pt x="195" y="86"/>
                  <a:pt x="197" y="85"/>
                </a:cubicBezTo>
                <a:cubicBezTo>
                  <a:pt x="198" y="84"/>
                  <a:pt x="195" y="86"/>
                  <a:pt x="195" y="85"/>
                </a:cubicBezTo>
                <a:cubicBezTo>
                  <a:pt x="195" y="85"/>
                  <a:pt x="198" y="82"/>
                  <a:pt x="196" y="83"/>
                </a:cubicBezTo>
                <a:cubicBezTo>
                  <a:pt x="196" y="83"/>
                  <a:pt x="196" y="83"/>
                  <a:pt x="196" y="84"/>
                </a:cubicBezTo>
                <a:close/>
                <a:moveTo>
                  <a:pt x="187" y="104"/>
                </a:moveTo>
                <a:cubicBezTo>
                  <a:pt x="188" y="103"/>
                  <a:pt x="188" y="105"/>
                  <a:pt x="192" y="103"/>
                </a:cubicBezTo>
                <a:cubicBezTo>
                  <a:pt x="192" y="102"/>
                  <a:pt x="190" y="103"/>
                  <a:pt x="190" y="103"/>
                </a:cubicBezTo>
                <a:cubicBezTo>
                  <a:pt x="192" y="102"/>
                  <a:pt x="193" y="101"/>
                  <a:pt x="194" y="99"/>
                </a:cubicBezTo>
                <a:cubicBezTo>
                  <a:pt x="195" y="100"/>
                  <a:pt x="195" y="100"/>
                  <a:pt x="195" y="100"/>
                </a:cubicBezTo>
                <a:cubicBezTo>
                  <a:pt x="197" y="98"/>
                  <a:pt x="198" y="98"/>
                  <a:pt x="201" y="96"/>
                </a:cubicBezTo>
                <a:cubicBezTo>
                  <a:pt x="200" y="96"/>
                  <a:pt x="201" y="94"/>
                  <a:pt x="200" y="95"/>
                </a:cubicBezTo>
                <a:cubicBezTo>
                  <a:pt x="196" y="97"/>
                  <a:pt x="191" y="101"/>
                  <a:pt x="189" y="102"/>
                </a:cubicBezTo>
                <a:cubicBezTo>
                  <a:pt x="188" y="103"/>
                  <a:pt x="191" y="102"/>
                  <a:pt x="188" y="103"/>
                </a:cubicBezTo>
                <a:cubicBezTo>
                  <a:pt x="188" y="103"/>
                  <a:pt x="187" y="104"/>
                  <a:pt x="187" y="104"/>
                </a:cubicBezTo>
                <a:close/>
                <a:moveTo>
                  <a:pt x="198" y="107"/>
                </a:moveTo>
                <a:cubicBezTo>
                  <a:pt x="200" y="106"/>
                  <a:pt x="201" y="105"/>
                  <a:pt x="202" y="105"/>
                </a:cubicBezTo>
                <a:cubicBezTo>
                  <a:pt x="201" y="105"/>
                  <a:pt x="199" y="106"/>
                  <a:pt x="198" y="106"/>
                </a:cubicBezTo>
                <a:cubicBezTo>
                  <a:pt x="200" y="105"/>
                  <a:pt x="200" y="104"/>
                  <a:pt x="202" y="103"/>
                </a:cubicBezTo>
                <a:cubicBezTo>
                  <a:pt x="201" y="104"/>
                  <a:pt x="203" y="102"/>
                  <a:pt x="205" y="102"/>
                </a:cubicBezTo>
                <a:cubicBezTo>
                  <a:pt x="204" y="101"/>
                  <a:pt x="200" y="104"/>
                  <a:pt x="197" y="105"/>
                </a:cubicBezTo>
                <a:cubicBezTo>
                  <a:pt x="199" y="105"/>
                  <a:pt x="196" y="108"/>
                  <a:pt x="198" y="107"/>
                </a:cubicBezTo>
                <a:close/>
                <a:moveTo>
                  <a:pt x="186" y="99"/>
                </a:moveTo>
                <a:cubicBezTo>
                  <a:pt x="183" y="101"/>
                  <a:pt x="173" y="108"/>
                  <a:pt x="182" y="103"/>
                </a:cubicBezTo>
                <a:cubicBezTo>
                  <a:pt x="183" y="101"/>
                  <a:pt x="187" y="99"/>
                  <a:pt x="183" y="102"/>
                </a:cubicBezTo>
                <a:cubicBezTo>
                  <a:pt x="186" y="100"/>
                  <a:pt x="187" y="99"/>
                  <a:pt x="188" y="98"/>
                </a:cubicBezTo>
                <a:cubicBezTo>
                  <a:pt x="187" y="99"/>
                  <a:pt x="187" y="98"/>
                  <a:pt x="186" y="99"/>
                </a:cubicBezTo>
                <a:close/>
                <a:moveTo>
                  <a:pt x="169" y="89"/>
                </a:moveTo>
                <a:cubicBezTo>
                  <a:pt x="171" y="89"/>
                  <a:pt x="178" y="83"/>
                  <a:pt x="174" y="85"/>
                </a:cubicBezTo>
                <a:cubicBezTo>
                  <a:pt x="174" y="86"/>
                  <a:pt x="171" y="88"/>
                  <a:pt x="169" y="89"/>
                </a:cubicBezTo>
                <a:close/>
                <a:moveTo>
                  <a:pt x="182" y="123"/>
                </a:moveTo>
                <a:cubicBezTo>
                  <a:pt x="187" y="120"/>
                  <a:pt x="189" y="118"/>
                  <a:pt x="195" y="114"/>
                </a:cubicBezTo>
                <a:cubicBezTo>
                  <a:pt x="194" y="115"/>
                  <a:pt x="195" y="113"/>
                  <a:pt x="194" y="114"/>
                </a:cubicBezTo>
                <a:cubicBezTo>
                  <a:pt x="194" y="114"/>
                  <a:pt x="191" y="117"/>
                  <a:pt x="189" y="118"/>
                </a:cubicBezTo>
                <a:cubicBezTo>
                  <a:pt x="190" y="117"/>
                  <a:pt x="190" y="117"/>
                  <a:pt x="190" y="116"/>
                </a:cubicBezTo>
                <a:cubicBezTo>
                  <a:pt x="188" y="118"/>
                  <a:pt x="186" y="120"/>
                  <a:pt x="183" y="121"/>
                </a:cubicBezTo>
                <a:cubicBezTo>
                  <a:pt x="184" y="121"/>
                  <a:pt x="184" y="120"/>
                  <a:pt x="183" y="121"/>
                </a:cubicBezTo>
                <a:cubicBezTo>
                  <a:pt x="183" y="121"/>
                  <a:pt x="182" y="123"/>
                  <a:pt x="182" y="123"/>
                </a:cubicBezTo>
                <a:close/>
                <a:moveTo>
                  <a:pt x="178" y="110"/>
                </a:moveTo>
                <a:cubicBezTo>
                  <a:pt x="180" y="109"/>
                  <a:pt x="180" y="109"/>
                  <a:pt x="180" y="109"/>
                </a:cubicBezTo>
                <a:cubicBezTo>
                  <a:pt x="178" y="111"/>
                  <a:pt x="182" y="109"/>
                  <a:pt x="182" y="108"/>
                </a:cubicBezTo>
                <a:cubicBezTo>
                  <a:pt x="181" y="108"/>
                  <a:pt x="179" y="109"/>
                  <a:pt x="178" y="110"/>
                </a:cubicBezTo>
                <a:close/>
                <a:moveTo>
                  <a:pt x="178" y="117"/>
                </a:moveTo>
                <a:cubicBezTo>
                  <a:pt x="177" y="118"/>
                  <a:pt x="176" y="118"/>
                  <a:pt x="175" y="120"/>
                </a:cubicBezTo>
                <a:cubicBezTo>
                  <a:pt x="176" y="119"/>
                  <a:pt x="176" y="119"/>
                  <a:pt x="177" y="119"/>
                </a:cubicBezTo>
                <a:cubicBezTo>
                  <a:pt x="178" y="118"/>
                  <a:pt x="182" y="116"/>
                  <a:pt x="181" y="116"/>
                </a:cubicBezTo>
                <a:cubicBezTo>
                  <a:pt x="177" y="119"/>
                  <a:pt x="181" y="114"/>
                  <a:pt x="178" y="117"/>
                </a:cubicBezTo>
                <a:close/>
                <a:moveTo>
                  <a:pt x="164" y="122"/>
                </a:moveTo>
                <a:cubicBezTo>
                  <a:pt x="169" y="117"/>
                  <a:pt x="172" y="117"/>
                  <a:pt x="177" y="112"/>
                </a:cubicBezTo>
                <a:cubicBezTo>
                  <a:pt x="174" y="114"/>
                  <a:pt x="176" y="112"/>
                  <a:pt x="174" y="113"/>
                </a:cubicBezTo>
                <a:cubicBezTo>
                  <a:pt x="171" y="116"/>
                  <a:pt x="165" y="119"/>
                  <a:pt x="164" y="122"/>
                </a:cubicBezTo>
                <a:close/>
                <a:moveTo>
                  <a:pt x="159" y="111"/>
                </a:moveTo>
                <a:cubicBezTo>
                  <a:pt x="160" y="110"/>
                  <a:pt x="164" y="108"/>
                  <a:pt x="164" y="107"/>
                </a:cubicBezTo>
                <a:cubicBezTo>
                  <a:pt x="162" y="109"/>
                  <a:pt x="158" y="112"/>
                  <a:pt x="159" y="111"/>
                </a:cubicBezTo>
                <a:close/>
                <a:moveTo>
                  <a:pt x="170" y="123"/>
                </a:moveTo>
                <a:cubicBezTo>
                  <a:pt x="172" y="122"/>
                  <a:pt x="175" y="118"/>
                  <a:pt x="172" y="121"/>
                </a:cubicBezTo>
                <a:cubicBezTo>
                  <a:pt x="172" y="121"/>
                  <a:pt x="173" y="120"/>
                  <a:pt x="173" y="121"/>
                </a:cubicBezTo>
                <a:cubicBezTo>
                  <a:pt x="172" y="121"/>
                  <a:pt x="168" y="124"/>
                  <a:pt x="170" y="123"/>
                </a:cubicBezTo>
                <a:close/>
                <a:moveTo>
                  <a:pt x="125" y="113"/>
                </a:moveTo>
                <a:cubicBezTo>
                  <a:pt x="123" y="114"/>
                  <a:pt x="123" y="114"/>
                  <a:pt x="123" y="114"/>
                </a:cubicBezTo>
                <a:cubicBezTo>
                  <a:pt x="123" y="115"/>
                  <a:pt x="122" y="116"/>
                  <a:pt x="123" y="115"/>
                </a:cubicBezTo>
                <a:cubicBezTo>
                  <a:pt x="125" y="114"/>
                  <a:pt x="125" y="114"/>
                  <a:pt x="125" y="113"/>
                </a:cubicBezTo>
                <a:cubicBezTo>
                  <a:pt x="125" y="113"/>
                  <a:pt x="126" y="113"/>
                  <a:pt x="126" y="112"/>
                </a:cubicBezTo>
                <a:cubicBezTo>
                  <a:pt x="125" y="113"/>
                  <a:pt x="125" y="113"/>
                  <a:pt x="125" y="113"/>
                </a:cubicBezTo>
                <a:close/>
                <a:moveTo>
                  <a:pt x="107" y="138"/>
                </a:moveTo>
                <a:cubicBezTo>
                  <a:pt x="106" y="138"/>
                  <a:pt x="106" y="138"/>
                  <a:pt x="105" y="139"/>
                </a:cubicBezTo>
                <a:cubicBezTo>
                  <a:pt x="105" y="138"/>
                  <a:pt x="107" y="136"/>
                  <a:pt x="107" y="136"/>
                </a:cubicBezTo>
                <a:cubicBezTo>
                  <a:pt x="105" y="138"/>
                  <a:pt x="104" y="139"/>
                  <a:pt x="102" y="141"/>
                </a:cubicBezTo>
                <a:cubicBezTo>
                  <a:pt x="104" y="141"/>
                  <a:pt x="106" y="140"/>
                  <a:pt x="108" y="139"/>
                </a:cubicBezTo>
                <a:cubicBezTo>
                  <a:pt x="104" y="141"/>
                  <a:pt x="110" y="134"/>
                  <a:pt x="107" y="137"/>
                </a:cubicBezTo>
                <a:cubicBezTo>
                  <a:pt x="107" y="137"/>
                  <a:pt x="107" y="137"/>
                  <a:pt x="107" y="138"/>
                </a:cubicBezTo>
                <a:close/>
                <a:moveTo>
                  <a:pt x="128" y="160"/>
                </a:moveTo>
                <a:cubicBezTo>
                  <a:pt x="127" y="161"/>
                  <a:pt x="126" y="161"/>
                  <a:pt x="126" y="161"/>
                </a:cubicBezTo>
                <a:cubicBezTo>
                  <a:pt x="125" y="163"/>
                  <a:pt x="128" y="160"/>
                  <a:pt x="128" y="162"/>
                </a:cubicBezTo>
                <a:cubicBezTo>
                  <a:pt x="127" y="163"/>
                  <a:pt x="126" y="164"/>
                  <a:pt x="125" y="164"/>
                </a:cubicBezTo>
                <a:cubicBezTo>
                  <a:pt x="125" y="165"/>
                  <a:pt x="128" y="162"/>
                  <a:pt x="129" y="162"/>
                </a:cubicBezTo>
                <a:cubicBezTo>
                  <a:pt x="128" y="162"/>
                  <a:pt x="127" y="163"/>
                  <a:pt x="127" y="163"/>
                </a:cubicBezTo>
                <a:cubicBezTo>
                  <a:pt x="131" y="161"/>
                  <a:pt x="128" y="162"/>
                  <a:pt x="131" y="159"/>
                </a:cubicBezTo>
                <a:cubicBezTo>
                  <a:pt x="130" y="159"/>
                  <a:pt x="127" y="162"/>
                  <a:pt x="128" y="160"/>
                </a:cubicBezTo>
                <a:close/>
                <a:moveTo>
                  <a:pt x="95" y="148"/>
                </a:moveTo>
                <a:cubicBezTo>
                  <a:pt x="95" y="148"/>
                  <a:pt x="96" y="148"/>
                  <a:pt x="96" y="148"/>
                </a:cubicBezTo>
                <a:cubicBezTo>
                  <a:pt x="94" y="149"/>
                  <a:pt x="94" y="150"/>
                  <a:pt x="94" y="150"/>
                </a:cubicBezTo>
                <a:cubicBezTo>
                  <a:pt x="98" y="147"/>
                  <a:pt x="99" y="145"/>
                  <a:pt x="101" y="143"/>
                </a:cubicBezTo>
                <a:cubicBezTo>
                  <a:pt x="102" y="143"/>
                  <a:pt x="102" y="142"/>
                  <a:pt x="102" y="141"/>
                </a:cubicBezTo>
                <a:cubicBezTo>
                  <a:pt x="100" y="143"/>
                  <a:pt x="97" y="147"/>
                  <a:pt x="95" y="148"/>
                </a:cubicBezTo>
                <a:close/>
                <a:moveTo>
                  <a:pt x="110" y="169"/>
                </a:moveTo>
                <a:cubicBezTo>
                  <a:pt x="110" y="169"/>
                  <a:pt x="111" y="169"/>
                  <a:pt x="111" y="169"/>
                </a:cubicBezTo>
                <a:cubicBezTo>
                  <a:pt x="110" y="170"/>
                  <a:pt x="109" y="171"/>
                  <a:pt x="109" y="171"/>
                </a:cubicBezTo>
                <a:cubicBezTo>
                  <a:pt x="112" y="168"/>
                  <a:pt x="113" y="166"/>
                  <a:pt x="114" y="165"/>
                </a:cubicBezTo>
                <a:cubicBezTo>
                  <a:pt x="114" y="165"/>
                  <a:pt x="114" y="165"/>
                  <a:pt x="114" y="165"/>
                </a:cubicBezTo>
                <a:cubicBezTo>
                  <a:pt x="112" y="167"/>
                  <a:pt x="111" y="169"/>
                  <a:pt x="110" y="169"/>
                </a:cubicBezTo>
                <a:close/>
                <a:moveTo>
                  <a:pt x="91" y="154"/>
                </a:moveTo>
                <a:cubicBezTo>
                  <a:pt x="92" y="155"/>
                  <a:pt x="92" y="155"/>
                  <a:pt x="92" y="155"/>
                </a:cubicBezTo>
                <a:cubicBezTo>
                  <a:pt x="94" y="153"/>
                  <a:pt x="93" y="153"/>
                  <a:pt x="94" y="152"/>
                </a:cubicBezTo>
                <a:cubicBezTo>
                  <a:pt x="94" y="152"/>
                  <a:pt x="94" y="152"/>
                  <a:pt x="95" y="152"/>
                </a:cubicBezTo>
                <a:cubicBezTo>
                  <a:pt x="95" y="152"/>
                  <a:pt x="95" y="151"/>
                  <a:pt x="95" y="151"/>
                </a:cubicBezTo>
                <a:cubicBezTo>
                  <a:pt x="94" y="151"/>
                  <a:pt x="94" y="151"/>
                  <a:pt x="94" y="152"/>
                </a:cubicBezTo>
                <a:cubicBezTo>
                  <a:pt x="93" y="153"/>
                  <a:pt x="93" y="153"/>
                  <a:pt x="91" y="154"/>
                </a:cubicBezTo>
                <a:close/>
                <a:moveTo>
                  <a:pt x="92" y="162"/>
                </a:moveTo>
                <a:cubicBezTo>
                  <a:pt x="94" y="162"/>
                  <a:pt x="97" y="157"/>
                  <a:pt x="99" y="155"/>
                </a:cubicBezTo>
                <a:cubicBezTo>
                  <a:pt x="96" y="158"/>
                  <a:pt x="95" y="159"/>
                  <a:pt x="92" y="162"/>
                </a:cubicBezTo>
                <a:close/>
                <a:moveTo>
                  <a:pt x="88" y="161"/>
                </a:moveTo>
                <a:cubicBezTo>
                  <a:pt x="87" y="161"/>
                  <a:pt x="87" y="161"/>
                  <a:pt x="87" y="161"/>
                </a:cubicBezTo>
                <a:cubicBezTo>
                  <a:pt x="87" y="161"/>
                  <a:pt x="87" y="161"/>
                  <a:pt x="87" y="161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3"/>
                  <a:pt x="87" y="163"/>
                </a:cubicBezTo>
                <a:cubicBezTo>
                  <a:pt x="87" y="163"/>
                  <a:pt x="87" y="162"/>
                  <a:pt x="87" y="162"/>
                </a:cubicBezTo>
                <a:cubicBezTo>
                  <a:pt x="87" y="162"/>
                  <a:pt x="87" y="162"/>
                  <a:pt x="88" y="161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8" y="162"/>
                  <a:pt x="90" y="159"/>
                  <a:pt x="91" y="158"/>
                </a:cubicBezTo>
                <a:cubicBezTo>
                  <a:pt x="91" y="157"/>
                  <a:pt x="93" y="157"/>
                  <a:pt x="94" y="156"/>
                </a:cubicBezTo>
                <a:cubicBezTo>
                  <a:pt x="92" y="156"/>
                  <a:pt x="90" y="158"/>
                  <a:pt x="88" y="161"/>
                </a:cubicBezTo>
                <a:close/>
                <a:moveTo>
                  <a:pt x="106" y="176"/>
                </a:moveTo>
                <a:cubicBezTo>
                  <a:pt x="106" y="177"/>
                  <a:pt x="105" y="177"/>
                  <a:pt x="105" y="178"/>
                </a:cubicBezTo>
                <a:cubicBezTo>
                  <a:pt x="104" y="178"/>
                  <a:pt x="104" y="178"/>
                  <a:pt x="104" y="178"/>
                </a:cubicBezTo>
                <a:cubicBezTo>
                  <a:pt x="104" y="179"/>
                  <a:pt x="103" y="179"/>
                  <a:pt x="103" y="180"/>
                </a:cubicBezTo>
                <a:cubicBezTo>
                  <a:pt x="104" y="179"/>
                  <a:pt x="104" y="180"/>
                  <a:pt x="104" y="179"/>
                </a:cubicBezTo>
                <a:cubicBezTo>
                  <a:pt x="105" y="179"/>
                  <a:pt x="105" y="180"/>
                  <a:pt x="106" y="179"/>
                </a:cubicBezTo>
                <a:cubicBezTo>
                  <a:pt x="105" y="179"/>
                  <a:pt x="105" y="179"/>
                  <a:pt x="105" y="179"/>
                </a:cubicBezTo>
                <a:cubicBezTo>
                  <a:pt x="105" y="178"/>
                  <a:pt x="105" y="179"/>
                  <a:pt x="106" y="178"/>
                </a:cubicBezTo>
                <a:cubicBezTo>
                  <a:pt x="105" y="179"/>
                  <a:pt x="108" y="175"/>
                  <a:pt x="108" y="175"/>
                </a:cubicBezTo>
                <a:cubicBezTo>
                  <a:pt x="108" y="175"/>
                  <a:pt x="108" y="175"/>
                  <a:pt x="109" y="175"/>
                </a:cubicBezTo>
                <a:cubicBezTo>
                  <a:pt x="108" y="175"/>
                  <a:pt x="107" y="175"/>
                  <a:pt x="106" y="176"/>
                </a:cubicBezTo>
                <a:close/>
                <a:moveTo>
                  <a:pt x="109" y="180"/>
                </a:moveTo>
                <a:cubicBezTo>
                  <a:pt x="108" y="180"/>
                  <a:pt x="108" y="180"/>
                  <a:pt x="108" y="180"/>
                </a:cubicBezTo>
                <a:cubicBezTo>
                  <a:pt x="108" y="181"/>
                  <a:pt x="108" y="181"/>
                  <a:pt x="108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6" y="182"/>
                  <a:pt x="106" y="183"/>
                  <a:pt x="105" y="184"/>
                </a:cubicBezTo>
                <a:cubicBezTo>
                  <a:pt x="106" y="184"/>
                  <a:pt x="107" y="183"/>
                  <a:pt x="107" y="182"/>
                </a:cubicBezTo>
                <a:cubicBezTo>
                  <a:pt x="108" y="182"/>
                  <a:pt x="108" y="182"/>
                  <a:pt x="108" y="182"/>
                </a:cubicBezTo>
                <a:cubicBezTo>
                  <a:pt x="108" y="182"/>
                  <a:pt x="108" y="182"/>
                  <a:pt x="110" y="180"/>
                </a:cubicBezTo>
                <a:cubicBezTo>
                  <a:pt x="110" y="180"/>
                  <a:pt x="109" y="180"/>
                  <a:pt x="109" y="180"/>
                </a:cubicBezTo>
                <a:close/>
                <a:moveTo>
                  <a:pt x="88" y="171"/>
                </a:moveTo>
                <a:cubicBezTo>
                  <a:pt x="89" y="170"/>
                  <a:pt x="88" y="170"/>
                  <a:pt x="88" y="170"/>
                </a:cubicBezTo>
                <a:cubicBezTo>
                  <a:pt x="89" y="171"/>
                  <a:pt x="90" y="169"/>
                  <a:pt x="90" y="169"/>
                </a:cubicBezTo>
                <a:cubicBezTo>
                  <a:pt x="90" y="169"/>
                  <a:pt x="90" y="168"/>
                  <a:pt x="89" y="169"/>
                </a:cubicBezTo>
                <a:cubicBezTo>
                  <a:pt x="89" y="169"/>
                  <a:pt x="88" y="170"/>
                  <a:pt x="88" y="171"/>
                </a:cubicBezTo>
                <a:close/>
                <a:moveTo>
                  <a:pt x="98" y="180"/>
                </a:moveTo>
                <a:cubicBezTo>
                  <a:pt x="99" y="179"/>
                  <a:pt x="99" y="180"/>
                  <a:pt x="100" y="180"/>
                </a:cubicBezTo>
                <a:cubicBezTo>
                  <a:pt x="99" y="179"/>
                  <a:pt x="98" y="179"/>
                  <a:pt x="98" y="180"/>
                </a:cubicBezTo>
                <a:close/>
                <a:moveTo>
                  <a:pt x="102" y="183"/>
                </a:moveTo>
                <a:cubicBezTo>
                  <a:pt x="102" y="182"/>
                  <a:pt x="101" y="182"/>
                  <a:pt x="102" y="182"/>
                </a:cubicBezTo>
                <a:cubicBezTo>
                  <a:pt x="102" y="182"/>
                  <a:pt x="102" y="183"/>
                  <a:pt x="102" y="182"/>
                </a:cubicBezTo>
                <a:cubicBezTo>
                  <a:pt x="102" y="182"/>
                  <a:pt x="101" y="182"/>
                  <a:pt x="101" y="182"/>
                </a:cubicBezTo>
                <a:cubicBezTo>
                  <a:pt x="102" y="182"/>
                  <a:pt x="101" y="183"/>
                  <a:pt x="102" y="183"/>
                </a:cubicBezTo>
                <a:close/>
                <a:moveTo>
                  <a:pt x="102" y="191"/>
                </a:moveTo>
                <a:cubicBezTo>
                  <a:pt x="102" y="191"/>
                  <a:pt x="104" y="189"/>
                  <a:pt x="104" y="188"/>
                </a:cubicBezTo>
                <a:cubicBezTo>
                  <a:pt x="103" y="187"/>
                  <a:pt x="103" y="186"/>
                  <a:pt x="102" y="187"/>
                </a:cubicBezTo>
                <a:cubicBezTo>
                  <a:pt x="104" y="188"/>
                  <a:pt x="101" y="190"/>
                  <a:pt x="102" y="191"/>
                </a:cubicBezTo>
                <a:close/>
                <a:moveTo>
                  <a:pt x="100" y="187"/>
                </a:moveTo>
                <a:cubicBezTo>
                  <a:pt x="100" y="187"/>
                  <a:pt x="99" y="187"/>
                  <a:pt x="100" y="187"/>
                </a:cubicBezTo>
                <a:cubicBezTo>
                  <a:pt x="100" y="187"/>
                  <a:pt x="101" y="187"/>
                  <a:pt x="101" y="187"/>
                </a:cubicBezTo>
                <a:cubicBezTo>
                  <a:pt x="100" y="187"/>
                  <a:pt x="100" y="187"/>
                  <a:pt x="100" y="187"/>
                </a:cubicBezTo>
                <a:close/>
                <a:moveTo>
                  <a:pt x="99" y="192"/>
                </a:moveTo>
                <a:cubicBezTo>
                  <a:pt x="97" y="193"/>
                  <a:pt x="94" y="197"/>
                  <a:pt x="94" y="198"/>
                </a:cubicBezTo>
                <a:cubicBezTo>
                  <a:pt x="95" y="197"/>
                  <a:pt x="96" y="196"/>
                  <a:pt x="97" y="194"/>
                </a:cubicBezTo>
                <a:cubicBezTo>
                  <a:pt x="97" y="195"/>
                  <a:pt x="97" y="195"/>
                  <a:pt x="97" y="194"/>
                </a:cubicBezTo>
                <a:cubicBezTo>
                  <a:pt x="98" y="192"/>
                  <a:pt x="101" y="192"/>
                  <a:pt x="102" y="189"/>
                </a:cubicBezTo>
                <a:cubicBezTo>
                  <a:pt x="101" y="189"/>
                  <a:pt x="101" y="190"/>
                  <a:pt x="101" y="190"/>
                </a:cubicBezTo>
                <a:cubicBezTo>
                  <a:pt x="100" y="189"/>
                  <a:pt x="102" y="189"/>
                  <a:pt x="102" y="188"/>
                </a:cubicBezTo>
                <a:cubicBezTo>
                  <a:pt x="100" y="189"/>
                  <a:pt x="100" y="191"/>
                  <a:pt x="98" y="191"/>
                </a:cubicBezTo>
                <a:cubicBezTo>
                  <a:pt x="99" y="191"/>
                  <a:pt x="99" y="192"/>
                  <a:pt x="99" y="192"/>
                </a:cubicBezTo>
                <a:close/>
                <a:moveTo>
                  <a:pt x="95" y="191"/>
                </a:moveTo>
                <a:cubicBezTo>
                  <a:pt x="96" y="191"/>
                  <a:pt x="95" y="192"/>
                  <a:pt x="96" y="192"/>
                </a:cubicBezTo>
                <a:cubicBezTo>
                  <a:pt x="96" y="191"/>
                  <a:pt x="98" y="191"/>
                  <a:pt x="97" y="190"/>
                </a:cubicBezTo>
                <a:cubicBezTo>
                  <a:pt x="98" y="190"/>
                  <a:pt x="98" y="189"/>
                  <a:pt x="98" y="189"/>
                </a:cubicBezTo>
                <a:cubicBezTo>
                  <a:pt x="98" y="189"/>
                  <a:pt x="97" y="189"/>
                  <a:pt x="98" y="189"/>
                </a:cubicBezTo>
                <a:cubicBezTo>
                  <a:pt x="98" y="189"/>
                  <a:pt x="99" y="189"/>
                  <a:pt x="100" y="188"/>
                </a:cubicBezTo>
                <a:cubicBezTo>
                  <a:pt x="99" y="187"/>
                  <a:pt x="99" y="187"/>
                  <a:pt x="99" y="187"/>
                </a:cubicBezTo>
                <a:cubicBezTo>
                  <a:pt x="98" y="187"/>
                  <a:pt x="99" y="188"/>
                  <a:pt x="98" y="188"/>
                </a:cubicBezTo>
                <a:cubicBezTo>
                  <a:pt x="98" y="187"/>
                  <a:pt x="96" y="189"/>
                  <a:pt x="97" y="190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0"/>
                  <a:pt x="97" y="190"/>
                  <a:pt x="96" y="191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1"/>
                  <a:pt x="96" y="191"/>
                  <a:pt x="95" y="191"/>
                </a:cubicBezTo>
                <a:close/>
                <a:moveTo>
                  <a:pt x="85" y="191"/>
                </a:moveTo>
                <a:cubicBezTo>
                  <a:pt x="85" y="194"/>
                  <a:pt x="82" y="195"/>
                  <a:pt x="81" y="197"/>
                </a:cubicBezTo>
                <a:cubicBezTo>
                  <a:pt x="82" y="198"/>
                  <a:pt x="82" y="197"/>
                  <a:pt x="82" y="197"/>
                </a:cubicBezTo>
                <a:cubicBezTo>
                  <a:pt x="84" y="195"/>
                  <a:pt x="85" y="193"/>
                  <a:pt x="87" y="192"/>
                </a:cubicBezTo>
                <a:cubicBezTo>
                  <a:pt x="87" y="192"/>
                  <a:pt x="87" y="193"/>
                  <a:pt x="88" y="193"/>
                </a:cubicBezTo>
                <a:cubicBezTo>
                  <a:pt x="88" y="193"/>
                  <a:pt x="89" y="191"/>
                  <a:pt x="90" y="191"/>
                </a:cubicBezTo>
                <a:cubicBezTo>
                  <a:pt x="89" y="190"/>
                  <a:pt x="89" y="190"/>
                  <a:pt x="89" y="190"/>
                </a:cubicBezTo>
                <a:cubicBezTo>
                  <a:pt x="89" y="191"/>
                  <a:pt x="88" y="193"/>
                  <a:pt x="87" y="192"/>
                </a:cubicBezTo>
                <a:cubicBezTo>
                  <a:pt x="87" y="191"/>
                  <a:pt x="88" y="190"/>
                  <a:pt x="89" y="189"/>
                </a:cubicBezTo>
                <a:cubicBezTo>
                  <a:pt x="88" y="189"/>
                  <a:pt x="88" y="188"/>
                  <a:pt x="87" y="189"/>
                </a:cubicBezTo>
                <a:cubicBezTo>
                  <a:pt x="88" y="189"/>
                  <a:pt x="87" y="190"/>
                  <a:pt x="88" y="190"/>
                </a:cubicBezTo>
                <a:cubicBezTo>
                  <a:pt x="87" y="190"/>
                  <a:pt x="88" y="190"/>
                  <a:pt x="87" y="190"/>
                </a:cubicBezTo>
                <a:cubicBezTo>
                  <a:pt x="86" y="190"/>
                  <a:pt x="86" y="192"/>
                  <a:pt x="85" y="191"/>
                </a:cubicBezTo>
                <a:cubicBezTo>
                  <a:pt x="86" y="191"/>
                  <a:pt x="86" y="191"/>
                  <a:pt x="86" y="191"/>
                </a:cubicBezTo>
                <a:cubicBezTo>
                  <a:pt x="85" y="191"/>
                  <a:pt x="86" y="191"/>
                  <a:pt x="85" y="191"/>
                </a:cubicBezTo>
                <a:close/>
                <a:moveTo>
                  <a:pt x="94" y="201"/>
                </a:moveTo>
                <a:cubicBezTo>
                  <a:pt x="95" y="200"/>
                  <a:pt x="94" y="199"/>
                  <a:pt x="95" y="200"/>
                </a:cubicBezTo>
                <a:cubicBezTo>
                  <a:pt x="95" y="199"/>
                  <a:pt x="95" y="199"/>
                  <a:pt x="96" y="199"/>
                </a:cubicBezTo>
                <a:cubicBezTo>
                  <a:pt x="94" y="198"/>
                  <a:pt x="94" y="200"/>
                  <a:pt x="94" y="201"/>
                </a:cubicBezTo>
                <a:close/>
                <a:moveTo>
                  <a:pt x="93" y="198"/>
                </a:moveTo>
                <a:cubicBezTo>
                  <a:pt x="93" y="199"/>
                  <a:pt x="93" y="199"/>
                  <a:pt x="92" y="199"/>
                </a:cubicBezTo>
                <a:cubicBezTo>
                  <a:pt x="93" y="200"/>
                  <a:pt x="91" y="200"/>
                  <a:pt x="92" y="200"/>
                </a:cubicBezTo>
                <a:cubicBezTo>
                  <a:pt x="92" y="199"/>
                  <a:pt x="94" y="199"/>
                  <a:pt x="93" y="198"/>
                </a:cubicBezTo>
                <a:close/>
                <a:moveTo>
                  <a:pt x="91" y="201"/>
                </a:moveTo>
                <a:cubicBezTo>
                  <a:pt x="91" y="202"/>
                  <a:pt x="91" y="201"/>
                  <a:pt x="90" y="201"/>
                </a:cubicBezTo>
                <a:cubicBezTo>
                  <a:pt x="90" y="202"/>
                  <a:pt x="91" y="202"/>
                  <a:pt x="91" y="202"/>
                </a:cubicBezTo>
                <a:cubicBezTo>
                  <a:pt x="91" y="202"/>
                  <a:pt x="91" y="202"/>
                  <a:pt x="91" y="203"/>
                </a:cubicBezTo>
                <a:cubicBezTo>
                  <a:pt x="91" y="202"/>
                  <a:pt x="92" y="202"/>
                  <a:pt x="91" y="202"/>
                </a:cubicBezTo>
                <a:cubicBezTo>
                  <a:pt x="92" y="201"/>
                  <a:pt x="92" y="202"/>
                  <a:pt x="92" y="201"/>
                </a:cubicBezTo>
                <a:cubicBezTo>
                  <a:pt x="92" y="201"/>
                  <a:pt x="92" y="201"/>
                  <a:pt x="92" y="201"/>
                </a:cubicBezTo>
                <a:cubicBezTo>
                  <a:pt x="92" y="200"/>
                  <a:pt x="92" y="201"/>
                  <a:pt x="93" y="201"/>
                </a:cubicBezTo>
                <a:cubicBezTo>
                  <a:pt x="93" y="200"/>
                  <a:pt x="93" y="200"/>
                  <a:pt x="93" y="200"/>
                </a:cubicBezTo>
                <a:cubicBezTo>
                  <a:pt x="92" y="199"/>
                  <a:pt x="92" y="201"/>
                  <a:pt x="91" y="201"/>
                </a:cubicBezTo>
                <a:close/>
                <a:moveTo>
                  <a:pt x="87" y="202"/>
                </a:moveTo>
                <a:cubicBezTo>
                  <a:pt x="87" y="203"/>
                  <a:pt x="86" y="204"/>
                  <a:pt x="86" y="205"/>
                </a:cubicBezTo>
                <a:cubicBezTo>
                  <a:pt x="88" y="203"/>
                  <a:pt x="89" y="204"/>
                  <a:pt x="90" y="205"/>
                </a:cubicBezTo>
                <a:cubicBezTo>
                  <a:pt x="89" y="204"/>
                  <a:pt x="90" y="204"/>
                  <a:pt x="90" y="204"/>
                </a:cubicBezTo>
                <a:cubicBezTo>
                  <a:pt x="90" y="204"/>
                  <a:pt x="89" y="204"/>
                  <a:pt x="89" y="203"/>
                </a:cubicBezTo>
                <a:cubicBezTo>
                  <a:pt x="89" y="204"/>
                  <a:pt x="89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2"/>
                  <a:pt x="89" y="202"/>
                </a:cubicBezTo>
                <a:cubicBezTo>
                  <a:pt x="87" y="202"/>
                  <a:pt x="88" y="201"/>
                  <a:pt x="87" y="202"/>
                </a:cubicBezTo>
                <a:close/>
                <a:moveTo>
                  <a:pt x="64" y="186"/>
                </a:move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4" y="186"/>
                  <a:pt x="64" y="186"/>
                </a:cubicBezTo>
                <a:close/>
                <a:moveTo>
                  <a:pt x="86" y="208"/>
                </a:moveTo>
                <a:cubicBezTo>
                  <a:pt x="86" y="208"/>
                  <a:pt x="86" y="207"/>
                  <a:pt x="86" y="207"/>
                </a:cubicBezTo>
                <a:cubicBezTo>
                  <a:pt x="85" y="207"/>
                  <a:pt x="87" y="207"/>
                  <a:pt x="87" y="206"/>
                </a:cubicBezTo>
                <a:cubicBezTo>
                  <a:pt x="86" y="206"/>
                  <a:pt x="85" y="208"/>
                  <a:pt x="86" y="208"/>
                </a:cubicBezTo>
                <a:close/>
                <a:moveTo>
                  <a:pt x="84" y="206"/>
                </a:moveTo>
                <a:cubicBezTo>
                  <a:pt x="84" y="206"/>
                  <a:pt x="84" y="207"/>
                  <a:pt x="85" y="206"/>
                </a:cubicBezTo>
                <a:cubicBezTo>
                  <a:pt x="84" y="206"/>
                  <a:pt x="84" y="205"/>
                  <a:pt x="84" y="206"/>
                </a:cubicBezTo>
                <a:cubicBezTo>
                  <a:pt x="84" y="206"/>
                  <a:pt x="83" y="205"/>
                  <a:pt x="84" y="206"/>
                </a:cubicBezTo>
                <a:close/>
                <a:moveTo>
                  <a:pt x="79" y="215"/>
                </a:moveTo>
                <a:cubicBezTo>
                  <a:pt x="79" y="215"/>
                  <a:pt x="79" y="215"/>
                  <a:pt x="80" y="215"/>
                </a:cubicBezTo>
                <a:cubicBezTo>
                  <a:pt x="80" y="214"/>
                  <a:pt x="82" y="213"/>
                  <a:pt x="81" y="212"/>
                </a:cubicBezTo>
                <a:cubicBezTo>
                  <a:pt x="81" y="212"/>
                  <a:pt x="81" y="212"/>
                  <a:pt x="81" y="212"/>
                </a:cubicBezTo>
                <a:cubicBezTo>
                  <a:pt x="81" y="212"/>
                  <a:pt x="80" y="212"/>
                  <a:pt x="80" y="212"/>
                </a:cubicBezTo>
                <a:cubicBezTo>
                  <a:pt x="81" y="212"/>
                  <a:pt x="81" y="212"/>
                  <a:pt x="81" y="213"/>
                </a:cubicBezTo>
                <a:cubicBezTo>
                  <a:pt x="80" y="212"/>
                  <a:pt x="80" y="213"/>
                  <a:pt x="80" y="212"/>
                </a:cubicBezTo>
                <a:cubicBezTo>
                  <a:pt x="79" y="212"/>
                  <a:pt x="79" y="212"/>
                  <a:pt x="79" y="213"/>
                </a:cubicBezTo>
                <a:cubicBezTo>
                  <a:pt x="79" y="214"/>
                  <a:pt x="77" y="216"/>
                  <a:pt x="76" y="217"/>
                </a:cubicBezTo>
                <a:cubicBezTo>
                  <a:pt x="77" y="217"/>
                  <a:pt x="77" y="216"/>
                  <a:pt x="77" y="217"/>
                </a:cubicBezTo>
                <a:cubicBezTo>
                  <a:pt x="77" y="217"/>
                  <a:pt x="77" y="217"/>
                  <a:pt x="77" y="217"/>
                </a:cubicBezTo>
                <a:cubicBezTo>
                  <a:pt x="77" y="217"/>
                  <a:pt x="78" y="216"/>
                  <a:pt x="79" y="216"/>
                </a:cubicBezTo>
                <a:cubicBezTo>
                  <a:pt x="78" y="216"/>
                  <a:pt x="78" y="215"/>
                  <a:pt x="78" y="215"/>
                </a:cubicBezTo>
                <a:cubicBezTo>
                  <a:pt x="79" y="215"/>
                  <a:pt x="78" y="215"/>
                  <a:pt x="79" y="215"/>
                </a:cubicBezTo>
                <a:cubicBezTo>
                  <a:pt x="79" y="215"/>
                  <a:pt x="79" y="215"/>
                  <a:pt x="79" y="215"/>
                </a:cubicBezTo>
                <a:close/>
                <a:moveTo>
                  <a:pt x="74" y="207"/>
                </a:moveTo>
                <a:cubicBezTo>
                  <a:pt x="73" y="207"/>
                  <a:pt x="73" y="208"/>
                  <a:pt x="72" y="207"/>
                </a:cubicBezTo>
                <a:cubicBezTo>
                  <a:pt x="71" y="209"/>
                  <a:pt x="70" y="210"/>
                  <a:pt x="69" y="210"/>
                </a:cubicBezTo>
                <a:cubicBezTo>
                  <a:pt x="68" y="211"/>
                  <a:pt x="69" y="210"/>
                  <a:pt x="69" y="211"/>
                </a:cubicBezTo>
                <a:cubicBezTo>
                  <a:pt x="68" y="211"/>
                  <a:pt x="69" y="212"/>
                  <a:pt x="68" y="212"/>
                </a:cubicBezTo>
                <a:cubicBezTo>
                  <a:pt x="69" y="212"/>
                  <a:pt x="69" y="211"/>
                  <a:pt x="68" y="211"/>
                </a:cubicBezTo>
                <a:cubicBezTo>
                  <a:pt x="68" y="212"/>
                  <a:pt x="67" y="212"/>
                  <a:pt x="68" y="213"/>
                </a:cubicBezTo>
                <a:cubicBezTo>
                  <a:pt x="68" y="213"/>
                  <a:pt x="68" y="213"/>
                  <a:pt x="68" y="213"/>
                </a:cubicBezTo>
                <a:cubicBezTo>
                  <a:pt x="69" y="212"/>
                  <a:pt x="69" y="213"/>
                  <a:pt x="69" y="214"/>
                </a:cubicBezTo>
                <a:cubicBezTo>
                  <a:pt x="70" y="213"/>
                  <a:pt x="70" y="211"/>
                  <a:pt x="71" y="211"/>
                </a:cubicBezTo>
                <a:cubicBezTo>
                  <a:pt x="70" y="211"/>
                  <a:pt x="70" y="212"/>
                  <a:pt x="70" y="212"/>
                </a:cubicBezTo>
                <a:cubicBezTo>
                  <a:pt x="71" y="212"/>
                  <a:pt x="71" y="212"/>
                  <a:pt x="71" y="212"/>
                </a:cubicBezTo>
                <a:cubicBezTo>
                  <a:pt x="71" y="213"/>
                  <a:pt x="70" y="213"/>
                  <a:pt x="71" y="214"/>
                </a:cubicBezTo>
                <a:cubicBezTo>
                  <a:pt x="69" y="213"/>
                  <a:pt x="70" y="215"/>
                  <a:pt x="69" y="216"/>
                </a:cubicBezTo>
                <a:cubicBezTo>
                  <a:pt x="68" y="217"/>
                  <a:pt x="66" y="218"/>
                  <a:pt x="67" y="219"/>
                </a:cubicBezTo>
                <a:cubicBezTo>
                  <a:pt x="65" y="219"/>
                  <a:pt x="64" y="222"/>
                  <a:pt x="62" y="223"/>
                </a:cubicBezTo>
                <a:cubicBezTo>
                  <a:pt x="63" y="223"/>
                  <a:pt x="62" y="223"/>
                  <a:pt x="63" y="223"/>
                </a:cubicBezTo>
                <a:cubicBezTo>
                  <a:pt x="63" y="223"/>
                  <a:pt x="62" y="225"/>
                  <a:pt x="63" y="225"/>
                </a:cubicBezTo>
                <a:cubicBezTo>
                  <a:pt x="63" y="224"/>
                  <a:pt x="63" y="223"/>
                  <a:pt x="64" y="223"/>
                </a:cubicBezTo>
                <a:cubicBezTo>
                  <a:pt x="64" y="221"/>
                  <a:pt x="67" y="221"/>
                  <a:pt x="67" y="219"/>
                </a:cubicBezTo>
                <a:cubicBezTo>
                  <a:pt x="68" y="218"/>
                  <a:pt x="68" y="218"/>
                  <a:pt x="69" y="217"/>
                </a:cubicBezTo>
                <a:cubicBezTo>
                  <a:pt x="69" y="217"/>
                  <a:pt x="68" y="217"/>
                  <a:pt x="69" y="216"/>
                </a:cubicBezTo>
                <a:cubicBezTo>
                  <a:pt x="70" y="217"/>
                  <a:pt x="69" y="216"/>
                  <a:pt x="69" y="216"/>
                </a:cubicBezTo>
                <a:cubicBezTo>
                  <a:pt x="70" y="216"/>
                  <a:pt x="73" y="213"/>
                  <a:pt x="72" y="212"/>
                </a:cubicBezTo>
                <a:cubicBezTo>
                  <a:pt x="73" y="212"/>
                  <a:pt x="73" y="212"/>
                  <a:pt x="73" y="212"/>
                </a:cubicBezTo>
                <a:cubicBezTo>
                  <a:pt x="73" y="211"/>
                  <a:pt x="73" y="210"/>
                  <a:pt x="72" y="210"/>
                </a:cubicBezTo>
                <a:cubicBezTo>
                  <a:pt x="73" y="210"/>
                  <a:pt x="73" y="210"/>
                  <a:pt x="73" y="211"/>
                </a:cubicBezTo>
                <a:cubicBezTo>
                  <a:pt x="72" y="210"/>
                  <a:pt x="72" y="211"/>
                  <a:pt x="72" y="211"/>
                </a:cubicBezTo>
                <a:cubicBezTo>
                  <a:pt x="72" y="210"/>
                  <a:pt x="72" y="209"/>
                  <a:pt x="72" y="209"/>
                </a:cubicBezTo>
                <a:cubicBezTo>
                  <a:pt x="72" y="210"/>
                  <a:pt x="71" y="210"/>
                  <a:pt x="71" y="210"/>
                </a:cubicBezTo>
                <a:cubicBezTo>
                  <a:pt x="72" y="210"/>
                  <a:pt x="71" y="209"/>
                  <a:pt x="72" y="209"/>
                </a:cubicBezTo>
                <a:cubicBezTo>
                  <a:pt x="73" y="209"/>
                  <a:pt x="72" y="207"/>
                  <a:pt x="74" y="208"/>
                </a:cubicBezTo>
                <a:cubicBezTo>
                  <a:pt x="74" y="208"/>
                  <a:pt x="74" y="207"/>
                  <a:pt x="74" y="207"/>
                </a:cubicBezTo>
                <a:close/>
                <a:moveTo>
                  <a:pt x="64" y="211"/>
                </a:moveTo>
                <a:cubicBezTo>
                  <a:pt x="66" y="211"/>
                  <a:pt x="67" y="206"/>
                  <a:pt x="68" y="207"/>
                </a:cubicBezTo>
                <a:cubicBezTo>
                  <a:pt x="68" y="206"/>
                  <a:pt x="70" y="205"/>
                  <a:pt x="69" y="204"/>
                </a:cubicBezTo>
                <a:cubicBezTo>
                  <a:pt x="68" y="206"/>
                  <a:pt x="66" y="208"/>
                  <a:pt x="64" y="211"/>
                </a:cubicBezTo>
                <a:close/>
                <a:moveTo>
                  <a:pt x="73" y="215"/>
                </a:moveTo>
                <a:cubicBezTo>
                  <a:pt x="73" y="215"/>
                  <a:pt x="74" y="214"/>
                  <a:pt x="73" y="214"/>
                </a:cubicBezTo>
                <a:cubicBezTo>
                  <a:pt x="73" y="215"/>
                  <a:pt x="72" y="214"/>
                  <a:pt x="72" y="215"/>
                </a:cubicBezTo>
                <a:cubicBezTo>
                  <a:pt x="72" y="215"/>
                  <a:pt x="71" y="215"/>
                  <a:pt x="71" y="217"/>
                </a:cubicBezTo>
                <a:cubicBezTo>
                  <a:pt x="71" y="217"/>
                  <a:pt x="71" y="217"/>
                  <a:pt x="71" y="217"/>
                </a:cubicBezTo>
                <a:cubicBezTo>
                  <a:pt x="72" y="217"/>
                  <a:pt x="73" y="215"/>
                  <a:pt x="74" y="216"/>
                </a:cubicBezTo>
                <a:cubicBezTo>
                  <a:pt x="74" y="216"/>
                  <a:pt x="74" y="215"/>
                  <a:pt x="75" y="215"/>
                </a:cubicBezTo>
                <a:cubicBezTo>
                  <a:pt x="74" y="214"/>
                  <a:pt x="74" y="214"/>
                  <a:pt x="74" y="213"/>
                </a:cubicBezTo>
                <a:cubicBezTo>
                  <a:pt x="75" y="213"/>
                  <a:pt x="75" y="212"/>
                  <a:pt x="76" y="212"/>
                </a:cubicBezTo>
                <a:cubicBezTo>
                  <a:pt x="75" y="212"/>
                  <a:pt x="76" y="211"/>
                  <a:pt x="76" y="211"/>
                </a:cubicBezTo>
                <a:cubicBezTo>
                  <a:pt x="75" y="211"/>
                  <a:pt x="74" y="213"/>
                  <a:pt x="73" y="214"/>
                </a:cubicBezTo>
                <a:cubicBezTo>
                  <a:pt x="74" y="214"/>
                  <a:pt x="74" y="215"/>
                  <a:pt x="73" y="215"/>
                </a:cubicBezTo>
                <a:close/>
                <a:moveTo>
                  <a:pt x="74" y="210"/>
                </a:moveTo>
                <a:cubicBezTo>
                  <a:pt x="74" y="210"/>
                  <a:pt x="74" y="210"/>
                  <a:pt x="74" y="210"/>
                </a:cubicBezTo>
                <a:cubicBezTo>
                  <a:pt x="75" y="211"/>
                  <a:pt x="75" y="211"/>
                  <a:pt x="75" y="211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4" y="210"/>
                  <a:pt x="74" y="210"/>
                </a:cubicBezTo>
                <a:close/>
                <a:moveTo>
                  <a:pt x="48" y="194"/>
                </a:moveTo>
                <a:cubicBezTo>
                  <a:pt x="47" y="194"/>
                  <a:pt x="49" y="193"/>
                  <a:pt x="48" y="193"/>
                </a:cubicBezTo>
                <a:cubicBezTo>
                  <a:pt x="47" y="193"/>
                  <a:pt x="47" y="195"/>
                  <a:pt x="48" y="194"/>
                </a:cubicBezTo>
                <a:close/>
                <a:moveTo>
                  <a:pt x="75" y="220"/>
                </a:moveTo>
                <a:cubicBezTo>
                  <a:pt x="76" y="219"/>
                  <a:pt x="77" y="219"/>
                  <a:pt x="77" y="217"/>
                </a:cubicBezTo>
                <a:cubicBezTo>
                  <a:pt x="76" y="218"/>
                  <a:pt x="75" y="219"/>
                  <a:pt x="75" y="220"/>
                </a:cubicBezTo>
                <a:close/>
                <a:moveTo>
                  <a:pt x="39" y="198"/>
                </a:moveTo>
                <a:cubicBezTo>
                  <a:pt x="39" y="199"/>
                  <a:pt x="39" y="198"/>
                  <a:pt x="39" y="199"/>
                </a:cubicBezTo>
                <a:cubicBezTo>
                  <a:pt x="40" y="199"/>
                  <a:pt x="40" y="198"/>
                  <a:pt x="40" y="198"/>
                </a:cubicBezTo>
                <a:cubicBezTo>
                  <a:pt x="40" y="198"/>
                  <a:pt x="39" y="198"/>
                  <a:pt x="39" y="198"/>
                </a:cubicBezTo>
                <a:close/>
                <a:moveTo>
                  <a:pt x="67" y="230"/>
                </a:moveTo>
                <a:cubicBezTo>
                  <a:pt x="68" y="230"/>
                  <a:pt x="68" y="229"/>
                  <a:pt x="67" y="229"/>
                </a:cubicBezTo>
                <a:cubicBezTo>
                  <a:pt x="67" y="229"/>
                  <a:pt x="66" y="229"/>
                  <a:pt x="67" y="230"/>
                </a:cubicBezTo>
                <a:cubicBezTo>
                  <a:pt x="67" y="230"/>
                  <a:pt x="67" y="230"/>
                  <a:pt x="67" y="230"/>
                </a:cubicBezTo>
                <a:cubicBezTo>
                  <a:pt x="68" y="230"/>
                  <a:pt x="71" y="228"/>
                  <a:pt x="70" y="227"/>
                </a:cubicBezTo>
                <a:cubicBezTo>
                  <a:pt x="70" y="228"/>
                  <a:pt x="69" y="228"/>
                  <a:pt x="68" y="228"/>
                </a:cubicBezTo>
                <a:cubicBezTo>
                  <a:pt x="68" y="228"/>
                  <a:pt x="67" y="228"/>
                  <a:pt x="68" y="227"/>
                </a:cubicBezTo>
                <a:cubicBezTo>
                  <a:pt x="67" y="228"/>
                  <a:pt x="67" y="229"/>
                  <a:pt x="68" y="229"/>
                </a:cubicBezTo>
                <a:cubicBezTo>
                  <a:pt x="68" y="229"/>
                  <a:pt x="68" y="229"/>
                  <a:pt x="68" y="230"/>
                </a:cubicBezTo>
                <a:cubicBezTo>
                  <a:pt x="68" y="229"/>
                  <a:pt x="67" y="230"/>
                  <a:pt x="67" y="230"/>
                </a:cubicBezTo>
                <a:close/>
                <a:moveTo>
                  <a:pt x="57" y="232"/>
                </a:moveTo>
                <a:cubicBezTo>
                  <a:pt x="56" y="231"/>
                  <a:pt x="57" y="233"/>
                  <a:pt x="56" y="233"/>
                </a:cubicBezTo>
                <a:cubicBezTo>
                  <a:pt x="56" y="233"/>
                  <a:pt x="57" y="233"/>
                  <a:pt x="57" y="232"/>
                </a:cubicBezTo>
                <a:cubicBezTo>
                  <a:pt x="57" y="231"/>
                  <a:pt x="60" y="229"/>
                  <a:pt x="61" y="228"/>
                </a:cubicBezTo>
                <a:cubicBezTo>
                  <a:pt x="60" y="228"/>
                  <a:pt x="60" y="227"/>
                  <a:pt x="60" y="227"/>
                </a:cubicBezTo>
                <a:cubicBezTo>
                  <a:pt x="61" y="227"/>
                  <a:pt x="62" y="226"/>
                  <a:pt x="62" y="226"/>
                </a:cubicBezTo>
                <a:cubicBezTo>
                  <a:pt x="61" y="226"/>
                  <a:pt x="61" y="226"/>
                  <a:pt x="60" y="226"/>
                </a:cubicBezTo>
                <a:cubicBezTo>
                  <a:pt x="61" y="226"/>
                  <a:pt x="61" y="227"/>
                  <a:pt x="61" y="227"/>
                </a:cubicBezTo>
                <a:cubicBezTo>
                  <a:pt x="59" y="228"/>
                  <a:pt x="58" y="230"/>
                  <a:pt x="57" y="232"/>
                </a:cubicBezTo>
                <a:close/>
                <a:moveTo>
                  <a:pt x="66" y="232"/>
                </a:moveTo>
                <a:cubicBezTo>
                  <a:pt x="67" y="232"/>
                  <a:pt x="65" y="232"/>
                  <a:pt x="65" y="231"/>
                </a:cubicBezTo>
                <a:cubicBezTo>
                  <a:pt x="66" y="232"/>
                  <a:pt x="64" y="232"/>
                  <a:pt x="64" y="233"/>
                </a:cubicBezTo>
                <a:cubicBezTo>
                  <a:pt x="65" y="233"/>
                  <a:pt x="65" y="233"/>
                  <a:pt x="66" y="233"/>
                </a:cubicBezTo>
                <a:cubicBezTo>
                  <a:pt x="65" y="232"/>
                  <a:pt x="65" y="233"/>
                  <a:pt x="65" y="233"/>
                </a:cubicBezTo>
                <a:cubicBezTo>
                  <a:pt x="65" y="232"/>
                  <a:pt x="65" y="232"/>
                  <a:pt x="66" y="232"/>
                </a:cubicBezTo>
                <a:cubicBezTo>
                  <a:pt x="66" y="232"/>
                  <a:pt x="66" y="232"/>
                  <a:pt x="66" y="233"/>
                </a:cubicBezTo>
                <a:cubicBezTo>
                  <a:pt x="67" y="232"/>
                  <a:pt x="68" y="232"/>
                  <a:pt x="67" y="231"/>
                </a:cubicBezTo>
                <a:cubicBezTo>
                  <a:pt x="67" y="231"/>
                  <a:pt x="67" y="232"/>
                  <a:pt x="66" y="232"/>
                </a:cubicBezTo>
                <a:close/>
                <a:moveTo>
                  <a:pt x="50" y="233"/>
                </a:moveTo>
                <a:cubicBezTo>
                  <a:pt x="50" y="232"/>
                  <a:pt x="50" y="232"/>
                  <a:pt x="50" y="232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8" y="233"/>
                  <a:pt x="48" y="234"/>
                  <a:pt x="47" y="235"/>
                </a:cubicBezTo>
                <a:cubicBezTo>
                  <a:pt x="48" y="233"/>
                  <a:pt x="49" y="231"/>
                  <a:pt x="50" y="229"/>
                </a:cubicBezTo>
                <a:cubicBezTo>
                  <a:pt x="52" y="228"/>
                  <a:pt x="53" y="226"/>
                  <a:pt x="55" y="224"/>
                </a:cubicBezTo>
                <a:cubicBezTo>
                  <a:pt x="55" y="225"/>
                  <a:pt x="54" y="226"/>
                  <a:pt x="53" y="227"/>
                </a:cubicBezTo>
                <a:cubicBezTo>
                  <a:pt x="52" y="228"/>
                  <a:pt x="53" y="228"/>
                  <a:pt x="52" y="229"/>
                </a:cubicBezTo>
                <a:cubicBezTo>
                  <a:pt x="52" y="229"/>
                  <a:pt x="52" y="230"/>
                  <a:pt x="52" y="229"/>
                </a:cubicBezTo>
                <a:cubicBezTo>
                  <a:pt x="52" y="231"/>
                  <a:pt x="50" y="232"/>
                  <a:pt x="50" y="233"/>
                </a:cubicBezTo>
                <a:close/>
                <a:moveTo>
                  <a:pt x="51" y="231"/>
                </a:moveTo>
                <a:cubicBezTo>
                  <a:pt x="51" y="231"/>
                  <a:pt x="50" y="231"/>
                  <a:pt x="50" y="231"/>
                </a:cubicBezTo>
                <a:cubicBezTo>
                  <a:pt x="50" y="232"/>
                  <a:pt x="50" y="232"/>
                  <a:pt x="51" y="231"/>
                </a:cubicBezTo>
                <a:close/>
                <a:moveTo>
                  <a:pt x="47" y="227"/>
                </a:moveTo>
                <a:cubicBezTo>
                  <a:pt x="47" y="226"/>
                  <a:pt x="48" y="225"/>
                  <a:pt x="48" y="225"/>
                </a:cubicBezTo>
                <a:cubicBezTo>
                  <a:pt x="47" y="225"/>
                  <a:pt x="47" y="225"/>
                  <a:pt x="47" y="225"/>
                </a:cubicBezTo>
                <a:cubicBezTo>
                  <a:pt x="48" y="226"/>
                  <a:pt x="46" y="226"/>
                  <a:pt x="47" y="227"/>
                </a:cubicBezTo>
                <a:close/>
                <a:moveTo>
                  <a:pt x="64" y="239"/>
                </a:moveTo>
                <a:cubicBezTo>
                  <a:pt x="64" y="238"/>
                  <a:pt x="65" y="238"/>
                  <a:pt x="64" y="238"/>
                </a:cubicBezTo>
                <a:cubicBezTo>
                  <a:pt x="64" y="238"/>
                  <a:pt x="64" y="238"/>
                  <a:pt x="64" y="238"/>
                </a:cubicBezTo>
                <a:cubicBezTo>
                  <a:pt x="65" y="238"/>
                  <a:pt x="63" y="239"/>
                  <a:pt x="64" y="239"/>
                </a:cubicBezTo>
                <a:close/>
                <a:moveTo>
                  <a:pt x="54" y="231"/>
                </a:moveTo>
                <a:cubicBezTo>
                  <a:pt x="53" y="232"/>
                  <a:pt x="53" y="232"/>
                  <a:pt x="53" y="232"/>
                </a:cubicBezTo>
                <a:cubicBezTo>
                  <a:pt x="53" y="231"/>
                  <a:pt x="53" y="231"/>
                  <a:pt x="53" y="231"/>
                </a:cubicBezTo>
                <a:cubicBezTo>
                  <a:pt x="53" y="231"/>
                  <a:pt x="52" y="231"/>
                  <a:pt x="52" y="231"/>
                </a:cubicBezTo>
                <a:cubicBezTo>
                  <a:pt x="52" y="232"/>
                  <a:pt x="53" y="232"/>
                  <a:pt x="52" y="232"/>
                </a:cubicBezTo>
                <a:cubicBezTo>
                  <a:pt x="51" y="232"/>
                  <a:pt x="51" y="234"/>
                  <a:pt x="50" y="235"/>
                </a:cubicBezTo>
                <a:cubicBezTo>
                  <a:pt x="50" y="235"/>
                  <a:pt x="51" y="236"/>
                  <a:pt x="51" y="235"/>
                </a:cubicBezTo>
                <a:cubicBezTo>
                  <a:pt x="52" y="235"/>
                  <a:pt x="50" y="235"/>
                  <a:pt x="51" y="235"/>
                </a:cubicBezTo>
                <a:cubicBezTo>
                  <a:pt x="51" y="235"/>
                  <a:pt x="52" y="235"/>
                  <a:pt x="52" y="234"/>
                </a:cubicBezTo>
                <a:cubicBezTo>
                  <a:pt x="51" y="234"/>
                  <a:pt x="51" y="234"/>
                  <a:pt x="51" y="233"/>
                </a:cubicBezTo>
                <a:cubicBezTo>
                  <a:pt x="52" y="233"/>
                  <a:pt x="52" y="232"/>
                  <a:pt x="53" y="232"/>
                </a:cubicBezTo>
                <a:cubicBezTo>
                  <a:pt x="53" y="232"/>
                  <a:pt x="53" y="233"/>
                  <a:pt x="53" y="233"/>
                </a:cubicBezTo>
                <a:cubicBezTo>
                  <a:pt x="54" y="232"/>
                  <a:pt x="54" y="231"/>
                  <a:pt x="53" y="231"/>
                </a:cubicBezTo>
                <a:cubicBezTo>
                  <a:pt x="53" y="231"/>
                  <a:pt x="54" y="231"/>
                  <a:pt x="54" y="231"/>
                </a:cubicBezTo>
                <a:close/>
                <a:moveTo>
                  <a:pt x="53" y="236"/>
                </a:moveTo>
                <a:cubicBezTo>
                  <a:pt x="54" y="237"/>
                  <a:pt x="51" y="238"/>
                  <a:pt x="52" y="239"/>
                </a:cubicBezTo>
                <a:cubicBezTo>
                  <a:pt x="53" y="237"/>
                  <a:pt x="55" y="235"/>
                  <a:pt x="56" y="233"/>
                </a:cubicBezTo>
                <a:cubicBezTo>
                  <a:pt x="55" y="234"/>
                  <a:pt x="55" y="235"/>
                  <a:pt x="54" y="235"/>
                </a:cubicBezTo>
                <a:cubicBezTo>
                  <a:pt x="54" y="236"/>
                  <a:pt x="54" y="236"/>
                  <a:pt x="54" y="235"/>
                </a:cubicBezTo>
                <a:cubicBezTo>
                  <a:pt x="54" y="236"/>
                  <a:pt x="53" y="237"/>
                  <a:pt x="53" y="236"/>
                </a:cubicBezTo>
                <a:close/>
                <a:moveTo>
                  <a:pt x="59" y="240"/>
                </a:moveTo>
                <a:cubicBezTo>
                  <a:pt x="59" y="240"/>
                  <a:pt x="60" y="240"/>
                  <a:pt x="60" y="240"/>
                </a:cubicBezTo>
                <a:cubicBezTo>
                  <a:pt x="60" y="239"/>
                  <a:pt x="60" y="240"/>
                  <a:pt x="59" y="239"/>
                </a:cubicBezTo>
                <a:cubicBezTo>
                  <a:pt x="60" y="239"/>
                  <a:pt x="59" y="239"/>
                  <a:pt x="59" y="239"/>
                </a:cubicBezTo>
                <a:cubicBezTo>
                  <a:pt x="60" y="240"/>
                  <a:pt x="59" y="240"/>
                  <a:pt x="59" y="240"/>
                </a:cubicBezTo>
                <a:close/>
                <a:moveTo>
                  <a:pt x="46" y="234"/>
                </a:moveTo>
                <a:cubicBezTo>
                  <a:pt x="47" y="234"/>
                  <a:pt x="47" y="233"/>
                  <a:pt x="47" y="233"/>
                </a:cubicBezTo>
                <a:cubicBezTo>
                  <a:pt x="46" y="234"/>
                  <a:pt x="46" y="232"/>
                  <a:pt x="46" y="233"/>
                </a:cubicBezTo>
                <a:cubicBezTo>
                  <a:pt x="46" y="233"/>
                  <a:pt x="46" y="233"/>
                  <a:pt x="46" y="233"/>
                </a:cubicBezTo>
                <a:cubicBezTo>
                  <a:pt x="46" y="233"/>
                  <a:pt x="46" y="234"/>
                  <a:pt x="46" y="234"/>
                </a:cubicBezTo>
                <a:close/>
                <a:moveTo>
                  <a:pt x="48" y="236"/>
                </a:moveTo>
                <a:cubicBezTo>
                  <a:pt x="48" y="237"/>
                  <a:pt x="49" y="237"/>
                  <a:pt x="49" y="238"/>
                </a:cubicBezTo>
                <a:cubicBezTo>
                  <a:pt x="49" y="237"/>
                  <a:pt x="51" y="237"/>
                  <a:pt x="51" y="236"/>
                </a:cubicBezTo>
                <a:cubicBezTo>
                  <a:pt x="50" y="236"/>
                  <a:pt x="50" y="236"/>
                  <a:pt x="49" y="237"/>
                </a:cubicBezTo>
                <a:cubicBezTo>
                  <a:pt x="49" y="236"/>
                  <a:pt x="50" y="236"/>
                  <a:pt x="49" y="235"/>
                </a:cubicBezTo>
                <a:cubicBezTo>
                  <a:pt x="49" y="236"/>
                  <a:pt x="49" y="236"/>
                  <a:pt x="48" y="236"/>
                </a:cubicBezTo>
                <a:close/>
                <a:moveTo>
                  <a:pt x="24" y="224"/>
                </a:moveTo>
                <a:cubicBezTo>
                  <a:pt x="24" y="223"/>
                  <a:pt x="24" y="224"/>
                  <a:pt x="25" y="223"/>
                </a:cubicBezTo>
                <a:cubicBezTo>
                  <a:pt x="24" y="223"/>
                  <a:pt x="24" y="223"/>
                  <a:pt x="23" y="223"/>
                </a:cubicBezTo>
                <a:cubicBezTo>
                  <a:pt x="24" y="224"/>
                  <a:pt x="24" y="223"/>
                  <a:pt x="24" y="224"/>
                </a:cubicBezTo>
                <a:cubicBezTo>
                  <a:pt x="24" y="224"/>
                  <a:pt x="24" y="224"/>
                  <a:pt x="24" y="224"/>
                </a:cubicBezTo>
                <a:close/>
                <a:moveTo>
                  <a:pt x="17" y="230"/>
                </a:moveTo>
                <a:cubicBezTo>
                  <a:pt x="18" y="228"/>
                  <a:pt x="19" y="228"/>
                  <a:pt x="19" y="227"/>
                </a:cubicBezTo>
                <a:cubicBezTo>
                  <a:pt x="19" y="227"/>
                  <a:pt x="16" y="229"/>
                  <a:pt x="17" y="230"/>
                </a:cubicBezTo>
                <a:close/>
                <a:moveTo>
                  <a:pt x="45" y="246"/>
                </a:moveTo>
                <a:cubicBezTo>
                  <a:pt x="45" y="246"/>
                  <a:pt x="46" y="247"/>
                  <a:pt x="46" y="247"/>
                </a:cubicBezTo>
                <a:cubicBezTo>
                  <a:pt x="45" y="247"/>
                  <a:pt x="45" y="248"/>
                  <a:pt x="45" y="248"/>
                </a:cubicBezTo>
                <a:cubicBezTo>
                  <a:pt x="46" y="248"/>
                  <a:pt x="46" y="247"/>
                  <a:pt x="47" y="247"/>
                </a:cubicBezTo>
                <a:cubicBezTo>
                  <a:pt x="47" y="247"/>
                  <a:pt x="47" y="247"/>
                  <a:pt x="47" y="247"/>
                </a:cubicBezTo>
                <a:cubicBezTo>
                  <a:pt x="46" y="247"/>
                  <a:pt x="46" y="245"/>
                  <a:pt x="45" y="246"/>
                </a:cubicBezTo>
                <a:close/>
                <a:moveTo>
                  <a:pt x="19" y="231"/>
                </a:moveTo>
                <a:cubicBezTo>
                  <a:pt x="19" y="231"/>
                  <a:pt x="18" y="231"/>
                  <a:pt x="18" y="231"/>
                </a:cubicBezTo>
                <a:cubicBezTo>
                  <a:pt x="19" y="232"/>
                  <a:pt x="19" y="230"/>
                  <a:pt x="18" y="230"/>
                </a:cubicBezTo>
                <a:cubicBezTo>
                  <a:pt x="18" y="231"/>
                  <a:pt x="19" y="230"/>
                  <a:pt x="19" y="231"/>
                </a:cubicBezTo>
                <a:close/>
                <a:moveTo>
                  <a:pt x="18" y="232"/>
                </a:moveTo>
                <a:cubicBezTo>
                  <a:pt x="18" y="234"/>
                  <a:pt x="17" y="234"/>
                  <a:pt x="17" y="235"/>
                </a:cubicBezTo>
                <a:cubicBezTo>
                  <a:pt x="17" y="235"/>
                  <a:pt x="17" y="234"/>
                  <a:pt x="18" y="234"/>
                </a:cubicBezTo>
                <a:cubicBezTo>
                  <a:pt x="18" y="233"/>
                  <a:pt x="19" y="232"/>
                  <a:pt x="18" y="232"/>
                </a:cubicBezTo>
                <a:cubicBezTo>
                  <a:pt x="17" y="232"/>
                  <a:pt x="18" y="233"/>
                  <a:pt x="18" y="232"/>
                </a:cubicBezTo>
                <a:close/>
                <a:moveTo>
                  <a:pt x="4" y="256"/>
                </a:moveTo>
                <a:cubicBezTo>
                  <a:pt x="5" y="255"/>
                  <a:pt x="5" y="254"/>
                  <a:pt x="6" y="253"/>
                </a:cubicBezTo>
                <a:cubicBezTo>
                  <a:pt x="5" y="254"/>
                  <a:pt x="4" y="255"/>
                  <a:pt x="4" y="256"/>
                </a:cubicBezTo>
                <a:close/>
                <a:moveTo>
                  <a:pt x="5" y="258"/>
                </a:moveTo>
                <a:cubicBezTo>
                  <a:pt x="6" y="257"/>
                  <a:pt x="6" y="258"/>
                  <a:pt x="6" y="257"/>
                </a:cubicBezTo>
                <a:cubicBezTo>
                  <a:pt x="6" y="257"/>
                  <a:pt x="6" y="256"/>
                  <a:pt x="6" y="257"/>
                </a:cubicBezTo>
                <a:cubicBezTo>
                  <a:pt x="6" y="257"/>
                  <a:pt x="6" y="257"/>
                  <a:pt x="6" y="257"/>
                </a:cubicBezTo>
                <a:cubicBezTo>
                  <a:pt x="5" y="257"/>
                  <a:pt x="5" y="257"/>
                  <a:pt x="5" y="258"/>
                </a:cubicBezTo>
                <a:close/>
                <a:moveTo>
                  <a:pt x="810" y="264"/>
                </a:moveTo>
                <a:cubicBezTo>
                  <a:pt x="810" y="263"/>
                  <a:pt x="808" y="261"/>
                  <a:pt x="809" y="261"/>
                </a:cubicBezTo>
                <a:cubicBezTo>
                  <a:pt x="810" y="263"/>
                  <a:pt x="809" y="259"/>
                  <a:pt x="809" y="258"/>
                </a:cubicBezTo>
                <a:cubicBezTo>
                  <a:pt x="810" y="258"/>
                  <a:pt x="811" y="261"/>
                  <a:pt x="811" y="261"/>
                </a:cubicBezTo>
                <a:cubicBezTo>
                  <a:pt x="809" y="256"/>
                  <a:pt x="809" y="255"/>
                  <a:pt x="807" y="251"/>
                </a:cubicBezTo>
                <a:cubicBezTo>
                  <a:pt x="808" y="254"/>
                  <a:pt x="807" y="252"/>
                  <a:pt x="806" y="253"/>
                </a:cubicBezTo>
                <a:cubicBezTo>
                  <a:pt x="806" y="253"/>
                  <a:pt x="807" y="260"/>
                  <a:pt x="805" y="261"/>
                </a:cubicBezTo>
                <a:cubicBezTo>
                  <a:pt x="805" y="261"/>
                  <a:pt x="804" y="259"/>
                  <a:pt x="804" y="259"/>
                </a:cubicBezTo>
                <a:cubicBezTo>
                  <a:pt x="803" y="261"/>
                  <a:pt x="804" y="266"/>
                  <a:pt x="801" y="262"/>
                </a:cubicBezTo>
                <a:cubicBezTo>
                  <a:pt x="805" y="271"/>
                  <a:pt x="805" y="267"/>
                  <a:pt x="806" y="266"/>
                </a:cubicBezTo>
                <a:cubicBezTo>
                  <a:pt x="806" y="266"/>
                  <a:pt x="810" y="269"/>
                  <a:pt x="808" y="265"/>
                </a:cubicBezTo>
                <a:cubicBezTo>
                  <a:pt x="809" y="266"/>
                  <a:pt x="810" y="269"/>
                  <a:pt x="810" y="268"/>
                </a:cubicBezTo>
                <a:cubicBezTo>
                  <a:pt x="811" y="267"/>
                  <a:pt x="808" y="263"/>
                  <a:pt x="810" y="264"/>
                </a:cubicBezTo>
                <a:close/>
                <a:moveTo>
                  <a:pt x="440" y="4"/>
                </a:moveTo>
                <a:cubicBezTo>
                  <a:pt x="437" y="3"/>
                  <a:pt x="437" y="4"/>
                  <a:pt x="434" y="4"/>
                </a:cubicBezTo>
                <a:cubicBezTo>
                  <a:pt x="434" y="3"/>
                  <a:pt x="433" y="3"/>
                  <a:pt x="433" y="3"/>
                </a:cubicBezTo>
                <a:cubicBezTo>
                  <a:pt x="435" y="3"/>
                  <a:pt x="437" y="3"/>
                  <a:pt x="438" y="2"/>
                </a:cubicBezTo>
                <a:cubicBezTo>
                  <a:pt x="434" y="2"/>
                  <a:pt x="429" y="3"/>
                  <a:pt x="425" y="3"/>
                </a:cubicBezTo>
                <a:cubicBezTo>
                  <a:pt x="428" y="3"/>
                  <a:pt x="433" y="4"/>
                  <a:pt x="437" y="4"/>
                </a:cubicBezTo>
                <a:cubicBezTo>
                  <a:pt x="436" y="4"/>
                  <a:pt x="434" y="4"/>
                  <a:pt x="434" y="4"/>
                </a:cubicBezTo>
                <a:cubicBezTo>
                  <a:pt x="439" y="4"/>
                  <a:pt x="441" y="4"/>
                  <a:pt x="443" y="5"/>
                </a:cubicBezTo>
                <a:cubicBezTo>
                  <a:pt x="442" y="4"/>
                  <a:pt x="446" y="5"/>
                  <a:pt x="446" y="5"/>
                </a:cubicBezTo>
                <a:cubicBezTo>
                  <a:pt x="444" y="4"/>
                  <a:pt x="444" y="5"/>
                  <a:pt x="440" y="4"/>
                </a:cubicBezTo>
                <a:close/>
                <a:moveTo>
                  <a:pt x="399" y="5"/>
                </a:moveTo>
                <a:cubicBezTo>
                  <a:pt x="398" y="4"/>
                  <a:pt x="401" y="4"/>
                  <a:pt x="398" y="4"/>
                </a:cubicBezTo>
                <a:cubicBezTo>
                  <a:pt x="393" y="5"/>
                  <a:pt x="386" y="4"/>
                  <a:pt x="382" y="5"/>
                </a:cubicBezTo>
                <a:cubicBezTo>
                  <a:pt x="385" y="5"/>
                  <a:pt x="389" y="5"/>
                  <a:pt x="390" y="6"/>
                </a:cubicBezTo>
                <a:cubicBezTo>
                  <a:pt x="395" y="5"/>
                  <a:pt x="398" y="6"/>
                  <a:pt x="400" y="5"/>
                </a:cubicBezTo>
                <a:lnTo>
                  <a:pt x="399" y="5"/>
                </a:lnTo>
                <a:close/>
                <a:moveTo>
                  <a:pt x="142" y="101"/>
                </a:moveTo>
                <a:cubicBezTo>
                  <a:pt x="142" y="102"/>
                  <a:pt x="141" y="103"/>
                  <a:pt x="143" y="102"/>
                </a:cubicBezTo>
                <a:cubicBezTo>
                  <a:pt x="147" y="98"/>
                  <a:pt x="152" y="95"/>
                  <a:pt x="156" y="91"/>
                </a:cubicBezTo>
                <a:cubicBezTo>
                  <a:pt x="154" y="92"/>
                  <a:pt x="153" y="93"/>
                  <a:pt x="152" y="94"/>
                </a:cubicBezTo>
                <a:cubicBezTo>
                  <a:pt x="153" y="93"/>
                  <a:pt x="154" y="92"/>
                  <a:pt x="154" y="91"/>
                </a:cubicBezTo>
                <a:cubicBezTo>
                  <a:pt x="149" y="95"/>
                  <a:pt x="141" y="101"/>
                  <a:pt x="134" y="107"/>
                </a:cubicBezTo>
                <a:cubicBezTo>
                  <a:pt x="135" y="107"/>
                  <a:pt x="140" y="103"/>
                  <a:pt x="142" y="101"/>
                </a:cubicBezTo>
                <a:close/>
                <a:moveTo>
                  <a:pt x="84" y="158"/>
                </a:moveTo>
                <a:cubicBezTo>
                  <a:pt x="84" y="159"/>
                  <a:pt x="84" y="160"/>
                  <a:pt x="83" y="160"/>
                </a:cubicBezTo>
                <a:cubicBezTo>
                  <a:pt x="83" y="161"/>
                  <a:pt x="83" y="162"/>
                  <a:pt x="84" y="161"/>
                </a:cubicBezTo>
                <a:cubicBezTo>
                  <a:pt x="84" y="161"/>
                  <a:pt x="84" y="161"/>
                  <a:pt x="84" y="161"/>
                </a:cubicBezTo>
                <a:cubicBezTo>
                  <a:pt x="84" y="160"/>
                  <a:pt x="84" y="160"/>
                  <a:pt x="84" y="160"/>
                </a:cubicBezTo>
                <a:cubicBezTo>
                  <a:pt x="85" y="160"/>
                  <a:pt x="84" y="161"/>
                  <a:pt x="85" y="161"/>
                </a:cubicBezTo>
                <a:cubicBezTo>
                  <a:pt x="85" y="160"/>
                  <a:pt x="86" y="160"/>
                  <a:pt x="85" y="160"/>
                </a:cubicBezTo>
                <a:cubicBezTo>
                  <a:pt x="85" y="160"/>
                  <a:pt x="85" y="160"/>
                  <a:pt x="85" y="160"/>
                </a:cubicBezTo>
                <a:cubicBezTo>
                  <a:pt x="85" y="160"/>
                  <a:pt x="85" y="159"/>
                  <a:pt x="85" y="159"/>
                </a:cubicBezTo>
                <a:cubicBezTo>
                  <a:pt x="85" y="159"/>
                  <a:pt x="86" y="159"/>
                  <a:pt x="87" y="158"/>
                </a:cubicBezTo>
                <a:cubicBezTo>
                  <a:pt x="85" y="159"/>
                  <a:pt x="86" y="157"/>
                  <a:pt x="84" y="158"/>
                </a:cubicBezTo>
                <a:close/>
                <a:moveTo>
                  <a:pt x="103" y="180"/>
                </a:moveTo>
                <a:cubicBezTo>
                  <a:pt x="102" y="180"/>
                  <a:pt x="102" y="181"/>
                  <a:pt x="102" y="181"/>
                </a:cubicBezTo>
                <a:cubicBezTo>
                  <a:pt x="102" y="181"/>
                  <a:pt x="103" y="181"/>
                  <a:pt x="103" y="181"/>
                </a:cubicBezTo>
                <a:cubicBezTo>
                  <a:pt x="103" y="181"/>
                  <a:pt x="102" y="181"/>
                  <a:pt x="103" y="182"/>
                </a:cubicBezTo>
                <a:cubicBezTo>
                  <a:pt x="103" y="182"/>
                  <a:pt x="103" y="181"/>
                  <a:pt x="104" y="181"/>
                </a:cubicBezTo>
                <a:cubicBezTo>
                  <a:pt x="103" y="182"/>
                  <a:pt x="103" y="182"/>
                  <a:pt x="103" y="183"/>
                </a:cubicBezTo>
                <a:cubicBezTo>
                  <a:pt x="103" y="182"/>
                  <a:pt x="104" y="182"/>
                  <a:pt x="104" y="181"/>
                </a:cubicBezTo>
                <a:cubicBezTo>
                  <a:pt x="103" y="182"/>
                  <a:pt x="104" y="180"/>
                  <a:pt x="103" y="180"/>
                </a:cubicBezTo>
                <a:close/>
                <a:moveTo>
                  <a:pt x="77" y="160"/>
                </a:moveTo>
                <a:cubicBezTo>
                  <a:pt x="79" y="161"/>
                  <a:pt x="79" y="158"/>
                  <a:pt x="80" y="158"/>
                </a:cubicBezTo>
                <a:cubicBezTo>
                  <a:pt x="80" y="157"/>
                  <a:pt x="80" y="157"/>
                  <a:pt x="80" y="157"/>
                </a:cubicBezTo>
                <a:cubicBezTo>
                  <a:pt x="79" y="157"/>
                  <a:pt x="78" y="159"/>
                  <a:pt x="77" y="160"/>
                </a:cubicBezTo>
                <a:close/>
                <a:moveTo>
                  <a:pt x="81" y="163"/>
                </a:moveTo>
                <a:cubicBezTo>
                  <a:pt x="81" y="163"/>
                  <a:pt x="81" y="164"/>
                  <a:pt x="81" y="164"/>
                </a:cubicBezTo>
                <a:cubicBezTo>
                  <a:pt x="81" y="164"/>
                  <a:pt x="80" y="165"/>
                  <a:pt x="80" y="165"/>
                </a:cubicBezTo>
                <a:cubicBezTo>
                  <a:pt x="82" y="164"/>
                  <a:pt x="83" y="163"/>
                  <a:pt x="83" y="162"/>
                </a:cubicBezTo>
                <a:cubicBezTo>
                  <a:pt x="83" y="161"/>
                  <a:pt x="83" y="161"/>
                  <a:pt x="82" y="161"/>
                </a:cubicBezTo>
                <a:cubicBezTo>
                  <a:pt x="81" y="161"/>
                  <a:pt x="82" y="163"/>
                  <a:pt x="81" y="163"/>
                </a:cubicBezTo>
                <a:close/>
                <a:moveTo>
                  <a:pt x="95" y="192"/>
                </a:moveTo>
                <a:cubicBezTo>
                  <a:pt x="95" y="192"/>
                  <a:pt x="95" y="192"/>
                  <a:pt x="94" y="192"/>
                </a:cubicBezTo>
                <a:cubicBezTo>
                  <a:pt x="94" y="192"/>
                  <a:pt x="94" y="193"/>
                  <a:pt x="94" y="193"/>
                </a:cubicBezTo>
                <a:cubicBezTo>
                  <a:pt x="93" y="193"/>
                  <a:pt x="93" y="194"/>
                  <a:pt x="94" y="194"/>
                </a:cubicBezTo>
                <a:cubicBezTo>
                  <a:pt x="93" y="194"/>
                  <a:pt x="91" y="196"/>
                  <a:pt x="91" y="197"/>
                </a:cubicBezTo>
                <a:cubicBezTo>
                  <a:pt x="91" y="197"/>
                  <a:pt x="91" y="197"/>
                  <a:pt x="91" y="197"/>
                </a:cubicBezTo>
                <a:cubicBezTo>
                  <a:pt x="91" y="198"/>
                  <a:pt x="90" y="198"/>
                  <a:pt x="90" y="199"/>
                </a:cubicBezTo>
                <a:cubicBezTo>
                  <a:pt x="91" y="197"/>
                  <a:pt x="92" y="197"/>
                  <a:pt x="93" y="197"/>
                </a:cubicBezTo>
                <a:cubicBezTo>
                  <a:pt x="93" y="197"/>
                  <a:pt x="93" y="197"/>
                  <a:pt x="93" y="196"/>
                </a:cubicBezTo>
                <a:cubicBezTo>
                  <a:pt x="93" y="196"/>
                  <a:pt x="94" y="195"/>
                  <a:pt x="94" y="195"/>
                </a:cubicBezTo>
                <a:cubicBezTo>
                  <a:pt x="94" y="195"/>
                  <a:pt x="94" y="195"/>
                  <a:pt x="94" y="196"/>
                </a:cubicBezTo>
                <a:cubicBezTo>
                  <a:pt x="95" y="194"/>
                  <a:pt x="95" y="192"/>
                  <a:pt x="96" y="193"/>
                </a:cubicBezTo>
                <a:cubicBezTo>
                  <a:pt x="96" y="193"/>
                  <a:pt x="96" y="193"/>
                  <a:pt x="96" y="193"/>
                </a:cubicBezTo>
                <a:cubicBezTo>
                  <a:pt x="97" y="193"/>
                  <a:pt x="97" y="193"/>
                  <a:pt x="97" y="192"/>
                </a:cubicBezTo>
                <a:cubicBezTo>
                  <a:pt x="96" y="193"/>
                  <a:pt x="97" y="192"/>
                  <a:pt x="96" y="192"/>
                </a:cubicBezTo>
                <a:cubicBezTo>
                  <a:pt x="96" y="193"/>
                  <a:pt x="96" y="192"/>
                  <a:pt x="95" y="192"/>
                </a:cubicBezTo>
                <a:close/>
                <a:moveTo>
                  <a:pt x="65" y="175"/>
                </a:moveTo>
                <a:cubicBezTo>
                  <a:pt x="64" y="175"/>
                  <a:pt x="64" y="175"/>
                  <a:pt x="63" y="175"/>
                </a:cubicBezTo>
                <a:cubicBezTo>
                  <a:pt x="63" y="175"/>
                  <a:pt x="63" y="175"/>
                  <a:pt x="63" y="176"/>
                </a:cubicBezTo>
                <a:cubicBezTo>
                  <a:pt x="64" y="176"/>
                  <a:pt x="64" y="176"/>
                  <a:pt x="64" y="177"/>
                </a:cubicBezTo>
                <a:cubicBezTo>
                  <a:pt x="65" y="175"/>
                  <a:pt x="66" y="175"/>
                  <a:pt x="67" y="173"/>
                </a:cubicBezTo>
                <a:cubicBezTo>
                  <a:pt x="65" y="173"/>
                  <a:pt x="66" y="174"/>
                  <a:pt x="65" y="175"/>
                </a:cubicBezTo>
                <a:close/>
                <a:moveTo>
                  <a:pt x="45" y="240"/>
                </a:moveTo>
                <a:cubicBezTo>
                  <a:pt x="46" y="241"/>
                  <a:pt x="46" y="241"/>
                  <a:pt x="46" y="241"/>
                </a:cubicBezTo>
                <a:cubicBezTo>
                  <a:pt x="45" y="241"/>
                  <a:pt x="45" y="242"/>
                  <a:pt x="44" y="243"/>
                </a:cubicBezTo>
                <a:cubicBezTo>
                  <a:pt x="44" y="243"/>
                  <a:pt x="43" y="243"/>
                  <a:pt x="43" y="243"/>
                </a:cubicBezTo>
                <a:cubicBezTo>
                  <a:pt x="43" y="244"/>
                  <a:pt x="43" y="244"/>
                  <a:pt x="42" y="245"/>
                </a:cubicBezTo>
                <a:cubicBezTo>
                  <a:pt x="43" y="245"/>
                  <a:pt x="43" y="245"/>
                  <a:pt x="44" y="244"/>
                </a:cubicBezTo>
                <a:cubicBezTo>
                  <a:pt x="44" y="244"/>
                  <a:pt x="44" y="244"/>
                  <a:pt x="44" y="244"/>
                </a:cubicBezTo>
                <a:cubicBezTo>
                  <a:pt x="44" y="244"/>
                  <a:pt x="45" y="243"/>
                  <a:pt x="45" y="244"/>
                </a:cubicBezTo>
                <a:cubicBezTo>
                  <a:pt x="45" y="241"/>
                  <a:pt x="47" y="241"/>
                  <a:pt x="48" y="239"/>
                </a:cubicBezTo>
                <a:cubicBezTo>
                  <a:pt x="47" y="238"/>
                  <a:pt x="48" y="238"/>
                  <a:pt x="48" y="237"/>
                </a:cubicBezTo>
                <a:cubicBezTo>
                  <a:pt x="47" y="238"/>
                  <a:pt x="47" y="240"/>
                  <a:pt x="45" y="240"/>
                </a:cubicBezTo>
                <a:close/>
                <a:moveTo>
                  <a:pt x="820" y="180"/>
                </a:moveTo>
                <a:cubicBezTo>
                  <a:pt x="820" y="181"/>
                  <a:pt x="820" y="181"/>
                  <a:pt x="820" y="181"/>
                </a:cubicBezTo>
                <a:cubicBezTo>
                  <a:pt x="821" y="181"/>
                  <a:pt x="820" y="180"/>
                  <a:pt x="820" y="180"/>
                </a:cubicBezTo>
                <a:close/>
                <a:moveTo>
                  <a:pt x="866" y="171"/>
                </a:moveTo>
                <a:cubicBezTo>
                  <a:pt x="865" y="171"/>
                  <a:pt x="865" y="172"/>
                  <a:pt x="865" y="172"/>
                </a:cubicBezTo>
                <a:cubicBezTo>
                  <a:pt x="865" y="172"/>
                  <a:pt x="866" y="172"/>
                  <a:pt x="866" y="171"/>
                </a:cubicBezTo>
                <a:close/>
                <a:moveTo>
                  <a:pt x="867" y="170"/>
                </a:moveTo>
                <a:cubicBezTo>
                  <a:pt x="867" y="170"/>
                  <a:pt x="866" y="171"/>
                  <a:pt x="866" y="171"/>
                </a:cubicBezTo>
                <a:cubicBezTo>
                  <a:pt x="867" y="171"/>
                  <a:pt x="867" y="170"/>
                  <a:pt x="867" y="170"/>
                </a:cubicBezTo>
                <a:close/>
                <a:moveTo>
                  <a:pt x="861" y="164"/>
                </a:moveTo>
                <a:cubicBezTo>
                  <a:pt x="861" y="164"/>
                  <a:pt x="861" y="165"/>
                  <a:pt x="861" y="165"/>
                </a:cubicBezTo>
                <a:cubicBezTo>
                  <a:pt x="861" y="164"/>
                  <a:pt x="861" y="164"/>
                  <a:pt x="861" y="164"/>
                </a:cubicBezTo>
                <a:close/>
                <a:moveTo>
                  <a:pt x="868" y="162"/>
                </a:moveTo>
                <a:cubicBezTo>
                  <a:pt x="868" y="163"/>
                  <a:pt x="868" y="163"/>
                  <a:pt x="868" y="164"/>
                </a:cubicBezTo>
                <a:cubicBezTo>
                  <a:pt x="868" y="163"/>
                  <a:pt x="868" y="162"/>
                  <a:pt x="868" y="162"/>
                </a:cubicBezTo>
                <a:close/>
                <a:moveTo>
                  <a:pt x="837" y="147"/>
                </a:moveTo>
                <a:cubicBezTo>
                  <a:pt x="837" y="148"/>
                  <a:pt x="837" y="150"/>
                  <a:pt x="836" y="151"/>
                </a:cubicBezTo>
                <a:cubicBezTo>
                  <a:pt x="837" y="150"/>
                  <a:pt x="837" y="148"/>
                  <a:pt x="837" y="147"/>
                </a:cubicBezTo>
                <a:close/>
                <a:moveTo>
                  <a:pt x="852" y="150"/>
                </a:moveTo>
                <a:cubicBezTo>
                  <a:pt x="852" y="149"/>
                  <a:pt x="852" y="149"/>
                  <a:pt x="852" y="149"/>
                </a:cubicBezTo>
                <a:cubicBezTo>
                  <a:pt x="852" y="148"/>
                  <a:pt x="853" y="145"/>
                  <a:pt x="852" y="146"/>
                </a:cubicBezTo>
                <a:cubicBezTo>
                  <a:pt x="852" y="147"/>
                  <a:pt x="851" y="150"/>
                  <a:pt x="851" y="151"/>
                </a:cubicBezTo>
                <a:cubicBezTo>
                  <a:pt x="852" y="151"/>
                  <a:pt x="852" y="150"/>
                  <a:pt x="852" y="150"/>
                </a:cubicBezTo>
                <a:close/>
                <a:moveTo>
                  <a:pt x="857" y="134"/>
                </a:moveTo>
                <a:cubicBezTo>
                  <a:pt x="857" y="134"/>
                  <a:pt x="857" y="134"/>
                  <a:pt x="857" y="134"/>
                </a:cubicBezTo>
                <a:cubicBezTo>
                  <a:pt x="857" y="135"/>
                  <a:pt x="857" y="135"/>
                  <a:pt x="857" y="135"/>
                </a:cubicBezTo>
                <a:lnTo>
                  <a:pt x="857" y="134"/>
                </a:lnTo>
                <a:close/>
                <a:moveTo>
                  <a:pt x="855" y="121"/>
                </a:moveTo>
                <a:cubicBezTo>
                  <a:pt x="855" y="119"/>
                  <a:pt x="855" y="121"/>
                  <a:pt x="855" y="122"/>
                </a:cubicBezTo>
                <a:cubicBezTo>
                  <a:pt x="854" y="122"/>
                  <a:pt x="855" y="122"/>
                  <a:pt x="855" y="122"/>
                </a:cubicBezTo>
                <a:cubicBezTo>
                  <a:pt x="854" y="123"/>
                  <a:pt x="853" y="126"/>
                  <a:pt x="854" y="127"/>
                </a:cubicBezTo>
                <a:cubicBezTo>
                  <a:pt x="854" y="125"/>
                  <a:pt x="855" y="123"/>
                  <a:pt x="855" y="121"/>
                </a:cubicBezTo>
                <a:close/>
                <a:moveTo>
                  <a:pt x="861" y="127"/>
                </a:moveTo>
                <a:cubicBezTo>
                  <a:pt x="861" y="127"/>
                  <a:pt x="861" y="128"/>
                  <a:pt x="861" y="128"/>
                </a:cubicBezTo>
                <a:cubicBezTo>
                  <a:pt x="862" y="128"/>
                  <a:pt x="862" y="127"/>
                  <a:pt x="861" y="127"/>
                </a:cubicBezTo>
                <a:close/>
                <a:moveTo>
                  <a:pt x="843" y="120"/>
                </a:moveTo>
                <a:cubicBezTo>
                  <a:pt x="843" y="121"/>
                  <a:pt x="842" y="121"/>
                  <a:pt x="842" y="122"/>
                </a:cubicBezTo>
                <a:cubicBezTo>
                  <a:pt x="843" y="121"/>
                  <a:pt x="843" y="120"/>
                  <a:pt x="843" y="120"/>
                </a:cubicBezTo>
                <a:close/>
                <a:moveTo>
                  <a:pt x="859" y="124"/>
                </a:moveTo>
                <a:cubicBezTo>
                  <a:pt x="859" y="125"/>
                  <a:pt x="859" y="126"/>
                  <a:pt x="859" y="126"/>
                </a:cubicBezTo>
                <a:cubicBezTo>
                  <a:pt x="859" y="125"/>
                  <a:pt x="860" y="124"/>
                  <a:pt x="859" y="124"/>
                </a:cubicBezTo>
                <a:close/>
                <a:moveTo>
                  <a:pt x="862" y="124"/>
                </a:moveTo>
                <a:cubicBezTo>
                  <a:pt x="862" y="124"/>
                  <a:pt x="861" y="125"/>
                  <a:pt x="862" y="126"/>
                </a:cubicBezTo>
                <a:cubicBezTo>
                  <a:pt x="862" y="125"/>
                  <a:pt x="862" y="124"/>
                  <a:pt x="862" y="124"/>
                </a:cubicBezTo>
                <a:close/>
                <a:moveTo>
                  <a:pt x="839" y="118"/>
                </a:moveTo>
                <a:cubicBezTo>
                  <a:pt x="839" y="118"/>
                  <a:pt x="839" y="119"/>
                  <a:pt x="839" y="119"/>
                </a:cubicBezTo>
                <a:cubicBezTo>
                  <a:pt x="839" y="119"/>
                  <a:pt x="839" y="118"/>
                  <a:pt x="839" y="118"/>
                </a:cubicBezTo>
                <a:close/>
                <a:moveTo>
                  <a:pt x="844" y="116"/>
                </a:moveTo>
                <a:cubicBezTo>
                  <a:pt x="843" y="117"/>
                  <a:pt x="843" y="119"/>
                  <a:pt x="843" y="119"/>
                </a:cubicBezTo>
                <a:cubicBezTo>
                  <a:pt x="843" y="118"/>
                  <a:pt x="844" y="117"/>
                  <a:pt x="844" y="116"/>
                </a:cubicBezTo>
                <a:close/>
                <a:moveTo>
                  <a:pt x="862" y="120"/>
                </a:moveTo>
                <a:cubicBezTo>
                  <a:pt x="862" y="121"/>
                  <a:pt x="861" y="122"/>
                  <a:pt x="862" y="123"/>
                </a:cubicBezTo>
                <a:cubicBezTo>
                  <a:pt x="862" y="122"/>
                  <a:pt x="863" y="121"/>
                  <a:pt x="862" y="120"/>
                </a:cubicBezTo>
                <a:close/>
                <a:moveTo>
                  <a:pt x="855" y="118"/>
                </a:moveTo>
                <a:cubicBezTo>
                  <a:pt x="855" y="118"/>
                  <a:pt x="855" y="119"/>
                  <a:pt x="855" y="119"/>
                </a:cubicBezTo>
                <a:cubicBezTo>
                  <a:pt x="855" y="119"/>
                  <a:pt x="856" y="118"/>
                  <a:pt x="855" y="118"/>
                </a:cubicBezTo>
                <a:close/>
                <a:moveTo>
                  <a:pt x="858" y="117"/>
                </a:moveTo>
                <a:cubicBezTo>
                  <a:pt x="857" y="117"/>
                  <a:pt x="857" y="118"/>
                  <a:pt x="857" y="118"/>
                </a:cubicBezTo>
                <a:cubicBezTo>
                  <a:pt x="857" y="118"/>
                  <a:pt x="858" y="117"/>
                  <a:pt x="858" y="117"/>
                </a:cubicBezTo>
                <a:close/>
                <a:moveTo>
                  <a:pt x="860" y="116"/>
                </a:moveTo>
                <a:cubicBezTo>
                  <a:pt x="860" y="116"/>
                  <a:pt x="860" y="116"/>
                  <a:pt x="860" y="116"/>
                </a:cubicBezTo>
                <a:cubicBezTo>
                  <a:pt x="859" y="115"/>
                  <a:pt x="859" y="117"/>
                  <a:pt x="859" y="117"/>
                </a:cubicBezTo>
                <a:cubicBezTo>
                  <a:pt x="860" y="117"/>
                  <a:pt x="859" y="117"/>
                  <a:pt x="860" y="116"/>
                </a:cubicBezTo>
                <a:close/>
                <a:moveTo>
                  <a:pt x="849" y="110"/>
                </a:moveTo>
                <a:cubicBezTo>
                  <a:pt x="848" y="113"/>
                  <a:pt x="849" y="111"/>
                  <a:pt x="849" y="110"/>
                </a:cubicBezTo>
                <a:close/>
                <a:moveTo>
                  <a:pt x="845" y="105"/>
                </a:moveTo>
                <a:cubicBezTo>
                  <a:pt x="844" y="106"/>
                  <a:pt x="844" y="106"/>
                  <a:pt x="844" y="107"/>
                </a:cubicBezTo>
                <a:cubicBezTo>
                  <a:pt x="844" y="107"/>
                  <a:pt x="845" y="105"/>
                  <a:pt x="845" y="105"/>
                </a:cubicBezTo>
                <a:close/>
                <a:moveTo>
                  <a:pt x="844" y="105"/>
                </a:moveTo>
                <a:cubicBezTo>
                  <a:pt x="843" y="105"/>
                  <a:pt x="843" y="106"/>
                  <a:pt x="843" y="106"/>
                </a:cubicBezTo>
                <a:lnTo>
                  <a:pt x="844" y="105"/>
                </a:lnTo>
                <a:close/>
                <a:moveTo>
                  <a:pt x="836" y="101"/>
                </a:moveTo>
                <a:cubicBezTo>
                  <a:pt x="836" y="102"/>
                  <a:pt x="836" y="102"/>
                  <a:pt x="836" y="102"/>
                </a:cubicBezTo>
                <a:cubicBezTo>
                  <a:pt x="836" y="102"/>
                  <a:pt x="836" y="101"/>
                  <a:pt x="836" y="101"/>
                </a:cubicBezTo>
                <a:close/>
                <a:moveTo>
                  <a:pt x="838" y="98"/>
                </a:moveTo>
                <a:cubicBezTo>
                  <a:pt x="839" y="95"/>
                  <a:pt x="838" y="96"/>
                  <a:pt x="838" y="98"/>
                </a:cubicBezTo>
                <a:close/>
                <a:moveTo>
                  <a:pt x="828" y="135"/>
                </a:moveTo>
                <a:cubicBezTo>
                  <a:pt x="828" y="136"/>
                  <a:pt x="828" y="137"/>
                  <a:pt x="827" y="137"/>
                </a:cubicBezTo>
                <a:cubicBezTo>
                  <a:pt x="828" y="138"/>
                  <a:pt x="828" y="138"/>
                  <a:pt x="828" y="138"/>
                </a:cubicBezTo>
                <a:cubicBezTo>
                  <a:pt x="828" y="137"/>
                  <a:pt x="829" y="136"/>
                  <a:pt x="828" y="135"/>
                </a:cubicBezTo>
                <a:close/>
                <a:moveTo>
                  <a:pt x="846" y="121"/>
                </a:moveTo>
                <a:cubicBezTo>
                  <a:pt x="847" y="121"/>
                  <a:pt x="846" y="122"/>
                  <a:pt x="846" y="123"/>
                </a:cubicBezTo>
                <a:cubicBezTo>
                  <a:pt x="847" y="121"/>
                  <a:pt x="848" y="117"/>
                  <a:pt x="848" y="115"/>
                </a:cubicBezTo>
                <a:cubicBezTo>
                  <a:pt x="848" y="117"/>
                  <a:pt x="846" y="118"/>
                  <a:pt x="847" y="119"/>
                </a:cubicBezTo>
                <a:cubicBezTo>
                  <a:pt x="847" y="119"/>
                  <a:pt x="847" y="119"/>
                  <a:pt x="847" y="118"/>
                </a:cubicBezTo>
                <a:cubicBezTo>
                  <a:pt x="846" y="119"/>
                  <a:pt x="846" y="120"/>
                  <a:pt x="846" y="121"/>
                </a:cubicBezTo>
                <a:cubicBezTo>
                  <a:pt x="846" y="121"/>
                  <a:pt x="846" y="120"/>
                  <a:pt x="846" y="120"/>
                </a:cubicBezTo>
                <a:cubicBezTo>
                  <a:pt x="846" y="121"/>
                  <a:pt x="845" y="121"/>
                  <a:pt x="845" y="121"/>
                </a:cubicBezTo>
                <a:cubicBezTo>
                  <a:pt x="846" y="122"/>
                  <a:pt x="846" y="121"/>
                  <a:pt x="846" y="121"/>
                </a:cubicBezTo>
                <a:close/>
                <a:moveTo>
                  <a:pt x="860" y="122"/>
                </a:moveTo>
                <a:cubicBezTo>
                  <a:pt x="860" y="122"/>
                  <a:pt x="859" y="123"/>
                  <a:pt x="860" y="123"/>
                </a:cubicBezTo>
                <a:cubicBezTo>
                  <a:pt x="860" y="123"/>
                  <a:pt x="860" y="123"/>
                  <a:pt x="860" y="123"/>
                </a:cubicBezTo>
                <a:cubicBezTo>
                  <a:pt x="859" y="124"/>
                  <a:pt x="860" y="122"/>
                  <a:pt x="860" y="122"/>
                </a:cubicBezTo>
                <a:close/>
                <a:moveTo>
                  <a:pt x="861" y="115"/>
                </a:moveTo>
                <a:cubicBezTo>
                  <a:pt x="861" y="115"/>
                  <a:pt x="861" y="115"/>
                  <a:pt x="861" y="115"/>
                </a:cubicBezTo>
                <a:cubicBezTo>
                  <a:pt x="862" y="117"/>
                  <a:pt x="859" y="120"/>
                  <a:pt x="860" y="122"/>
                </a:cubicBezTo>
                <a:cubicBezTo>
                  <a:pt x="860" y="118"/>
                  <a:pt x="862" y="115"/>
                  <a:pt x="862" y="112"/>
                </a:cubicBezTo>
                <a:cubicBezTo>
                  <a:pt x="862" y="112"/>
                  <a:pt x="862" y="111"/>
                  <a:pt x="862" y="111"/>
                </a:cubicBezTo>
                <a:cubicBezTo>
                  <a:pt x="862" y="110"/>
                  <a:pt x="864" y="107"/>
                  <a:pt x="863" y="106"/>
                </a:cubicBezTo>
                <a:cubicBezTo>
                  <a:pt x="863" y="107"/>
                  <a:pt x="862" y="108"/>
                  <a:pt x="862" y="110"/>
                </a:cubicBezTo>
                <a:cubicBezTo>
                  <a:pt x="861" y="109"/>
                  <a:pt x="861" y="109"/>
                  <a:pt x="861" y="109"/>
                </a:cubicBezTo>
                <a:cubicBezTo>
                  <a:pt x="862" y="111"/>
                  <a:pt x="861" y="114"/>
                  <a:pt x="861" y="115"/>
                </a:cubicBezTo>
                <a:close/>
                <a:moveTo>
                  <a:pt x="842" y="104"/>
                </a:moveTo>
                <a:cubicBezTo>
                  <a:pt x="842" y="105"/>
                  <a:pt x="842" y="105"/>
                  <a:pt x="842" y="106"/>
                </a:cubicBezTo>
                <a:cubicBezTo>
                  <a:pt x="843" y="105"/>
                  <a:pt x="842" y="104"/>
                  <a:pt x="842" y="104"/>
                </a:cubicBezTo>
                <a:close/>
                <a:moveTo>
                  <a:pt x="707" y="252"/>
                </a:moveTo>
                <a:cubicBezTo>
                  <a:pt x="708" y="252"/>
                  <a:pt x="709" y="252"/>
                  <a:pt x="710" y="253"/>
                </a:cubicBezTo>
                <a:cubicBezTo>
                  <a:pt x="710" y="254"/>
                  <a:pt x="709" y="255"/>
                  <a:pt x="710" y="256"/>
                </a:cubicBezTo>
                <a:cubicBezTo>
                  <a:pt x="712" y="257"/>
                  <a:pt x="715" y="253"/>
                  <a:pt x="715" y="256"/>
                </a:cubicBezTo>
                <a:cubicBezTo>
                  <a:pt x="717" y="258"/>
                  <a:pt x="720" y="259"/>
                  <a:pt x="723" y="259"/>
                </a:cubicBezTo>
                <a:cubicBezTo>
                  <a:pt x="725" y="260"/>
                  <a:pt x="726" y="261"/>
                  <a:pt x="728" y="262"/>
                </a:cubicBezTo>
                <a:cubicBezTo>
                  <a:pt x="730" y="262"/>
                  <a:pt x="733" y="262"/>
                  <a:pt x="734" y="263"/>
                </a:cubicBezTo>
                <a:cubicBezTo>
                  <a:pt x="736" y="263"/>
                  <a:pt x="737" y="264"/>
                  <a:pt x="739" y="265"/>
                </a:cubicBezTo>
                <a:cubicBezTo>
                  <a:pt x="744" y="267"/>
                  <a:pt x="749" y="267"/>
                  <a:pt x="753" y="269"/>
                </a:cubicBezTo>
                <a:cubicBezTo>
                  <a:pt x="756" y="269"/>
                  <a:pt x="760" y="271"/>
                  <a:pt x="762" y="272"/>
                </a:cubicBezTo>
                <a:cubicBezTo>
                  <a:pt x="765" y="272"/>
                  <a:pt x="768" y="274"/>
                  <a:pt x="771" y="275"/>
                </a:cubicBezTo>
                <a:cubicBezTo>
                  <a:pt x="772" y="275"/>
                  <a:pt x="774" y="275"/>
                  <a:pt x="776" y="276"/>
                </a:cubicBezTo>
                <a:cubicBezTo>
                  <a:pt x="776" y="276"/>
                  <a:pt x="777" y="276"/>
                  <a:pt x="777" y="276"/>
                </a:cubicBezTo>
                <a:cubicBezTo>
                  <a:pt x="779" y="277"/>
                  <a:pt x="781" y="277"/>
                  <a:pt x="782" y="277"/>
                </a:cubicBezTo>
                <a:cubicBezTo>
                  <a:pt x="784" y="278"/>
                  <a:pt x="785" y="279"/>
                  <a:pt x="787" y="279"/>
                </a:cubicBezTo>
                <a:cubicBezTo>
                  <a:pt x="789" y="280"/>
                  <a:pt x="792" y="281"/>
                  <a:pt x="795" y="281"/>
                </a:cubicBezTo>
                <a:cubicBezTo>
                  <a:pt x="796" y="282"/>
                  <a:pt x="798" y="282"/>
                  <a:pt x="799" y="282"/>
                </a:cubicBezTo>
                <a:cubicBezTo>
                  <a:pt x="800" y="283"/>
                  <a:pt x="800" y="283"/>
                  <a:pt x="801" y="283"/>
                </a:cubicBezTo>
                <a:cubicBezTo>
                  <a:pt x="802" y="283"/>
                  <a:pt x="802" y="283"/>
                  <a:pt x="802" y="283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4" y="285"/>
                  <a:pt x="805" y="284"/>
                  <a:pt x="806" y="285"/>
                </a:cubicBezTo>
                <a:cubicBezTo>
                  <a:pt x="807" y="285"/>
                  <a:pt x="808" y="286"/>
                  <a:pt x="809" y="287"/>
                </a:cubicBezTo>
                <a:cubicBezTo>
                  <a:pt x="810" y="286"/>
                  <a:pt x="811" y="287"/>
                  <a:pt x="812" y="288"/>
                </a:cubicBezTo>
                <a:cubicBezTo>
                  <a:pt x="813" y="288"/>
                  <a:pt x="813" y="288"/>
                  <a:pt x="813" y="288"/>
                </a:cubicBezTo>
                <a:cubicBezTo>
                  <a:pt x="813" y="288"/>
                  <a:pt x="813" y="287"/>
                  <a:pt x="813" y="287"/>
                </a:cubicBezTo>
                <a:cubicBezTo>
                  <a:pt x="813" y="287"/>
                  <a:pt x="813" y="287"/>
                  <a:pt x="813" y="286"/>
                </a:cubicBezTo>
                <a:cubicBezTo>
                  <a:pt x="813" y="286"/>
                  <a:pt x="813" y="286"/>
                  <a:pt x="813" y="286"/>
                </a:cubicBezTo>
                <a:cubicBezTo>
                  <a:pt x="813" y="285"/>
                  <a:pt x="813" y="285"/>
                  <a:pt x="813" y="284"/>
                </a:cubicBezTo>
                <a:cubicBezTo>
                  <a:pt x="813" y="282"/>
                  <a:pt x="813" y="282"/>
                  <a:pt x="813" y="282"/>
                </a:cubicBezTo>
                <a:cubicBezTo>
                  <a:pt x="813" y="282"/>
                  <a:pt x="812" y="281"/>
                  <a:pt x="812" y="280"/>
                </a:cubicBezTo>
                <a:cubicBezTo>
                  <a:pt x="812" y="280"/>
                  <a:pt x="813" y="280"/>
                  <a:pt x="813" y="279"/>
                </a:cubicBezTo>
                <a:cubicBezTo>
                  <a:pt x="813" y="279"/>
                  <a:pt x="812" y="279"/>
                  <a:pt x="812" y="279"/>
                </a:cubicBezTo>
                <a:cubicBezTo>
                  <a:pt x="812" y="278"/>
                  <a:pt x="812" y="278"/>
                  <a:pt x="812" y="278"/>
                </a:cubicBezTo>
                <a:cubicBezTo>
                  <a:pt x="812" y="277"/>
                  <a:pt x="812" y="277"/>
                  <a:pt x="812" y="277"/>
                </a:cubicBezTo>
                <a:cubicBezTo>
                  <a:pt x="812" y="276"/>
                  <a:pt x="812" y="276"/>
                  <a:pt x="812" y="275"/>
                </a:cubicBezTo>
                <a:cubicBezTo>
                  <a:pt x="813" y="270"/>
                  <a:pt x="813" y="265"/>
                  <a:pt x="813" y="259"/>
                </a:cubicBezTo>
                <a:cubicBezTo>
                  <a:pt x="813" y="254"/>
                  <a:pt x="813" y="250"/>
                  <a:pt x="813" y="245"/>
                </a:cubicBezTo>
                <a:cubicBezTo>
                  <a:pt x="815" y="226"/>
                  <a:pt x="815" y="226"/>
                  <a:pt x="815" y="226"/>
                </a:cubicBezTo>
                <a:cubicBezTo>
                  <a:pt x="815" y="219"/>
                  <a:pt x="816" y="212"/>
                  <a:pt x="817" y="206"/>
                </a:cubicBezTo>
                <a:cubicBezTo>
                  <a:pt x="817" y="206"/>
                  <a:pt x="818" y="205"/>
                  <a:pt x="818" y="205"/>
                </a:cubicBezTo>
                <a:cubicBezTo>
                  <a:pt x="818" y="204"/>
                  <a:pt x="817" y="204"/>
                  <a:pt x="818" y="204"/>
                </a:cubicBezTo>
                <a:cubicBezTo>
                  <a:pt x="818" y="203"/>
                  <a:pt x="818" y="203"/>
                  <a:pt x="818" y="203"/>
                </a:cubicBezTo>
                <a:cubicBezTo>
                  <a:pt x="819" y="197"/>
                  <a:pt x="820" y="192"/>
                  <a:pt x="822" y="186"/>
                </a:cubicBezTo>
                <a:cubicBezTo>
                  <a:pt x="822" y="185"/>
                  <a:pt x="822" y="186"/>
                  <a:pt x="822" y="186"/>
                </a:cubicBezTo>
                <a:cubicBezTo>
                  <a:pt x="823" y="183"/>
                  <a:pt x="824" y="178"/>
                  <a:pt x="825" y="175"/>
                </a:cubicBezTo>
                <a:cubicBezTo>
                  <a:pt x="825" y="173"/>
                  <a:pt x="825" y="171"/>
                  <a:pt x="826" y="170"/>
                </a:cubicBezTo>
                <a:cubicBezTo>
                  <a:pt x="826" y="169"/>
                  <a:pt x="825" y="169"/>
                  <a:pt x="825" y="169"/>
                </a:cubicBezTo>
                <a:cubicBezTo>
                  <a:pt x="826" y="169"/>
                  <a:pt x="826" y="169"/>
                  <a:pt x="826" y="169"/>
                </a:cubicBezTo>
                <a:cubicBezTo>
                  <a:pt x="826" y="167"/>
                  <a:pt x="826" y="167"/>
                  <a:pt x="826" y="167"/>
                </a:cubicBezTo>
                <a:cubicBezTo>
                  <a:pt x="827" y="164"/>
                  <a:pt x="828" y="160"/>
                  <a:pt x="829" y="156"/>
                </a:cubicBezTo>
                <a:cubicBezTo>
                  <a:pt x="829" y="155"/>
                  <a:pt x="829" y="155"/>
                  <a:pt x="829" y="154"/>
                </a:cubicBezTo>
                <a:cubicBezTo>
                  <a:pt x="830" y="154"/>
                  <a:pt x="830" y="154"/>
                  <a:pt x="829" y="153"/>
                </a:cubicBezTo>
                <a:cubicBezTo>
                  <a:pt x="829" y="153"/>
                  <a:pt x="830" y="151"/>
                  <a:pt x="830" y="152"/>
                </a:cubicBezTo>
                <a:cubicBezTo>
                  <a:pt x="830" y="151"/>
                  <a:pt x="830" y="152"/>
                  <a:pt x="830" y="152"/>
                </a:cubicBezTo>
                <a:cubicBezTo>
                  <a:pt x="831" y="151"/>
                  <a:pt x="831" y="149"/>
                  <a:pt x="831" y="147"/>
                </a:cubicBezTo>
                <a:cubicBezTo>
                  <a:pt x="831" y="146"/>
                  <a:pt x="832" y="144"/>
                  <a:pt x="833" y="142"/>
                </a:cubicBezTo>
                <a:cubicBezTo>
                  <a:pt x="833" y="144"/>
                  <a:pt x="833" y="146"/>
                  <a:pt x="835" y="147"/>
                </a:cubicBezTo>
                <a:cubicBezTo>
                  <a:pt x="836" y="145"/>
                  <a:pt x="836" y="141"/>
                  <a:pt x="837" y="140"/>
                </a:cubicBezTo>
                <a:cubicBezTo>
                  <a:pt x="838" y="135"/>
                  <a:pt x="839" y="130"/>
                  <a:pt x="840" y="125"/>
                </a:cubicBezTo>
                <a:cubicBezTo>
                  <a:pt x="840" y="124"/>
                  <a:pt x="840" y="124"/>
                  <a:pt x="840" y="124"/>
                </a:cubicBezTo>
                <a:cubicBezTo>
                  <a:pt x="842" y="119"/>
                  <a:pt x="842" y="114"/>
                  <a:pt x="844" y="108"/>
                </a:cubicBezTo>
                <a:cubicBezTo>
                  <a:pt x="842" y="119"/>
                  <a:pt x="839" y="128"/>
                  <a:pt x="838" y="138"/>
                </a:cubicBezTo>
                <a:cubicBezTo>
                  <a:pt x="837" y="140"/>
                  <a:pt x="836" y="146"/>
                  <a:pt x="835" y="150"/>
                </a:cubicBezTo>
                <a:cubicBezTo>
                  <a:pt x="835" y="152"/>
                  <a:pt x="836" y="153"/>
                  <a:pt x="838" y="152"/>
                </a:cubicBezTo>
                <a:cubicBezTo>
                  <a:pt x="840" y="150"/>
                  <a:pt x="839" y="147"/>
                  <a:pt x="840" y="145"/>
                </a:cubicBezTo>
                <a:cubicBezTo>
                  <a:pt x="841" y="145"/>
                  <a:pt x="841" y="144"/>
                  <a:pt x="842" y="145"/>
                </a:cubicBezTo>
                <a:cubicBezTo>
                  <a:pt x="842" y="150"/>
                  <a:pt x="840" y="156"/>
                  <a:pt x="840" y="160"/>
                </a:cubicBezTo>
                <a:cubicBezTo>
                  <a:pt x="840" y="161"/>
                  <a:pt x="840" y="162"/>
                  <a:pt x="840" y="163"/>
                </a:cubicBezTo>
                <a:cubicBezTo>
                  <a:pt x="840" y="163"/>
                  <a:pt x="840" y="164"/>
                  <a:pt x="841" y="164"/>
                </a:cubicBezTo>
                <a:cubicBezTo>
                  <a:pt x="841" y="164"/>
                  <a:pt x="841" y="164"/>
                  <a:pt x="842" y="164"/>
                </a:cubicBezTo>
                <a:cubicBezTo>
                  <a:pt x="842" y="159"/>
                  <a:pt x="846" y="156"/>
                  <a:pt x="846" y="151"/>
                </a:cubicBezTo>
                <a:cubicBezTo>
                  <a:pt x="847" y="150"/>
                  <a:pt x="848" y="149"/>
                  <a:pt x="849" y="149"/>
                </a:cubicBezTo>
                <a:cubicBezTo>
                  <a:pt x="849" y="147"/>
                  <a:pt x="850" y="145"/>
                  <a:pt x="850" y="143"/>
                </a:cubicBezTo>
                <a:cubicBezTo>
                  <a:pt x="850" y="142"/>
                  <a:pt x="850" y="142"/>
                  <a:pt x="850" y="142"/>
                </a:cubicBezTo>
                <a:cubicBezTo>
                  <a:pt x="851" y="137"/>
                  <a:pt x="851" y="133"/>
                  <a:pt x="853" y="129"/>
                </a:cubicBezTo>
                <a:cubicBezTo>
                  <a:pt x="853" y="133"/>
                  <a:pt x="852" y="136"/>
                  <a:pt x="851" y="140"/>
                </a:cubicBezTo>
                <a:cubicBezTo>
                  <a:pt x="851" y="140"/>
                  <a:pt x="852" y="141"/>
                  <a:pt x="852" y="141"/>
                </a:cubicBezTo>
                <a:cubicBezTo>
                  <a:pt x="851" y="144"/>
                  <a:pt x="850" y="149"/>
                  <a:pt x="849" y="152"/>
                </a:cubicBezTo>
                <a:cubicBezTo>
                  <a:pt x="850" y="153"/>
                  <a:pt x="851" y="153"/>
                  <a:pt x="851" y="152"/>
                </a:cubicBezTo>
                <a:cubicBezTo>
                  <a:pt x="851" y="152"/>
                  <a:pt x="851" y="153"/>
                  <a:pt x="851" y="153"/>
                </a:cubicBezTo>
                <a:cubicBezTo>
                  <a:pt x="851" y="153"/>
                  <a:pt x="851" y="153"/>
                  <a:pt x="852" y="153"/>
                </a:cubicBezTo>
                <a:cubicBezTo>
                  <a:pt x="851" y="155"/>
                  <a:pt x="851" y="155"/>
                  <a:pt x="851" y="157"/>
                </a:cubicBezTo>
                <a:cubicBezTo>
                  <a:pt x="851" y="158"/>
                  <a:pt x="851" y="158"/>
                  <a:pt x="852" y="158"/>
                </a:cubicBezTo>
                <a:cubicBezTo>
                  <a:pt x="852" y="156"/>
                  <a:pt x="853" y="155"/>
                  <a:pt x="853" y="153"/>
                </a:cubicBezTo>
                <a:cubicBezTo>
                  <a:pt x="853" y="152"/>
                  <a:pt x="853" y="151"/>
                  <a:pt x="853" y="151"/>
                </a:cubicBezTo>
                <a:cubicBezTo>
                  <a:pt x="853" y="150"/>
                  <a:pt x="853" y="150"/>
                  <a:pt x="854" y="150"/>
                </a:cubicBezTo>
                <a:cubicBezTo>
                  <a:pt x="854" y="149"/>
                  <a:pt x="853" y="149"/>
                  <a:pt x="853" y="148"/>
                </a:cubicBezTo>
                <a:cubicBezTo>
                  <a:pt x="853" y="148"/>
                  <a:pt x="854" y="148"/>
                  <a:pt x="854" y="147"/>
                </a:cubicBezTo>
                <a:cubicBezTo>
                  <a:pt x="855" y="145"/>
                  <a:pt x="854" y="143"/>
                  <a:pt x="855" y="141"/>
                </a:cubicBezTo>
                <a:cubicBezTo>
                  <a:pt x="855" y="140"/>
                  <a:pt x="856" y="139"/>
                  <a:pt x="857" y="137"/>
                </a:cubicBezTo>
                <a:cubicBezTo>
                  <a:pt x="857" y="138"/>
                  <a:pt x="856" y="139"/>
                  <a:pt x="856" y="140"/>
                </a:cubicBezTo>
                <a:cubicBezTo>
                  <a:pt x="855" y="144"/>
                  <a:pt x="856" y="148"/>
                  <a:pt x="855" y="151"/>
                </a:cubicBezTo>
                <a:cubicBezTo>
                  <a:pt x="856" y="152"/>
                  <a:pt x="856" y="151"/>
                  <a:pt x="857" y="151"/>
                </a:cubicBezTo>
                <a:cubicBezTo>
                  <a:pt x="857" y="150"/>
                  <a:pt x="857" y="149"/>
                  <a:pt x="857" y="148"/>
                </a:cubicBezTo>
                <a:cubicBezTo>
                  <a:pt x="857" y="148"/>
                  <a:pt x="857" y="149"/>
                  <a:pt x="857" y="148"/>
                </a:cubicBezTo>
                <a:cubicBezTo>
                  <a:pt x="857" y="146"/>
                  <a:pt x="857" y="144"/>
                  <a:pt x="858" y="141"/>
                </a:cubicBezTo>
                <a:cubicBezTo>
                  <a:pt x="858" y="141"/>
                  <a:pt x="858" y="140"/>
                  <a:pt x="859" y="141"/>
                </a:cubicBezTo>
                <a:cubicBezTo>
                  <a:pt x="859" y="140"/>
                  <a:pt x="859" y="140"/>
                  <a:pt x="860" y="140"/>
                </a:cubicBezTo>
                <a:cubicBezTo>
                  <a:pt x="860" y="139"/>
                  <a:pt x="859" y="140"/>
                  <a:pt x="859" y="140"/>
                </a:cubicBezTo>
                <a:cubicBezTo>
                  <a:pt x="860" y="139"/>
                  <a:pt x="859" y="138"/>
                  <a:pt x="860" y="138"/>
                </a:cubicBezTo>
                <a:cubicBezTo>
                  <a:pt x="860" y="134"/>
                  <a:pt x="861" y="132"/>
                  <a:pt x="861" y="128"/>
                </a:cubicBezTo>
                <a:cubicBezTo>
                  <a:pt x="861" y="131"/>
                  <a:pt x="861" y="134"/>
                  <a:pt x="860" y="137"/>
                </a:cubicBezTo>
                <a:cubicBezTo>
                  <a:pt x="860" y="138"/>
                  <a:pt x="861" y="137"/>
                  <a:pt x="861" y="138"/>
                </a:cubicBezTo>
                <a:cubicBezTo>
                  <a:pt x="861" y="139"/>
                  <a:pt x="860" y="139"/>
                  <a:pt x="860" y="140"/>
                </a:cubicBezTo>
                <a:cubicBezTo>
                  <a:pt x="860" y="141"/>
                  <a:pt x="860" y="142"/>
                  <a:pt x="860" y="143"/>
                </a:cubicBezTo>
                <a:cubicBezTo>
                  <a:pt x="860" y="144"/>
                  <a:pt x="859" y="145"/>
                  <a:pt x="859" y="146"/>
                </a:cubicBezTo>
                <a:cubicBezTo>
                  <a:pt x="860" y="147"/>
                  <a:pt x="860" y="148"/>
                  <a:pt x="860" y="149"/>
                </a:cubicBezTo>
                <a:cubicBezTo>
                  <a:pt x="860" y="150"/>
                  <a:pt x="860" y="149"/>
                  <a:pt x="860" y="150"/>
                </a:cubicBezTo>
                <a:cubicBezTo>
                  <a:pt x="861" y="151"/>
                  <a:pt x="861" y="150"/>
                  <a:pt x="862" y="150"/>
                </a:cubicBezTo>
                <a:cubicBezTo>
                  <a:pt x="862" y="151"/>
                  <a:pt x="861" y="150"/>
                  <a:pt x="861" y="151"/>
                </a:cubicBezTo>
                <a:cubicBezTo>
                  <a:pt x="861" y="151"/>
                  <a:pt x="861" y="152"/>
                  <a:pt x="862" y="152"/>
                </a:cubicBezTo>
                <a:cubicBezTo>
                  <a:pt x="861" y="154"/>
                  <a:pt x="861" y="155"/>
                  <a:pt x="861" y="157"/>
                </a:cubicBezTo>
                <a:cubicBezTo>
                  <a:pt x="861" y="157"/>
                  <a:pt x="861" y="156"/>
                  <a:pt x="861" y="157"/>
                </a:cubicBezTo>
                <a:cubicBezTo>
                  <a:pt x="861" y="157"/>
                  <a:pt x="861" y="160"/>
                  <a:pt x="861" y="160"/>
                </a:cubicBezTo>
                <a:cubicBezTo>
                  <a:pt x="861" y="162"/>
                  <a:pt x="861" y="163"/>
                  <a:pt x="860" y="165"/>
                </a:cubicBezTo>
                <a:cubicBezTo>
                  <a:pt x="860" y="166"/>
                  <a:pt x="861" y="165"/>
                  <a:pt x="861" y="166"/>
                </a:cubicBezTo>
                <a:cubicBezTo>
                  <a:pt x="861" y="167"/>
                  <a:pt x="861" y="168"/>
                  <a:pt x="860" y="169"/>
                </a:cubicBezTo>
                <a:cubicBezTo>
                  <a:pt x="861" y="170"/>
                  <a:pt x="861" y="172"/>
                  <a:pt x="860" y="173"/>
                </a:cubicBezTo>
                <a:cubicBezTo>
                  <a:pt x="861" y="173"/>
                  <a:pt x="861" y="172"/>
                  <a:pt x="862" y="172"/>
                </a:cubicBezTo>
                <a:cubicBezTo>
                  <a:pt x="862" y="172"/>
                  <a:pt x="861" y="173"/>
                  <a:pt x="861" y="174"/>
                </a:cubicBezTo>
                <a:cubicBezTo>
                  <a:pt x="861" y="178"/>
                  <a:pt x="862" y="181"/>
                  <a:pt x="861" y="186"/>
                </a:cubicBezTo>
                <a:cubicBezTo>
                  <a:pt x="861" y="187"/>
                  <a:pt x="862" y="187"/>
                  <a:pt x="861" y="188"/>
                </a:cubicBezTo>
                <a:cubicBezTo>
                  <a:pt x="861" y="188"/>
                  <a:pt x="862" y="188"/>
                  <a:pt x="862" y="188"/>
                </a:cubicBezTo>
                <a:cubicBezTo>
                  <a:pt x="862" y="190"/>
                  <a:pt x="860" y="196"/>
                  <a:pt x="862" y="198"/>
                </a:cubicBezTo>
                <a:cubicBezTo>
                  <a:pt x="861" y="198"/>
                  <a:pt x="861" y="197"/>
                  <a:pt x="861" y="198"/>
                </a:cubicBezTo>
                <a:cubicBezTo>
                  <a:pt x="861" y="199"/>
                  <a:pt x="860" y="200"/>
                  <a:pt x="861" y="201"/>
                </a:cubicBezTo>
                <a:cubicBezTo>
                  <a:pt x="861" y="204"/>
                  <a:pt x="860" y="206"/>
                  <a:pt x="861" y="208"/>
                </a:cubicBezTo>
                <a:cubicBezTo>
                  <a:pt x="860" y="209"/>
                  <a:pt x="860" y="210"/>
                  <a:pt x="860" y="210"/>
                </a:cubicBezTo>
                <a:cubicBezTo>
                  <a:pt x="860" y="211"/>
                  <a:pt x="860" y="213"/>
                  <a:pt x="860" y="214"/>
                </a:cubicBezTo>
                <a:cubicBezTo>
                  <a:pt x="859" y="231"/>
                  <a:pt x="857" y="248"/>
                  <a:pt x="857" y="264"/>
                </a:cubicBezTo>
                <a:cubicBezTo>
                  <a:pt x="856" y="268"/>
                  <a:pt x="857" y="273"/>
                  <a:pt x="857" y="277"/>
                </a:cubicBezTo>
                <a:cubicBezTo>
                  <a:pt x="857" y="277"/>
                  <a:pt x="857" y="277"/>
                  <a:pt x="857" y="278"/>
                </a:cubicBezTo>
                <a:cubicBezTo>
                  <a:pt x="857" y="279"/>
                  <a:pt x="857" y="279"/>
                  <a:pt x="857" y="279"/>
                </a:cubicBezTo>
                <a:cubicBezTo>
                  <a:pt x="857" y="280"/>
                  <a:pt x="857" y="281"/>
                  <a:pt x="857" y="282"/>
                </a:cubicBezTo>
                <a:cubicBezTo>
                  <a:pt x="857" y="291"/>
                  <a:pt x="857" y="302"/>
                  <a:pt x="859" y="311"/>
                </a:cubicBezTo>
                <a:cubicBezTo>
                  <a:pt x="858" y="317"/>
                  <a:pt x="860" y="324"/>
                  <a:pt x="860" y="331"/>
                </a:cubicBezTo>
                <a:cubicBezTo>
                  <a:pt x="860" y="334"/>
                  <a:pt x="860" y="336"/>
                  <a:pt x="860" y="339"/>
                </a:cubicBezTo>
                <a:cubicBezTo>
                  <a:pt x="861" y="340"/>
                  <a:pt x="861" y="342"/>
                  <a:pt x="861" y="343"/>
                </a:cubicBezTo>
                <a:cubicBezTo>
                  <a:pt x="861" y="345"/>
                  <a:pt x="861" y="347"/>
                  <a:pt x="861" y="349"/>
                </a:cubicBezTo>
                <a:cubicBezTo>
                  <a:pt x="861" y="350"/>
                  <a:pt x="861" y="350"/>
                  <a:pt x="861" y="350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0" y="350"/>
                  <a:pt x="860" y="350"/>
                </a:cubicBezTo>
                <a:cubicBezTo>
                  <a:pt x="859" y="350"/>
                  <a:pt x="858" y="350"/>
                  <a:pt x="857" y="349"/>
                </a:cubicBezTo>
                <a:cubicBezTo>
                  <a:pt x="854" y="349"/>
                  <a:pt x="853" y="349"/>
                  <a:pt x="851" y="348"/>
                </a:cubicBezTo>
                <a:cubicBezTo>
                  <a:pt x="843" y="346"/>
                  <a:pt x="834" y="342"/>
                  <a:pt x="826" y="340"/>
                </a:cubicBezTo>
                <a:cubicBezTo>
                  <a:pt x="824" y="340"/>
                  <a:pt x="821" y="338"/>
                  <a:pt x="819" y="338"/>
                </a:cubicBezTo>
                <a:cubicBezTo>
                  <a:pt x="818" y="338"/>
                  <a:pt x="817" y="338"/>
                  <a:pt x="816" y="337"/>
                </a:cubicBezTo>
                <a:cubicBezTo>
                  <a:pt x="812" y="336"/>
                  <a:pt x="807" y="334"/>
                  <a:pt x="803" y="334"/>
                </a:cubicBezTo>
                <a:cubicBezTo>
                  <a:pt x="801" y="333"/>
                  <a:pt x="799" y="332"/>
                  <a:pt x="797" y="331"/>
                </a:cubicBezTo>
                <a:cubicBezTo>
                  <a:pt x="794" y="331"/>
                  <a:pt x="792" y="330"/>
                  <a:pt x="790" y="330"/>
                </a:cubicBezTo>
                <a:cubicBezTo>
                  <a:pt x="789" y="329"/>
                  <a:pt x="788" y="329"/>
                  <a:pt x="788" y="329"/>
                </a:cubicBezTo>
                <a:cubicBezTo>
                  <a:pt x="787" y="329"/>
                  <a:pt x="787" y="329"/>
                  <a:pt x="786" y="328"/>
                </a:cubicBezTo>
                <a:cubicBezTo>
                  <a:pt x="783" y="328"/>
                  <a:pt x="779" y="327"/>
                  <a:pt x="776" y="325"/>
                </a:cubicBezTo>
                <a:cubicBezTo>
                  <a:pt x="775" y="325"/>
                  <a:pt x="775" y="325"/>
                  <a:pt x="775" y="326"/>
                </a:cubicBezTo>
                <a:cubicBezTo>
                  <a:pt x="773" y="324"/>
                  <a:pt x="770" y="325"/>
                  <a:pt x="768" y="324"/>
                </a:cubicBezTo>
                <a:cubicBezTo>
                  <a:pt x="767" y="324"/>
                  <a:pt x="767" y="324"/>
                  <a:pt x="767" y="324"/>
                </a:cubicBezTo>
                <a:cubicBezTo>
                  <a:pt x="766" y="323"/>
                  <a:pt x="765" y="323"/>
                  <a:pt x="763" y="323"/>
                </a:cubicBezTo>
                <a:cubicBezTo>
                  <a:pt x="759" y="321"/>
                  <a:pt x="755" y="321"/>
                  <a:pt x="751" y="319"/>
                </a:cubicBezTo>
                <a:cubicBezTo>
                  <a:pt x="749" y="320"/>
                  <a:pt x="746" y="319"/>
                  <a:pt x="744" y="318"/>
                </a:cubicBezTo>
                <a:cubicBezTo>
                  <a:pt x="743" y="318"/>
                  <a:pt x="743" y="319"/>
                  <a:pt x="742" y="318"/>
                </a:cubicBezTo>
                <a:cubicBezTo>
                  <a:pt x="741" y="318"/>
                  <a:pt x="741" y="318"/>
                  <a:pt x="741" y="318"/>
                </a:cubicBezTo>
                <a:cubicBezTo>
                  <a:pt x="740" y="318"/>
                  <a:pt x="740" y="318"/>
                  <a:pt x="739" y="318"/>
                </a:cubicBezTo>
                <a:cubicBezTo>
                  <a:pt x="738" y="317"/>
                  <a:pt x="738" y="317"/>
                  <a:pt x="737" y="316"/>
                </a:cubicBezTo>
                <a:cubicBezTo>
                  <a:pt x="736" y="316"/>
                  <a:pt x="736" y="317"/>
                  <a:pt x="735" y="316"/>
                </a:cubicBezTo>
                <a:cubicBezTo>
                  <a:pt x="734" y="316"/>
                  <a:pt x="733" y="315"/>
                  <a:pt x="733" y="315"/>
                </a:cubicBezTo>
                <a:cubicBezTo>
                  <a:pt x="731" y="315"/>
                  <a:pt x="729" y="316"/>
                  <a:pt x="727" y="314"/>
                </a:cubicBezTo>
                <a:cubicBezTo>
                  <a:pt x="725" y="314"/>
                  <a:pt x="724" y="313"/>
                  <a:pt x="722" y="313"/>
                </a:cubicBezTo>
                <a:cubicBezTo>
                  <a:pt x="721" y="313"/>
                  <a:pt x="720" y="313"/>
                  <a:pt x="719" y="313"/>
                </a:cubicBezTo>
                <a:cubicBezTo>
                  <a:pt x="718" y="313"/>
                  <a:pt x="718" y="313"/>
                  <a:pt x="717" y="313"/>
                </a:cubicBezTo>
                <a:cubicBezTo>
                  <a:pt x="715" y="312"/>
                  <a:pt x="713" y="313"/>
                  <a:pt x="711" y="311"/>
                </a:cubicBezTo>
                <a:cubicBezTo>
                  <a:pt x="708" y="312"/>
                  <a:pt x="703" y="309"/>
                  <a:pt x="701" y="311"/>
                </a:cubicBezTo>
                <a:cubicBezTo>
                  <a:pt x="701" y="312"/>
                  <a:pt x="700" y="313"/>
                  <a:pt x="699" y="313"/>
                </a:cubicBezTo>
                <a:cubicBezTo>
                  <a:pt x="698" y="313"/>
                  <a:pt x="698" y="312"/>
                  <a:pt x="697" y="311"/>
                </a:cubicBezTo>
                <a:cubicBezTo>
                  <a:pt x="696" y="311"/>
                  <a:pt x="693" y="310"/>
                  <a:pt x="692" y="310"/>
                </a:cubicBezTo>
                <a:cubicBezTo>
                  <a:pt x="691" y="310"/>
                  <a:pt x="691" y="311"/>
                  <a:pt x="690" y="311"/>
                </a:cubicBezTo>
                <a:cubicBezTo>
                  <a:pt x="689" y="311"/>
                  <a:pt x="688" y="309"/>
                  <a:pt x="687" y="309"/>
                </a:cubicBezTo>
                <a:cubicBezTo>
                  <a:pt x="686" y="309"/>
                  <a:pt x="685" y="310"/>
                  <a:pt x="684" y="310"/>
                </a:cubicBezTo>
                <a:cubicBezTo>
                  <a:pt x="683" y="309"/>
                  <a:pt x="682" y="308"/>
                  <a:pt x="682" y="307"/>
                </a:cubicBezTo>
                <a:cubicBezTo>
                  <a:pt x="682" y="307"/>
                  <a:pt x="682" y="307"/>
                  <a:pt x="681" y="307"/>
                </a:cubicBezTo>
                <a:cubicBezTo>
                  <a:pt x="680" y="305"/>
                  <a:pt x="677" y="304"/>
                  <a:pt x="674" y="304"/>
                </a:cubicBezTo>
                <a:cubicBezTo>
                  <a:pt x="674" y="303"/>
                  <a:pt x="673" y="303"/>
                  <a:pt x="673" y="303"/>
                </a:cubicBezTo>
                <a:cubicBezTo>
                  <a:pt x="670" y="302"/>
                  <a:pt x="668" y="299"/>
                  <a:pt x="666" y="296"/>
                </a:cubicBezTo>
                <a:cubicBezTo>
                  <a:pt x="666" y="296"/>
                  <a:pt x="665" y="296"/>
                  <a:pt x="665" y="295"/>
                </a:cubicBezTo>
                <a:cubicBezTo>
                  <a:pt x="664" y="294"/>
                  <a:pt x="664" y="293"/>
                  <a:pt x="663" y="292"/>
                </a:cubicBezTo>
                <a:cubicBezTo>
                  <a:pt x="663" y="291"/>
                  <a:pt x="662" y="291"/>
                  <a:pt x="662" y="290"/>
                </a:cubicBezTo>
                <a:cubicBezTo>
                  <a:pt x="662" y="288"/>
                  <a:pt x="661" y="287"/>
                  <a:pt x="660" y="286"/>
                </a:cubicBezTo>
                <a:cubicBezTo>
                  <a:pt x="660" y="285"/>
                  <a:pt x="659" y="284"/>
                  <a:pt x="659" y="283"/>
                </a:cubicBezTo>
                <a:cubicBezTo>
                  <a:pt x="658" y="281"/>
                  <a:pt x="659" y="279"/>
                  <a:pt x="658" y="277"/>
                </a:cubicBezTo>
                <a:cubicBezTo>
                  <a:pt x="659" y="274"/>
                  <a:pt x="659" y="271"/>
                  <a:pt x="660" y="267"/>
                </a:cubicBezTo>
                <a:cubicBezTo>
                  <a:pt x="660" y="267"/>
                  <a:pt x="659" y="267"/>
                  <a:pt x="660" y="266"/>
                </a:cubicBezTo>
                <a:cubicBezTo>
                  <a:pt x="661" y="265"/>
                  <a:pt x="661" y="263"/>
                  <a:pt x="662" y="261"/>
                </a:cubicBezTo>
                <a:cubicBezTo>
                  <a:pt x="663" y="261"/>
                  <a:pt x="663" y="260"/>
                  <a:pt x="664" y="260"/>
                </a:cubicBezTo>
                <a:cubicBezTo>
                  <a:pt x="665" y="259"/>
                  <a:pt x="665" y="258"/>
                  <a:pt x="666" y="257"/>
                </a:cubicBezTo>
                <a:cubicBezTo>
                  <a:pt x="670" y="256"/>
                  <a:pt x="673" y="253"/>
                  <a:pt x="677" y="251"/>
                </a:cubicBezTo>
                <a:cubicBezTo>
                  <a:pt x="677" y="251"/>
                  <a:pt x="678" y="251"/>
                  <a:pt x="678" y="251"/>
                </a:cubicBezTo>
                <a:cubicBezTo>
                  <a:pt x="680" y="250"/>
                  <a:pt x="682" y="250"/>
                  <a:pt x="684" y="249"/>
                </a:cubicBezTo>
                <a:cubicBezTo>
                  <a:pt x="685" y="248"/>
                  <a:pt x="687" y="249"/>
                  <a:pt x="689" y="249"/>
                </a:cubicBezTo>
                <a:cubicBezTo>
                  <a:pt x="690" y="249"/>
                  <a:pt x="690" y="248"/>
                  <a:pt x="692" y="249"/>
                </a:cubicBezTo>
                <a:cubicBezTo>
                  <a:pt x="693" y="249"/>
                  <a:pt x="695" y="248"/>
                  <a:pt x="696" y="248"/>
                </a:cubicBezTo>
                <a:cubicBezTo>
                  <a:pt x="698" y="248"/>
                  <a:pt x="700" y="249"/>
                  <a:pt x="701" y="250"/>
                </a:cubicBezTo>
                <a:cubicBezTo>
                  <a:pt x="702" y="250"/>
                  <a:pt x="703" y="249"/>
                  <a:pt x="704" y="250"/>
                </a:cubicBezTo>
                <a:cubicBezTo>
                  <a:pt x="705" y="250"/>
                  <a:pt x="706" y="252"/>
                  <a:pt x="707" y="252"/>
                </a:cubicBezTo>
                <a:close/>
                <a:moveTo>
                  <a:pt x="858" y="156"/>
                </a:moveTo>
                <a:cubicBezTo>
                  <a:pt x="858" y="156"/>
                  <a:pt x="858" y="156"/>
                  <a:pt x="858" y="156"/>
                </a:cubicBezTo>
                <a:cubicBezTo>
                  <a:pt x="858" y="157"/>
                  <a:pt x="859" y="156"/>
                  <a:pt x="858" y="156"/>
                </a:cubicBezTo>
                <a:close/>
                <a:moveTo>
                  <a:pt x="859" y="156"/>
                </a:moveTo>
                <a:cubicBezTo>
                  <a:pt x="860" y="155"/>
                  <a:pt x="859" y="154"/>
                  <a:pt x="860" y="152"/>
                </a:cubicBezTo>
                <a:cubicBezTo>
                  <a:pt x="859" y="152"/>
                  <a:pt x="859" y="152"/>
                  <a:pt x="860" y="151"/>
                </a:cubicBezTo>
                <a:cubicBezTo>
                  <a:pt x="859" y="150"/>
                  <a:pt x="860" y="148"/>
                  <a:pt x="858" y="148"/>
                </a:cubicBezTo>
                <a:cubicBezTo>
                  <a:pt x="858" y="149"/>
                  <a:pt x="858" y="150"/>
                  <a:pt x="857" y="151"/>
                </a:cubicBezTo>
                <a:cubicBezTo>
                  <a:pt x="857" y="151"/>
                  <a:pt x="858" y="151"/>
                  <a:pt x="858" y="151"/>
                </a:cubicBezTo>
                <a:cubicBezTo>
                  <a:pt x="858" y="152"/>
                  <a:pt x="858" y="154"/>
                  <a:pt x="858" y="156"/>
                </a:cubicBezTo>
                <a:cubicBezTo>
                  <a:pt x="858" y="156"/>
                  <a:pt x="858" y="155"/>
                  <a:pt x="859" y="156"/>
                </a:cubicBezTo>
                <a:close/>
              </a:path>
            </a:pathLst>
          </a:custGeom>
          <a:solidFill>
            <a:srgbClr val="AB244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: Rounded Corners 4">
            <a:extLst>
              <a:ext uri="{FF2B5EF4-FFF2-40B4-BE49-F238E27FC236}">
                <a16:creationId xmlns:a16="http://schemas.microsoft.com/office/drawing/2014/main" id="{7B2A2777-9610-47C3-9387-F05ECD962191}"/>
              </a:ext>
            </a:extLst>
          </p:cNvPr>
          <p:cNvSpPr/>
          <p:nvPr/>
        </p:nvSpPr>
        <p:spPr>
          <a:xfrm>
            <a:off x="6419461" y="3249580"/>
            <a:ext cx="1082352" cy="209939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07546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2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180043B0-0601-4631-822D-7FAB56BE36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sym typeface="Dosis Light"/>
              </a:rPr>
              <a:t>La Piattaforma informatica per gli studenti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80B4B95-CB8A-49D9-8CF5-7F6072529E30}"/>
              </a:ext>
            </a:extLst>
          </p:cNvPr>
          <p:cNvGrpSpPr/>
          <p:nvPr/>
        </p:nvGrpSpPr>
        <p:grpSpPr>
          <a:xfrm>
            <a:off x="487363" y="1828800"/>
            <a:ext cx="5893117" cy="2476659"/>
            <a:chOff x="635381" y="574438"/>
            <a:chExt cx="5608637" cy="2597967"/>
          </a:xfrm>
        </p:grpSpPr>
        <p:pic>
          <p:nvPicPr>
            <p:cNvPr id="12" name="Immagine 19">
              <a:extLst>
                <a:ext uri="{FF2B5EF4-FFF2-40B4-BE49-F238E27FC236}">
                  <a16:creationId xmlns:a16="http://schemas.microsoft.com/office/drawing/2014/main" id="{4C27AB36-D574-49E7-831B-3CE5A765B73A}"/>
                </a:ext>
              </a:extLst>
            </p:cNvPr>
            <p:cNvPicPr/>
            <p:nvPr/>
          </p:nvPicPr>
          <p:blipFill rotWithShape="1">
            <a:blip r:embed="rId3"/>
            <a:srcRect l="23699" t="24656" r="1456" b="23373"/>
            <a:stretch/>
          </p:blipFill>
          <p:spPr bwMode="auto">
            <a:xfrm>
              <a:off x="635381" y="574438"/>
              <a:ext cx="5608637" cy="2597967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sp>
          <p:nvSpPr>
            <p:cNvPr id="2" name="Oval 1"/>
            <p:cNvSpPr/>
            <p:nvPr/>
          </p:nvSpPr>
          <p:spPr>
            <a:xfrm>
              <a:off x="697053" y="2670133"/>
              <a:ext cx="766254" cy="274044"/>
            </a:xfrm>
            <a:prstGeom prst="ellipse">
              <a:avLst/>
            </a:prstGeom>
            <a:noFill/>
            <a:ln w="38100">
              <a:solidFill>
                <a:srgbClr val="AE2C4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9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6" name="Freeform 19">
            <a:extLst>
              <a:ext uri="{FF2B5EF4-FFF2-40B4-BE49-F238E27FC236}">
                <a16:creationId xmlns:a16="http://schemas.microsoft.com/office/drawing/2014/main" id="{E2CC2173-4E5E-41AC-BBF3-ECD910D3E862}"/>
              </a:ext>
            </a:extLst>
          </p:cNvPr>
          <p:cNvSpPr>
            <a:spLocks noChangeAspect="1" noEditPoints="1"/>
          </p:cNvSpPr>
          <p:nvPr/>
        </p:nvSpPr>
        <p:spPr bwMode="auto">
          <a:xfrm rot="1640109" flipV="1">
            <a:off x="5029659" y="4220711"/>
            <a:ext cx="1365287" cy="590424"/>
          </a:xfrm>
          <a:custGeom>
            <a:avLst/>
            <a:gdLst>
              <a:gd name="T0" fmla="*/ 715 w 868"/>
              <a:gd name="T1" fmla="*/ 128 h 351"/>
              <a:gd name="T2" fmla="*/ 363 w 868"/>
              <a:gd name="T3" fmla="*/ 50 h 351"/>
              <a:gd name="T4" fmla="*/ 226 w 868"/>
              <a:gd name="T5" fmla="*/ 94 h 351"/>
              <a:gd name="T6" fmla="*/ 155 w 868"/>
              <a:gd name="T7" fmla="*/ 112 h 351"/>
              <a:gd name="T8" fmla="*/ 111 w 868"/>
              <a:gd name="T9" fmla="*/ 138 h 351"/>
              <a:gd name="T10" fmla="*/ 85 w 868"/>
              <a:gd name="T11" fmla="*/ 163 h 351"/>
              <a:gd name="T12" fmla="*/ 104 w 868"/>
              <a:gd name="T13" fmla="*/ 185 h 351"/>
              <a:gd name="T14" fmla="*/ 69 w 868"/>
              <a:gd name="T15" fmla="*/ 174 h 351"/>
              <a:gd name="T16" fmla="*/ 92 w 868"/>
              <a:gd name="T17" fmla="*/ 203 h 351"/>
              <a:gd name="T18" fmla="*/ 66 w 868"/>
              <a:gd name="T19" fmla="*/ 192 h 351"/>
              <a:gd name="T20" fmla="*/ 75 w 868"/>
              <a:gd name="T21" fmla="*/ 207 h 351"/>
              <a:gd name="T22" fmla="*/ 72 w 868"/>
              <a:gd name="T23" fmla="*/ 224 h 351"/>
              <a:gd name="T24" fmla="*/ 64 w 868"/>
              <a:gd name="T25" fmla="*/ 228 h 351"/>
              <a:gd name="T26" fmla="*/ 29 w 868"/>
              <a:gd name="T27" fmla="*/ 217 h 351"/>
              <a:gd name="T28" fmla="*/ 31 w 868"/>
              <a:gd name="T29" fmla="*/ 228 h 351"/>
              <a:gd name="T30" fmla="*/ 53 w 868"/>
              <a:gd name="T31" fmla="*/ 253 h 351"/>
              <a:gd name="T32" fmla="*/ 36 w 868"/>
              <a:gd name="T33" fmla="*/ 257 h 351"/>
              <a:gd name="T34" fmla="*/ 774 w 868"/>
              <a:gd name="T35" fmla="*/ 258 h 351"/>
              <a:gd name="T36" fmla="*/ 640 w 868"/>
              <a:gd name="T37" fmla="*/ 136 h 351"/>
              <a:gd name="T38" fmla="*/ 376 w 868"/>
              <a:gd name="T39" fmla="*/ 47 h 351"/>
              <a:gd name="T40" fmla="*/ 235 w 868"/>
              <a:gd name="T41" fmla="*/ 76 h 351"/>
              <a:gd name="T42" fmla="*/ 221 w 868"/>
              <a:gd name="T43" fmla="*/ 70 h 351"/>
              <a:gd name="T44" fmla="*/ 180 w 868"/>
              <a:gd name="T45" fmla="*/ 89 h 351"/>
              <a:gd name="T46" fmla="*/ 168 w 868"/>
              <a:gd name="T47" fmla="*/ 110 h 351"/>
              <a:gd name="T48" fmla="*/ 140 w 868"/>
              <a:gd name="T49" fmla="*/ 145 h 351"/>
              <a:gd name="T50" fmla="*/ 81 w 868"/>
              <a:gd name="T51" fmla="*/ 192 h 351"/>
              <a:gd name="T52" fmla="*/ 126 w 868"/>
              <a:gd name="T53" fmla="*/ 134 h 351"/>
              <a:gd name="T54" fmla="*/ 253 w 868"/>
              <a:gd name="T55" fmla="*/ 36 h 351"/>
              <a:gd name="T56" fmla="*/ 399 w 868"/>
              <a:gd name="T57" fmla="*/ 2 h 351"/>
              <a:gd name="T58" fmla="*/ 510 w 868"/>
              <a:gd name="T59" fmla="*/ 14 h 351"/>
              <a:gd name="T60" fmla="*/ 732 w 868"/>
              <a:gd name="T61" fmla="*/ 145 h 351"/>
              <a:gd name="T62" fmla="*/ 794 w 868"/>
              <a:gd name="T63" fmla="*/ 260 h 351"/>
              <a:gd name="T64" fmla="*/ 787 w 868"/>
              <a:gd name="T65" fmla="*/ 222 h 351"/>
              <a:gd name="T66" fmla="*/ 721 w 868"/>
              <a:gd name="T67" fmla="*/ 150 h 351"/>
              <a:gd name="T68" fmla="*/ 533 w 868"/>
              <a:gd name="T69" fmla="*/ 22 h 351"/>
              <a:gd name="T70" fmla="*/ 380 w 868"/>
              <a:gd name="T71" fmla="*/ 47 h 351"/>
              <a:gd name="T72" fmla="*/ 307 w 868"/>
              <a:gd name="T73" fmla="*/ 53 h 351"/>
              <a:gd name="T74" fmla="*/ 281 w 868"/>
              <a:gd name="T75" fmla="*/ 47 h 351"/>
              <a:gd name="T76" fmla="*/ 242 w 868"/>
              <a:gd name="T77" fmla="*/ 43 h 351"/>
              <a:gd name="T78" fmla="*/ 222 w 868"/>
              <a:gd name="T79" fmla="*/ 51 h 351"/>
              <a:gd name="T80" fmla="*/ 197 w 868"/>
              <a:gd name="T81" fmla="*/ 73 h 351"/>
              <a:gd name="T82" fmla="*/ 164 w 868"/>
              <a:gd name="T83" fmla="*/ 99 h 351"/>
              <a:gd name="T84" fmla="*/ 142 w 868"/>
              <a:gd name="T85" fmla="*/ 117 h 351"/>
              <a:gd name="T86" fmla="*/ 141 w 868"/>
              <a:gd name="T87" fmla="*/ 138 h 351"/>
              <a:gd name="T88" fmla="*/ 124 w 868"/>
              <a:gd name="T89" fmla="*/ 129 h 351"/>
              <a:gd name="T90" fmla="*/ 113 w 868"/>
              <a:gd name="T91" fmla="*/ 142 h 351"/>
              <a:gd name="T92" fmla="*/ 337 w 868"/>
              <a:gd name="T93" fmla="*/ 9 h 351"/>
              <a:gd name="T94" fmla="*/ 168 w 868"/>
              <a:gd name="T95" fmla="*/ 125 h 351"/>
              <a:gd name="T96" fmla="*/ 197 w 868"/>
              <a:gd name="T97" fmla="*/ 105 h 351"/>
              <a:gd name="T98" fmla="*/ 131 w 868"/>
              <a:gd name="T99" fmla="*/ 159 h 351"/>
              <a:gd name="T100" fmla="*/ 88 w 868"/>
              <a:gd name="T101" fmla="*/ 171 h 351"/>
              <a:gd name="T102" fmla="*/ 85 w 868"/>
              <a:gd name="T103" fmla="*/ 191 h 351"/>
              <a:gd name="T104" fmla="*/ 79 w 868"/>
              <a:gd name="T105" fmla="*/ 215 h 351"/>
              <a:gd name="T106" fmla="*/ 48 w 868"/>
              <a:gd name="T107" fmla="*/ 193 h 351"/>
              <a:gd name="T108" fmla="*/ 64 w 868"/>
              <a:gd name="T109" fmla="*/ 238 h 351"/>
              <a:gd name="T110" fmla="*/ 17 w 868"/>
              <a:gd name="T111" fmla="*/ 235 h 351"/>
              <a:gd name="T112" fmla="*/ 87 w 868"/>
              <a:gd name="T113" fmla="*/ 158 h 351"/>
              <a:gd name="T114" fmla="*/ 865 w 868"/>
              <a:gd name="T115" fmla="*/ 172 h 351"/>
              <a:gd name="T116" fmla="*/ 859 w 868"/>
              <a:gd name="T117" fmla="*/ 117 h 351"/>
              <a:gd name="T118" fmla="*/ 782 w 868"/>
              <a:gd name="T119" fmla="*/ 277 h 351"/>
              <a:gd name="T120" fmla="*/ 841 w 868"/>
              <a:gd name="T121" fmla="*/ 164 h 351"/>
              <a:gd name="T122" fmla="*/ 861 w 868"/>
              <a:gd name="T123" fmla="*/ 201 h 351"/>
              <a:gd name="T124" fmla="*/ 666 w 868"/>
              <a:gd name="T125" fmla="*/ 296 h 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68" h="351">
                <a:moveTo>
                  <a:pt x="813" y="278"/>
                </a:moveTo>
                <a:cubicBezTo>
                  <a:pt x="812" y="276"/>
                  <a:pt x="811" y="275"/>
                  <a:pt x="812" y="275"/>
                </a:cubicBezTo>
                <a:cubicBezTo>
                  <a:pt x="813" y="277"/>
                  <a:pt x="813" y="278"/>
                  <a:pt x="813" y="278"/>
                </a:cubicBezTo>
                <a:close/>
                <a:moveTo>
                  <a:pt x="812" y="266"/>
                </a:moveTo>
                <a:cubicBezTo>
                  <a:pt x="813" y="269"/>
                  <a:pt x="814" y="269"/>
                  <a:pt x="814" y="271"/>
                </a:cubicBezTo>
                <a:cubicBezTo>
                  <a:pt x="813" y="267"/>
                  <a:pt x="813" y="271"/>
                  <a:pt x="813" y="270"/>
                </a:cubicBezTo>
                <a:cubicBezTo>
                  <a:pt x="815" y="276"/>
                  <a:pt x="814" y="270"/>
                  <a:pt x="815" y="272"/>
                </a:cubicBezTo>
                <a:cubicBezTo>
                  <a:pt x="814" y="268"/>
                  <a:pt x="813" y="267"/>
                  <a:pt x="812" y="266"/>
                </a:cubicBezTo>
                <a:close/>
                <a:moveTo>
                  <a:pt x="781" y="282"/>
                </a:moveTo>
                <a:cubicBezTo>
                  <a:pt x="782" y="285"/>
                  <a:pt x="783" y="285"/>
                  <a:pt x="784" y="284"/>
                </a:cubicBezTo>
                <a:cubicBezTo>
                  <a:pt x="782" y="282"/>
                  <a:pt x="782" y="282"/>
                  <a:pt x="781" y="282"/>
                </a:cubicBezTo>
                <a:close/>
                <a:moveTo>
                  <a:pt x="798" y="267"/>
                </a:moveTo>
                <a:cubicBezTo>
                  <a:pt x="798" y="268"/>
                  <a:pt x="801" y="272"/>
                  <a:pt x="801" y="272"/>
                </a:cubicBezTo>
                <a:cubicBezTo>
                  <a:pt x="801" y="269"/>
                  <a:pt x="799" y="267"/>
                  <a:pt x="798" y="267"/>
                </a:cubicBezTo>
                <a:close/>
                <a:moveTo>
                  <a:pt x="791" y="270"/>
                </a:moveTo>
                <a:cubicBezTo>
                  <a:pt x="791" y="272"/>
                  <a:pt x="793" y="275"/>
                  <a:pt x="793" y="276"/>
                </a:cubicBezTo>
                <a:cubicBezTo>
                  <a:pt x="793" y="274"/>
                  <a:pt x="791" y="271"/>
                  <a:pt x="791" y="270"/>
                </a:cubicBezTo>
                <a:close/>
                <a:moveTo>
                  <a:pt x="789" y="269"/>
                </a:moveTo>
                <a:cubicBezTo>
                  <a:pt x="788" y="269"/>
                  <a:pt x="791" y="272"/>
                  <a:pt x="790" y="273"/>
                </a:cubicBezTo>
                <a:cubicBezTo>
                  <a:pt x="789" y="270"/>
                  <a:pt x="788" y="270"/>
                  <a:pt x="787" y="270"/>
                </a:cubicBezTo>
                <a:cubicBezTo>
                  <a:pt x="789" y="273"/>
                  <a:pt x="790" y="274"/>
                  <a:pt x="791" y="276"/>
                </a:cubicBezTo>
                <a:cubicBezTo>
                  <a:pt x="792" y="276"/>
                  <a:pt x="792" y="274"/>
                  <a:pt x="793" y="276"/>
                </a:cubicBezTo>
                <a:cubicBezTo>
                  <a:pt x="792" y="273"/>
                  <a:pt x="791" y="272"/>
                  <a:pt x="789" y="269"/>
                </a:cubicBezTo>
                <a:close/>
                <a:moveTo>
                  <a:pt x="801" y="266"/>
                </a:moveTo>
                <a:cubicBezTo>
                  <a:pt x="800" y="266"/>
                  <a:pt x="800" y="268"/>
                  <a:pt x="801" y="271"/>
                </a:cubicBezTo>
                <a:cubicBezTo>
                  <a:pt x="802" y="271"/>
                  <a:pt x="801" y="267"/>
                  <a:pt x="801" y="266"/>
                </a:cubicBezTo>
                <a:close/>
                <a:moveTo>
                  <a:pt x="799" y="270"/>
                </a:moveTo>
                <a:cubicBezTo>
                  <a:pt x="799" y="270"/>
                  <a:pt x="798" y="270"/>
                  <a:pt x="798" y="269"/>
                </a:cubicBezTo>
                <a:cubicBezTo>
                  <a:pt x="797" y="269"/>
                  <a:pt x="797" y="270"/>
                  <a:pt x="798" y="272"/>
                </a:cubicBezTo>
                <a:cubicBezTo>
                  <a:pt x="798" y="271"/>
                  <a:pt x="800" y="273"/>
                  <a:pt x="799" y="270"/>
                </a:cubicBezTo>
                <a:close/>
                <a:moveTo>
                  <a:pt x="770" y="269"/>
                </a:moveTo>
                <a:cubicBezTo>
                  <a:pt x="771" y="271"/>
                  <a:pt x="772" y="272"/>
                  <a:pt x="773" y="272"/>
                </a:cubicBezTo>
                <a:cubicBezTo>
                  <a:pt x="772" y="270"/>
                  <a:pt x="771" y="269"/>
                  <a:pt x="770" y="269"/>
                </a:cubicBezTo>
                <a:close/>
                <a:moveTo>
                  <a:pt x="807" y="248"/>
                </a:moveTo>
                <a:cubicBezTo>
                  <a:pt x="808" y="250"/>
                  <a:pt x="810" y="253"/>
                  <a:pt x="810" y="252"/>
                </a:cubicBezTo>
                <a:cubicBezTo>
                  <a:pt x="809" y="249"/>
                  <a:pt x="808" y="247"/>
                  <a:pt x="807" y="248"/>
                </a:cubicBezTo>
                <a:close/>
                <a:moveTo>
                  <a:pt x="802" y="246"/>
                </a:moveTo>
                <a:cubicBezTo>
                  <a:pt x="803" y="247"/>
                  <a:pt x="803" y="248"/>
                  <a:pt x="804" y="251"/>
                </a:cubicBezTo>
                <a:cubicBezTo>
                  <a:pt x="805" y="251"/>
                  <a:pt x="803" y="245"/>
                  <a:pt x="802" y="246"/>
                </a:cubicBezTo>
                <a:close/>
                <a:moveTo>
                  <a:pt x="805" y="245"/>
                </a:moveTo>
                <a:cubicBezTo>
                  <a:pt x="803" y="240"/>
                  <a:pt x="804" y="239"/>
                  <a:pt x="802" y="235"/>
                </a:cubicBezTo>
                <a:cubicBezTo>
                  <a:pt x="800" y="234"/>
                  <a:pt x="796" y="236"/>
                  <a:pt x="801" y="245"/>
                </a:cubicBezTo>
                <a:cubicBezTo>
                  <a:pt x="801" y="242"/>
                  <a:pt x="806" y="248"/>
                  <a:pt x="805" y="245"/>
                </a:cubicBezTo>
                <a:close/>
                <a:moveTo>
                  <a:pt x="759" y="246"/>
                </a:moveTo>
                <a:cubicBezTo>
                  <a:pt x="759" y="247"/>
                  <a:pt x="758" y="246"/>
                  <a:pt x="758" y="246"/>
                </a:cubicBezTo>
                <a:cubicBezTo>
                  <a:pt x="759" y="248"/>
                  <a:pt x="760" y="248"/>
                  <a:pt x="759" y="248"/>
                </a:cubicBezTo>
                <a:cubicBezTo>
                  <a:pt x="760" y="250"/>
                  <a:pt x="760" y="250"/>
                  <a:pt x="761" y="250"/>
                </a:cubicBezTo>
                <a:cubicBezTo>
                  <a:pt x="759" y="248"/>
                  <a:pt x="760" y="248"/>
                  <a:pt x="759" y="246"/>
                </a:cubicBezTo>
                <a:close/>
                <a:moveTo>
                  <a:pt x="766" y="178"/>
                </a:moveTo>
                <a:cubicBezTo>
                  <a:pt x="766" y="178"/>
                  <a:pt x="766" y="178"/>
                  <a:pt x="767" y="180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67" y="179"/>
                  <a:pt x="768" y="180"/>
                  <a:pt x="766" y="178"/>
                </a:cubicBezTo>
                <a:close/>
                <a:moveTo>
                  <a:pt x="756" y="167"/>
                </a:moveTo>
                <a:cubicBezTo>
                  <a:pt x="757" y="168"/>
                  <a:pt x="758" y="169"/>
                  <a:pt x="757" y="169"/>
                </a:cubicBezTo>
                <a:cubicBezTo>
                  <a:pt x="762" y="175"/>
                  <a:pt x="758" y="167"/>
                  <a:pt x="756" y="167"/>
                </a:cubicBezTo>
                <a:close/>
                <a:moveTo>
                  <a:pt x="713" y="128"/>
                </a:moveTo>
                <a:cubicBezTo>
                  <a:pt x="713" y="127"/>
                  <a:pt x="714" y="127"/>
                  <a:pt x="715" y="128"/>
                </a:cubicBezTo>
                <a:cubicBezTo>
                  <a:pt x="712" y="125"/>
                  <a:pt x="710" y="125"/>
                  <a:pt x="713" y="128"/>
                </a:cubicBezTo>
                <a:close/>
                <a:moveTo>
                  <a:pt x="640" y="70"/>
                </a:moveTo>
                <a:cubicBezTo>
                  <a:pt x="634" y="64"/>
                  <a:pt x="636" y="68"/>
                  <a:pt x="640" y="70"/>
                </a:cubicBezTo>
                <a:close/>
                <a:moveTo>
                  <a:pt x="545" y="23"/>
                </a:moveTo>
                <a:cubicBezTo>
                  <a:pt x="544" y="24"/>
                  <a:pt x="548" y="25"/>
                  <a:pt x="549" y="24"/>
                </a:cubicBezTo>
                <a:cubicBezTo>
                  <a:pt x="546" y="24"/>
                  <a:pt x="547" y="24"/>
                  <a:pt x="545" y="23"/>
                </a:cubicBezTo>
                <a:close/>
                <a:moveTo>
                  <a:pt x="539" y="20"/>
                </a:moveTo>
                <a:cubicBezTo>
                  <a:pt x="539" y="20"/>
                  <a:pt x="538" y="20"/>
                  <a:pt x="538" y="20"/>
                </a:cubicBezTo>
                <a:cubicBezTo>
                  <a:pt x="540" y="21"/>
                  <a:pt x="543" y="22"/>
                  <a:pt x="543" y="21"/>
                </a:cubicBezTo>
                <a:cubicBezTo>
                  <a:pt x="540" y="20"/>
                  <a:pt x="540" y="21"/>
                  <a:pt x="539" y="20"/>
                </a:cubicBezTo>
                <a:close/>
                <a:moveTo>
                  <a:pt x="530" y="17"/>
                </a:moveTo>
                <a:cubicBezTo>
                  <a:pt x="529" y="18"/>
                  <a:pt x="534" y="19"/>
                  <a:pt x="534" y="18"/>
                </a:cubicBezTo>
                <a:lnTo>
                  <a:pt x="530" y="17"/>
                </a:lnTo>
                <a:close/>
                <a:moveTo>
                  <a:pt x="524" y="16"/>
                </a:moveTo>
                <a:cubicBezTo>
                  <a:pt x="524" y="16"/>
                  <a:pt x="522" y="16"/>
                  <a:pt x="522" y="17"/>
                </a:cubicBezTo>
                <a:cubicBezTo>
                  <a:pt x="524" y="17"/>
                  <a:pt x="527" y="18"/>
                  <a:pt x="529" y="18"/>
                </a:cubicBezTo>
                <a:cubicBezTo>
                  <a:pt x="528" y="17"/>
                  <a:pt x="526" y="17"/>
                  <a:pt x="524" y="16"/>
                </a:cubicBezTo>
                <a:close/>
                <a:moveTo>
                  <a:pt x="498" y="10"/>
                </a:moveTo>
                <a:cubicBezTo>
                  <a:pt x="501" y="10"/>
                  <a:pt x="502" y="10"/>
                  <a:pt x="503" y="10"/>
                </a:cubicBezTo>
                <a:cubicBezTo>
                  <a:pt x="502" y="10"/>
                  <a:pt x="498" y="9"/>
                  <a:pt x="498" y="10"/>
                </a:cubicBezTo>
                <a:close/>
                <a:moveTo>
                  <a:pt x="467" y="7"/>
                </a:moveTo>
                <a:cubicBezTo>
                  <a:pt x="468" y="7"/>
                  <a:pt x="473" y="8"/>
                  <a:pt x="473" y="7"/>
                </a:cubicBezTo>
                <a:cubicBezTo>
                  <a:pt x="470" y="7"/>
                  <a:pt x="467" y="6"/>
                  <a:pt x="467" y="7"/>
                </a:cubicBezTo>
                <a:close/>
                <a:moveTo>
                  <a:pt x="443" y="52"/>
                </a:moveTo>
                <a:cubicBezTo>
                  <a:pt x="443" y="52"/>
                  <a:pt x="443" y="52"/>
                  <a:pt x="443" y="53"/>
                </a:cubicBezTo>
                <a:cubicBezTo>
                  <a:pt x="445" y="53"/>
                  <a:pt x="444" y="54"/>
                  <a:pt x="447" y="54"/>
                </a:cubicBezTo>
                <a:cubicBezTo>
                  <a:pt x="446" y="53"/>
                  <a:pt x="446" y="53"/>
                  <a:pt x="448" y="53"/>
                </a:cubicBezTo>
                <a:cubicBezTo>
                  <a:pt x="447" y="52"/>
                  <a:pt x="446" y="52"/>
                  <a:pt x="443" y="52"/>
                </a:cubicBezTo>
                <a:close/>
                <a:moveTo>
                  <a:pt x="435" y="51"/>
                </a:moveTo>
                <a:cubicBezTo>
                  <a:pt x="435" y="52"/>
                  <a:pt x="430" y="51"/>
                  <a:pt x="431" y="51"/>
                </a:cubicBezTo>
                <a:cubicBezTo>
                  <a:pt x="432" y="51"/>
                  <a:pt x="436" y="52"/>
                  <a:pt x="437" y="52"/>
                </a:cubicBezTo>
                <a:cubicBezTo>
                  <a:pt x="435" y="52"/>
                  <a:pt x="437" y="51"/>
                  <a:pt x="435" y="51"/>
                </a:cubicBezTo>
                <a:close/>
                <a:moveTo>
                  <a:pt x="402" y="50"/>
                </a:moveTo>
                <a:cubicBezTo>
                  <a:pt x="404" y="50"/>
                  <a:pt x="406" y="50"/>
                  <a:pt x="406" y="49"/>
                </a:cubicBezTo>
                <a:cubicBezTo>
                  <a:pt x="404" y="49"/>
                  <a:pt x="402" y="49"/>
                  <a:pt x="402" y="50"/>
                </a:cubicBezTo>
                <a:close/>
                <a:moveTo>
                  <a:pt x="391" y="1"/>
                </a:moveTo>
                <a:cubicBezTo>
                  <a:pt x="391" y="2"/>
                  <a:pt x="395" y="2"/>
                  <a:pt x="397" y="2"/>
                </a:cubicBezTo>
                <a:cubicBezTo>
                  <a:pt x="397" y="2"/>
                  <a:pt x="395" y="2"/>
                  <a:pt x="395" y="3"/>
                </a:cubicBezTo>
                <a:cubicBezTo>
                  <a:pt x="396" y="3"/>
                  <a:pt x="397" y="3"/>
                  <a:pt x="398" y="3"/>
                </a:cubicBezTo>
                <a:cubicBezTo>
                  <a:pt x="397" y="2"/>
                  <a:pt x="401" y="4"/>
                  <a:pt x="402" y="3"/>
                </a:cubicBezTo>
                <a:cubicBezTo>
                  <a:pt x="400" y="2"/>
                  <a:pt x="396" y="3"/>
                  <a:pt x="399" y="2"/>
                </a:cubicBezTo>
                <a:cubicBezTo>
                  <a:pt x="393" y="2"/>
                  <a:pt x="395" y="1"/>
                  <a:pt x="391" y="1"/>
                </a:cubicBezTo>
                <a:close/>
                <a:moveTo>
                  <a:pt x="394" y="3"/>
                </a:moveTo>
                <a:cubicBezTo>
                  <a:pt x="391" y="3"/>
                  <a:pt x="389" y="3"/>
                  <a:pt x="388" y="3"/>
                </a:cubicBezTo>
                <a:cubicBezTo>
                  <a:pt x="391" y="3"/>
                  <a:pt x="394" y="4"/>
                  <a:pt x="395" y="3"/>
                </a:cubicBezTo>
                <a:cubicBezTo>
                  <a:pt x="394" y="3"/>
                  <a:pt x="394" y="3"/>
                  <a:pt x="394" y="3"/>
                </a:cubicBezTo>
                <a:close/>
                <a:moveTo>
                  <a:pt x="384" y="2"/>
                </a:moveTo>
                <a:cubicBezTo>
                  <a:pt x="386" y="2"/>
                  <a:pt x="388" y="2"/>
                  <a:pt x="389" y="2"/>
                </a:cubicBezTo>
                <a:cubicBezTo>
                  <a:pt x="387" y="2"/>
                  <a:pt x="384" y="2"/>
                  <a:pt x="384" y="2"/>
                </a:cubicBezTo>
                <a:close/>
                <a:moveTo>
                  <a:pt x="371" y="5"/>
                </a:moveTo>
                <a:cubicBezTo>
                  <a:pt x="370" y="6"/>
                  <a:pt x="367" y="6"/>
                  <a:pt x="365" y="6"/>
                </a:cubicBezTo>
                <a:cubicBezTo>
                  <a:pt x="367" y="7"/>
                  <a:pt x="377" y="6"/>
                  <a:pt x="377" y="5"/>
                </a:cubicBezTo>
                <a:cubicBezTo>
                  <a:pt x="374" y="5"/>
                  <a:pt x="374" y="5"/>
                  <a:pt x="371" y="5"/>
                </a:cubicBezTo>
                <a:close/>
                <a:moveTo>
                  <a:pt x="364" y="51"/>
                </a:moveTo>
                <a:cubicBezTo>
                  <a:pt x="364" y="52"/>
                  <a:pt x="367" y="51"/>
                  <a:pt x="370" y="51"/>
                </a:cubicBezTo>
                <a:cubicBezTo>
                  <a:pt x="370" y="51"/>
                  <a:pt x="366" y="51"/>
                  <a:pt x="364" y="51"/>
                </a:cubicBezTo>
                <a:close/>
                <a:moveTo>
                  <a:pt x="363" y="50"/>
                </a:moveTo>
                <a:cubicBezTo>
                  <a:pt x="365" y="49"/>
                  <a:pt x="366" y="49"/>
                  <a:pt x="367" y="49"/>
                </a:cubicBezTo>
                <a:cubicBezTo>
                  <a:pt x="365" y="48"/>
                  <a:pt x="363" y="49"/>
                  <a:pt x="363" y="50"/>
                </a:cubicBezTo>
                <a:close/>
                <a:moveTo>
                  <a:pt x="326" y="13"/>
                </a:moveTo>
                <a:cubicBezTo>
                  <a:pt x="327" y="12"/>
                  <a:pt x="332" y="11"/>
                  <a:pt x="333" y="11"/>
                </a:cubicBezTo>
                <a:cubicBezTo>
                  <a:pt x="329" y="11"/>
                  <a:pt x="328" y="12"/>
                  <a:pt x="326" y="13"/>
                </a:cubicBezTo>
                <a:close/>
                <a:moveTo>
                  <a:pt x="321" y="10"/>
                </a:moveTo>
                <a:cubicBezTo>
                  <a:pt x="322" y="11"/>
                  <a:pt x="325" y="10"/>
                  <a:pt x="329" y="9"/>
                </a:cubicBezTo>
                <a:cubicBezTo>
                  <a:pt x="329" y="9"/>
                  <a:pt x="329" y="9"/>
                  <a:pt x="328" y="9"/>
                </a:cubicBezTo>
                <a:cubicBezTo>
                  <a:pt x="326" y="10"/>
                  <a:pt x="323" y="10"/>
                  <a:pt x="321" y="10"/>
                </a:cubicBezTo>
                <a:close/>
                <a:moveTo>
                  <a:pt x="322" y="58"/>
                </a:moveTo>
                <a:cubicBezTo>
                  <a:pt x="323" y="58"/>
                  <a:pt x="326" y="58"/>
                  <a:pt x="328" y="58"/>
                </a:cubicBezTo>
                <a:cubicBezTo>
                  <a:pt x="327" y="57"/>
                  <a:pt x="325" y="57"/>
                  <a:pt x="322" y="58"/>
                </a:cubicBezTo>
                <a:close/>
                <a:moveTo>
                  <a:pt x="313" y="59"/>
                </a:moveTo>
                <a:cubicBezTo>
                  <a:pt x="314" y="60"/>
                  <a:pt x="309" y="60"/>
                  <a:pt x="309" y="61"/>
                </a:cubicBezTo>
                <a:cubicBezTo>
                  <a:pt x="311" y="61"/>
                  <a:pt x="312" y="61"/>
                  <a:pt x="316" y="60"/>
                </a:cubicBezTo>
                <a:cubicBezTo>
                  <a:pt x="315" y="60"/>
                  <a:pt x="316" y="59"/>
                  <a:pt x="313" y="59"/>
                </a:cubicBezTo>
                <a:close/>
                <a:moveTo>
                  <a:pt x="286" y="24"/>
                </a:moveTo>
                <a:cubicBezTo>
                  <a:pt x="286" y="24"/>
                  <a:pt x="280" y="25"/>
                  <a:pt x="280" y="26"/>
                </a:cubicBezTo>
                <a:cubicBezTo>
                  <a:pt x="281" y="26"/>
                  <a:pt x="280" y="26"/>
                  <a:pt x="281" y="26"/>
                </a:cubicBezTo>
                <a:cubicBezTo>
                  <a:pt x="282" y="26"/>
                  <a:pt x="284" y="25"/>
                  <a:pt x="285" y="24"/>
                </a:cubicBezTo>
                <a:cubicBezTo>
                  <a:pt x="285" y="25"/>
                  <a:pt x="286" y="25"/>
                  <a:pt x="287" y="25"/>
                </a:cubicBezTo>
                <a:cubicBezTo>
                  <a:pt x="290" y="24"/>
                  <a:pt x="290" y="24"/>
                  <a:pt x="294" y="23"/>
                </a:cubicBezTo>
                <a:cubicBezTo>
                  <a:pt x="293" y="22"/>
                  <a:pt x="293" y="22"/>
                  <a:pt x="293" y="22"/>
                </a:cubicBezTo>
                <a:cubicBezTo>
                  <a:pt x="290" y="23"/>
                  <a:pt x="288" y="23"/>
                  <a:pt x="286" y="24"/>
                </a:cubicBezTo>
                <a:close/>
                <a:moveTo>
                  <a:pt x="287" y="68"/>
                </a:moveTo>
                <a:cubicBezTo>
                  <a:pt x="289" y="67"/>
                  <a:pt x="289" y="67"/>
                  <a:pt x="289" y="66"/>
                </a:cubicBezTo>
                <a:cubicBezTo>
                  <a:pt x="287" y="67"/>
                  <a:pt x="287" y="67"/>
                  <a:pt x="287" y="68"/>
                </a:cubicBezTo>
                <a:close/>
                <a:moveTo>
                  <a:pt x="237" y="80"/>
                </a:moveTo>
                <a:cubicBezTo>
                  <a:pt x="236" y="81"/>
                  <a:pt x="235" y="83"/>
                  <a:pt x="230" y="86"/>
                </a:cubicBezTo>
                <a:cubicBezTo>
                  <a:pt x="227" y="86"/>
                  <a:pt x="224" y="88"/>
                  <a:pt x="221" y="89"/>
                </a:cubicBezTo>
                <a:cubicBezTo>
                  <a:pt x="221" y="89"/>
                  <a:pt x="221" y="90"/>
                  <a:pt x="220" y="91"/>
                </a:cubicBezTo>
                <a:cubicBezTo>
                  <a:pt x="219" y="91"/>
                  <a:pt x="215" y="92"/>
                  <a:pt x="215" y="93"/>
                </a:cubicBezTo>
                <a:cubicBezTo>
                  <a:pt x="217" y="93"/>
                  <a:pt x="218" y="93"/>
                  <a:pt x="220" y="92"/>
                </a:cubicBezTo>
                <a:cubicBezTo>
                  <a:pt x="222" y="91"/>
                  <a:pt x="219" y="91"/>
                  <a:pt x="221" y="90"/>
                </a:cubicBezTo>
                <a:cubicBezTo>
                  <a:pt x="227" y="88"/>
                  <a:pt x="233" y="84"/>
                  <a:pt x="238" y="81"/>
                </a:cubicBezTo>
                <a:cubicBezTo>
                  <a:pt x="237" y="81"/>
                  <a:pt x="237" y="81"/>
                  <a:pt x="236" y="81"/>
                </a:cubicBezTo>
                <a:cubicBezTo>
                  <a:pt x="239" y="80"/>
                  <a:pt x="241" y="79"/>
                  <a:pt x="242" y="78"/>
                </a:cubicBezTo>
                <a:cubicBezTo>
                  <a:pt x="239" y="79"/>
                  <a:pt x="238" y="79"/>
                  <a:pt x="237" y="80"/>
                </a:cubicBezTo>
                <a:close/>
                <a:moveTo>
                  <a:pt x="228" y="79"/>
                </a:moveTo>
                <a:cubicBezTo>
                  <a:pt x="228" y="80"/>
                  <a:pt x="230" y="79"/>
                  <a:pt x="228" y="80"/>
                </a:cubicBezTo>
                <a:cubicBezTo>
                  <a:pt x="228" y="80"/>
                  <a:pt x="224" y="82"/>
                  <a:pt x="224" y="81"/>
                </a:cubicBezTo>
                <a:cubicBezTo>
                  <a:pt x="219" y="84"/>
                  <a:pt x="214" y="86"/>
                  <a:pt x="212" y="89"/>
                </a:cubicBezTo>
                <a:cubicBezTo>
                  <a:pt x="217" y="86"/>
                  <a:pt x="220" y="83"/>
                  <a:pt x="224" y="82"/>
                </a:cubicBezTo>
                <a:cubicBezTo>
                  <a:pt x="224" y="82"/>
                  <a:pt x="222" y="83"/>
                  <a:pt x="223" y="83"/>
                </a:cubicBezTo>
                <a:cubicBezTo>
                  <a:pt x="226" y="82"/>
                  <a:pt x="228" y="80"/>
                  <a:pt x="232" y="79"/>
                </a:cubicBezTo>
                <a:cubicBezTo>
                  <a:pt x="231" y="78"/>
                  <a:pt x="231" y="78"/>
                  <a:pt x="228" y="79"/>
                </a:cubicBezTo>
                <a:close/>
                <a:moveTo>
                  <a:pt x="209" y="55"/>
                </a:moveTo>
                <a:cubicBezTo>
                  <a:pt x="212" y="54"/>
                  <a:pt x="215" y="52"/>
                  <a:pt x="216" y="50"/>
                </a:cubicBezTo>
                <a:cubicBezTo>
                  <a:pt x="212" y="52"/>
                  <a:pt x="211" y="53"/>
                  <a:pt x="209" y="55"/>
                </a:cubicBezTo>
                <a:close/>
                <a:moveTo>
                  <a:pt x="220" y="66"/>
                </a:moveTo>
                <a:cubicBezTo>
                  <a:pt x="223" y="64"/>
                  <a:pt x="220" y="67"/>
                  <a:pt x="223" y="65"/>
                </a:cubicBezTo>
                <a:cubicBezTo>
                  <a:pt x="224" y="64"/>
                  <a:pt x="223" y="65"/>
                  <a:pt x="223" y="64"/>
                </a:cubicBezTo>
                <a:cubicBezTo>
                  <a:pt x="222" y="65"/>
                  <a:pt x="220" y="65"/>
                  <a:pt x="220" y="66"/>
                </a:cubicBezTo>
                <a:close/>
                <a:moveTo>
                  <a:pt x="217" y="67"/>
                </a:moveTo>
                <a:cubicBezTo>
                  <a:pt x="214" y="69"/>
                  <a:pt x="216" y="70"/>
                  <a:pt x="219" y="67"/>
                </a:cubicBezTo>
                <a:cubicBezTo>
                  <a:pt x="214" y="69"/>
                  <a:pt x="222" y="65"/>
                  <a:pt x="217" y="67"/>
                </a:cubicBezTo>
                <a:close/>
                <a:moveTo>
                  <a:pt x="226" y="94"/>
                </a:moveTo>
                <a:cubicBezTo>
                  <a:pt x="225" y="94"/>
                  <a:pt x="224" y="95"/>
                  <a:pt x="224" y="96"/>
                </a:cubicBezTo>
                <a:cubicBezTo>
                  <a:pt x="226" y="94"/>
                  <a:pt x="226" y="95"/>
                  <a:pt x="228" y="94"/>
                </a:cubicBezTo>
                <a:cubicBezTo>
                  <a:pt x="228" y="93"/>
                  <a:pt x="227" y="94"/>
                  <a:pt x="226" y="94"/>
                </a:cubicBezTo>
                <a:close/>
                <a:moveTo>
                  <a:pt x="216" y="80"/>
                </a:moveTo>
                <a:cubicBezTo>
                  <a:pt x="215" y="80"/>
                  <a:pt x="213" y="82"/>
                  <a:pt x="211" y="82"/>
                </a:cubicBezTo>
                <a:cubicBezTo>
                  <a:pt x="211" y="83"/>
                  <a:pt x="214" y="82"/>
                  <a:pt x="216" y="80"/>
                </a:cubicBezTo>
                <a:close/>
                <a:moveTo>
                  <a:pt x="206" y="79"/>
                </a:moveTo>
                <a:cubicBezTo>
                  <a:pt x="206" y="79"/>
                  <a:pt x="208" y="78"/>
                  <a:pt x="207" y="79"/>
                </a:cubicBezTo>
                <a:cubicBezTo>
                  <a:pt x="209" y="77"/>
                  <a:pt x="210" y="78"/>
                  <a:pt x="212" y="75"/>
                </a:cubicBezTo>
                <a:cubicBezTo>
                  <a:pt x="210" y="76"/>
                  <a:pt x="208" y="77"/>
                  <a:pt x="206" y="79"/>
                </a:cubicBezTo>
                <a:close/>
                <a:moveTo>
                  <a:pt x="192" y="65"/>
                </a:moveTo>
                <a:cubicBezTo>
                  <a:pt x="191" y="66"/>
                  <a:pt x="190" y="67"/>
                  <a:pt x="190" y="67"/>
                </a:cubicBezTo>
                <a:cubicBezTo>
                  <a:pt x="193" y="65"/>
                  <a:pt x="197" y="64"/>
                  <a:pt x="198" y="63"/>
                </a:cubicBezTo>
                <a:cubicBezTo>
                  <a:pt x="194" y="64"/>
                  <a:pt x="195" y="64"/>
                  <a:pt x="192" y="65"/>
                </a:cubicBezTo>
                <a:close/>
                <a:moveTo>
                  <a:pt x="208" y="90"/>
                </a:moveTo>
                <a:cubicBezTo>
                  <a:pt x="207" y="91"/>
                  <a:pt x="206" y="91"/>
                  <a:pt x="206" y="92"/>
                </a:cubicBezTo>
                <a:cubicBezTo>
                  <a:pt x="207" y="91"/>
                  <a:pt x="206" y="93"/>
                  <a:pt x="209" y="91"/>
                </a:cubicBezTo>
                <a:cubicBezTo>
                  <a:pt x="210" y="90"/>
                  <a:pt x="208" y="91"/>
                  <a:pt x="208" y="90"/>
                </a:cubicBezTo>
                <a:close/>
                <a:moveTo>
                  <a:pt x="207" y="101"/>
                </a:moveTo>
                <a:cubicBezTo>
                  <a:pt x="208" y="101"/>
                  <a:pt x="212" y="98"/>
                  <a:pt x="214" y="97"/>
                </a:cubicBezTo>
                <a:cubicBezTo>
                  <a:pt x="211" y="99"/>
                  <a:pt x="207" y="101"/>
                  <a:pt x="207" y="101"/>
                </a:cubicBezTo>
                <a:close/>
                <a:moveTo>
                  <a:pt x="190" y="86"/>
                </a:moveTo>
                <a:cubicBezTo>
                  <a:pt x="191" y="85"/>
                  <a:pt x="196" y="82"/>
                  <a:pt x="196" y="82"/>
                </a:cubicBezTo>
                <a:cubicBezTo>
                  <a:pt x="194" y="83"/>
                  <a:pt x="192" y="85"/>
                  <a:pt x="190" y="86"/>
                </a:cubicBezTo>
                <a:close/>
                <a:moveTo>
                  <a:pt x="198" y="111"/>
                </a:moveTo>
                <a:cubicBezTo>
                  <a:pt x="199" y="112"/>
                  <a:pt x="204" y="109"/>
                  <a:pt x="205" y="107"/>
                </a:cubicBezTo>
                <a:cubicBezTo>
                  <a:pt x="203" y="109"/>
                  <a:pt x="201" y="110"/>
                  <a:pt x="198" y="111"/>
                </a:cubicBezTo>
                <a:close/>
                <a:moveTo>
                  <a:pt x="185" y="86"/>
                </a:moveTo>
                <a:cubicBezTo>
                  <a:pt x="185" y="86"/>
                  <a:pt x="189" y="84"/>
                  <a:pt x="188" y="84"/>
                </a:cubicBezTo>
                <a:cubicBezTo>
                  <a:pt x="184" y="85"/>
                  <a:pt x="184" y="87"/>
                  <a:pt x="183" y="89"/>
                </a:cubicBezTo>
                <a:cubicBezTo>
                  <a:pt x="184" y="88"/>
                  <a:pt x="184" y="88"/>
                  <a:pt x="184" y="88"/>
                </a:cubicBezTo>
                <a:cubicBezTo>
                  <a:pt x="187" y="87"/>
                  <a:pt x="190" y="84"/>
                  <a:pt x="188" y="84"/>
                </a:cubicBezTo>
                <a:cubicBezTo>
                  <a:pt x="188" y="84"/>
                  <a:pt x="186" y="86"/>
                  <a:pt x="185" y="86"/>
                </a:cubicBezTo>
                <a:close/>
                <a:moveTo>
                  <a:pt x="175" y="77"/>
                </a:moveTo>
                <a:cubicBezTo>
                  <a:pt x="177" y="75"/>
                  <a:pt x="182" y="73"/>
                  <a:pt x="180" y="73"/>
                </a:cubicBezTo>
                <a:cubicBezTo>
                  <a:pt x="179" y="75"/>
                  <a:pt x="174" y="76"/>
                  <a:pt x="175" y="77"/>
                </a:cubicBezTo>
                <a:close/>
                <a:moveTo>
                  <a:pt x="186" y="115"/>
                </a:moveTo>
                <a:cubicBezTo>
                  <a:pt x="187" y="115"/>
                  <a:pt x="191" y="112"/>
                  <a:pt x="191" y="111"/>
                </a:cubicBezTo>
                <a:cubicBezTo>
                  <a:pt x="190" y="112"/>
                  <a:pt x="187" y="113"/>
                  <a:pt x="186" y="115"/>
                </a:cubicBezTo>
                <a:close/>
                <a:moveTo>
                  <a:pt x="177" y="93"/>
                </a:moveTo>
                <a:cubicBezTo>
                  <a:pt x="170" y="97"/>
                  <a:pt x="177" y="95"/>
                  <a:pt x="177" y="93"/>
                </a:cubicBezTo>
                <a:close/>
                <a:moveTo>
                  <a:pt x="183" y="114"/>
                </a:moveTo>
                <a:cubicBezTo>
                  <a:pt x="185" y="113"/>
                  <a:pt x="188" y="111"/>
                  <a:pt x="188" y="110"/>
                </a:cubicBezTo>
                <a:cubicBezTo>
                  <a:pt x="185" y="112"/>
                  <a:pt x="184" y="113"/>
                  <a:pt x="183" y="114"/>
                </a:cubicBezTo>
                <a:close/>
                <a:moveTo>
                  <a:pt x="158" y="89"/>
                </a:moveTo>
                <a:cubicBezTo>
                  <a:pt x="160" y="88"/>
                  <a:pt x="165" y="84"/>
                  <a:pt x="163" y="85"/>
                </a:cubicBezTo>
                <a:cubicBezTo>
                  <a:pt x="163" y="85"/>
                  <a:pt x="157" y="89"/>
                  <a:pt x="158" y="89"/>
                </a:cubicBezTo>
                <a:close/>
                <a:moveTo>
                  <a:pt x="166" y="104"/>
                </a:moveTo>
                <a:cubicBezTo>
                  <a:pt x="168" y="103"/>
                  <a:pt x="170" y="102"/>
                  <a:pt x="171" y="101"/>
                </a:cubicBezTo>
                <a:cubicBezTo>
                  <a:pt x="169" y="103"/>
                  <a:pt x="166" y="103"/>
                  <a:pt x="166" y="104"/>
                </a:cubicBezTo>
                <a:close/>
                <a:moveTo>
                  <a:pt x="172" y="122"/>
                </a:moveTo>
                <a:cubicBezTo>
                  <a:pt x="172" y="122"/>
                  <a:pt x="176" y="120"/>
                  <a:pt x="176" y="120"/>
                </a:cubicBezTo>
                <a:cubicBezTo>
                  <a:pt x="175" y="120"/>
                  <a:pt x="175" y="120"/>
                  <a:pt x="172" y="122"/>
                </a:cubicBezTo>
                <a:close/>
                <a:moveTo>
                  <a:pt x="142" y="97"/>
                </a:moveTo>
                <a:cubicBezTo>
                  <a:pt x="145" y="95"/>
                  <a:pt x="147" y="93"/>
                  <a:pt x="148" y="92"/>
                </a:cubicBezTo>
                <a:cubicBezTo>
                  <a:pt x="146" y="93"/>
                  <a:pt x="142" y="96"/>
                  <a:pt x="142" y="97"/>
                </a:cubicBezTo>
                <a:close/>
                <a:moveTo>
                  <a:pt x="155" y="112"/>
                </a:moveTo>
                <a:cubicBezTo>
                  <a:pt x="155" y="112"/>
                  <a:pt x="156" y="111"/>
                  <a:pt x="156" y="111"/>
                </a:cubicBezTo>
                <a:cubicBezTo>
                  <a:pt x="155" y="112"/>
                  <a:pt x="156" y="112"/>
                  <a:pt x="157" y="111"/>
                </a:cubicBezTo>
                <a:cubicBezTo>
                  <a:pt x="157" y="111"/>
                  <a:pt x="158" y="110"/>
                  <a:pt x="158" y="109"/>
                </a:cubicBezTo>
                <a:cubicBezTo>
                  <a:pt x="157" y="110"/>
                  <a:pt x="155" y="111"/>
                  <a:pt x="155" y="112"/>
                </a:cubicBezTo>
                <a:close/>
                <a:moveTo>
                  <a:pt x="164" y="129"/>
                </a:moveTo>
                <a:cubicBezTo>
                  <a:pt x="165" y="128"/>
                  <a:pt x="170" y="125"/>
                  <a:pt x="169" y="124"/>
                </a:cubicBezTo>
                <a:cubicBezTo>
                  <a:pt x="167" y="126"/>
                  <a:pt x="165" y="127"/>
                  <a:pt x="164" y="129"/>
                </a:cubicBezTo>
                <a:close/>
                <a:moveTo>
                  <a:pt x="153" y="112"/>
                </a:moveTo>
                <a:cubicBezTo>
                  <a:pt x="155" y="111"/>
                  <a:pt x="158" y="109"/>
                  <a:pt x="157" y="109"/>
                </a:cubicBezTo>
                <a:cubicBezTo>
                  <a:pt x="154" y="110"/>
                  <a:pt x="154" y="111"/>
                  <a:pt x="153" y="112"/>
                </a:cubicBezTo>
                <a:close/>
                <a:moveTo>
                  <a:pt x="164" y="125"/>
                </a:moveTo>
                <a:cubicBezTo>
                  <a:pt x="165" y="124"/>
                  <a:pt x="167" y="122"/>
                  <a:pt x="167" y="122"/>
                </a:cubicBezTo>
                <a:cubicBezTo>
                  <a:pt x="166" y="122"/>
                  <a:pt x="162" y="125"/>
                  <a:pt x="164" y="125"/>
                </a:cubicBezTo>
                <a:close/>
                <a:moveTo>
                  <a:pt x="162" y="131"/>
                </a:moveTo>
                <a:cubicBezTo>
                  <a:pt x="162" y="131"/>
                  <a:pt x="161" y="132"/>
                  <a:pt x="161" y="133"/>
                </a:cubicBezTo>
                <a:cubicBezTo>
                  <a:pt x="164" y="130"/>
                  <a:pt x="164" y="130"/>
                  <a:pt x="164" y="130"/>
                </a:cubicBezTo>
                <a:cubicBezTo>
                  <a:pt x="162" y="131"/>
                  <a:pt x="170" y="126"/>
                  <a:pt x="167" y="127"/>
                </a:cubicBezTo>
                <a:cubicBezTo>
                  <a:pt x="165" y="129"/>
                  <a:pt x="163" y="130"/>
                  <a:pt x="162" y="131"/>
                </a:cubicBezTo>
                <a:close/>
                <a:moveTo>
                  <a:pt x="153" y="115"/>
                </a:moveTo>
                <a:cubicBezTo>
                  <a:pt x="153" y="115"/>
                  <a:pt x="154" y="114"/>
                  <a:pt x="153" y="114"/>
                </a:cubicBezTo>
                <a:cubicBezTo>
                  <a:pt x="149" y="118"/>
                  <a:pt x="155" y="114"/>
                  <a:pt x="153" y="116"/>
                </a:cubicBezTo>
                <a:cubicBezTo>
                  <a:pt x="155" y="115"/>
                  <a:pt x="155" y="115"/>
                  <a:pt x="155" y="115"/>
                </a:cubicBezTo>
                <a:cubicBezTo>
                  <a:pt x="155" y="115"/>
                  <a:pt x="155" y="114"/>
                  <a:pt x="155" y="114"/>
                </a:cubicBezTo>
                <a:cubicBezTo>
                  <a:pt x="154" y="115"/>
                  <a:pt x="153" y="115"/>
                  <a:pt x="153" y="115"/>
                </a:cubicBezTo>
                <a:close/>
                <a:moveTo>
                  <a:pt x="132" y="105"/>
                </a:moveTo>
                <a:cubicBezTo>
                  <a:pt x="135" y="103"/>
                  <a:pt x="140" y="99"/>
                  <a:pt x="140" y="98"/>
                </a:cubicBezTo>
                <a:cubicBezTo>
                  <a:pt x="136" y="101"/>
                  <a:pt x="133" y="104"/>
                  <a:pt x="132" y="105"/>
                </a:cubicBezTo>
                <a:close/>
                <a:moveTo>
                  <a:pt x="158" y="134"/>
                </a:moveTo>
                <a:cubicBezTo>
                  <a:pt x="159" y="132"/>
                  <a:pt x="163" y="130"/>
                  <a:pt x="163" y="130"/>
                </a:cubicBezTo>
                <a:cubicBezTo>
                  <a:pt x="161" y="131"/>
                  <a:pt x="157" y="133"/>
                  <a:pt x="158" y="134"/>
                </a:cubicBezTo>
                <a:close/>
                <a:moveTo>
                  <a:pt x="149" y="141"/>
                </a:moveTo>
                <a:cubicBezTo>
                  <a:pt x="151" y="141"/>
                  <a:pt x="153" y="139"/>
                  <a:pt x="153" y="138"/>
                </a:cubicBezTo>
                <a:cubicBezTo>
                  <a:pt x="154" y="138"/>
                  <a:pt x="157" y="136"/>
                  <a:pt x="158" y="135"/>
                </a:cubicBezTo>
                <a:cubicBezTo>
                  <a:pt x="155" y="136"/>
                  <a:pt x="151" y="139"/>
                  <a:pt x="149" y="141"/>
                </a:cubicBezTo>
                <a:close/>
                <a:moveTo>
                  <a:pt x="132" y="110"/>
                </a:moveTo>
                <a:cubicBezTo>
                  <a:pt x="132" y="108"/>
                  <a:pt x="128" y="112"/>
                  <a:pt x="127" y="113"/>
                </a:cubicBezTo>
                <a:cubicBezTo>
                  <a:pt x="126" y="114"/>
                  <a:pt x="128" y="114"/>
                  <a:pt x="129" y="112"/>
                </a:cubicBezTo>
                <a:cubicBezTo>
                  <a:pt x="129" y="111"/>
                  <a:pt x="131" y="110"/>
                  <a:pt x="131" y="110"/>
                </a:cubicBezTo>
                <a:cubicBezTo>
                  <a:pt x="131" y="110"/>
                  <a:pt x="131" y="110"/>
                  <a:pt x="132" y="110"/>
                </a:cubicBezTo>
                <a:close/>
                <a:moveTo>
                  <a:pt x="137" y="153"/>
                </a:moveTo>
                <a:cubicBezTo>
                  <a:pt x="139" y="150"/>
                  <a:pt x="143" y="148"/>
                  <a:pt x="143" y="147"/>
                </a:cubicBezTo>
                <a:cubicBezTo>
                  <a:pt x="140" y="149"/>
                  <a:pt x="138" y="151"/>
                  <a:pt x="137" y="153"/>
                </a:cubicBezTo>
                <a:close/>
                <a:moveTo>
                  <a:pt x="105" y="131"/>
                </a:moveTo>
                <a:cubicBezTo>
                  <a:pt x="110" y="128"/>
                  <a:pt x="114" y="123"/>
                  <a:pt x="118" y="120"/>
                </a:cubicBezTo>
                <a:cubicBezTo>
                  <a:pt x="117" y="119"/>
                  <a:pt x="117" y="119"/>
                  <a:pt x="117" y="119"/>
                </a:cubicBezTo>
                <a:cubicBezTo>
                  <a:pt x="113" y="123"/>
                  <a:pt x="107" y="128"/>
                  <a:pt x="105" y="131"/>
                </a:cubicBezTo>
                <a:close/>
                <a:moveTo>
                  <a:pt x="144" y="153"/>
                </a:moveTo>
                <a:cubicBezTo>
                  <a:pt x="144" y="154"/>
                  <a:pt x="143" y="155"/>
                  <a:pt x="143" y="155"/>
                </a:cubicBezTo>
                <a:cubicBezTo>
                  <a:pt x="146" y="153"/>
                  <a:pt x="146" y="153"/>
                  <a:pt x="146" y="153"/>
                </a:cubicBezTo>
                <a:cubicBezTo>
                  <a:pt x="145" y="153"/>
                  <a:pt x="146" y="152"/>
                  <a:pt x="144" y="153"/>
                </a:cubicBezTo>
                <a:close/>
                <a:moveTo>
                  <a:pt x="124" y="137"/>
                </a:moveTo>
                <a:cubicBezTo>
                  <a:pt x="125" y="137"/>
                  <a:pt x="126" y="136"/>
                  <a:pt x="126" y="136"/>
                </a:cubicBezTo>
                <a:cubicBezTo>
                  <a:pt x="125" y="136"/>
                  <a:pt x="123" y="138"/>
                  <a:pt x="122" y="139"/>
                </a:cubicBezTo>
                <a:cubicBezTo>
                  <a:pt x="121" y="140"/>
                  <a:pt x="121" y="140"/>
                  <a:pt x="122" y="140"/>
                </a:cubicBezTo>
                <a:cubicBezTo>
                  <a:pt x="124" y="138"/>
                  <a:pt x="123" y="138"/>
                  <a:pt x="124" y="137"/>
                </a:cubicBezTo>
                <a:close/>
                <a:moveTo>
                  <a:pt x="112" y="136"/>
                </a:moveTo>
                <a:cubicBezTo>
                  <a:pt x="109" y="139"/>
                  <a:pt x="114" y="135"/>
                  <a:pt x="111" y="138"/>
                </a:cubicBezTo>
                <a:cubicBezTo>
                  <a:pt x="113" y="136"/>
                  <a:pt x="113" y="136"/>
                  <a:pt x="115" y="135"/>
                </a:cubicBezTo>
                <a:cubicBezTo>
                  <a:pt x="115" y="135"/>
                  <a:pt x="116" y="134"/>
                  <a:pt x="115" y="134"/>
                </a:cubicBezTo>
                <a:cubicBezTo>
                  <a:pt x="113" y="136"/>
                  <a:pt x="114" y="134"/>
                  <a:pt x="112" y="136"/>
                </a:cubicBezTo>
                <a:close/>
                <a:moveTo>
                  <a:pt x="125" y="156"/>
                </a:moveTo>
                <a:cubicBezTo>
                  <a:pt x="126" y="156"/>
                  <a:pt x="128" y="154"/>
                  <a:pt x="129" y="152"/>
                </a:cubicBezTo>
                <a:cubicBezTo>
                  <a:pt x="128" y="153"/>
                  <a:pt x="126" y="154"/>
                  <a:pt x="125" y="156"/>
                </a:cubicBezTo>
                <a:close/>
                <a:moveTo>
                  <a:pt x="113" y="150"/>
                </a:moveTo>
                <a:cubicBezTo>
                  <a:pt x="117" y="147"/>
                  <a:pt x="116" y="148"/>
                  <a:pt x="120" y="145"/>
                </a:cubicBezTo>
                <a:cubicBezTo>
                  <a:pt x="118" y="145"/>
                  <a:pt x="121" y="143"/>
                  <a:pt x="120" y="143"/>
                </a:cubicBezTo>
                <a:cubicBezTo>
                  <a:pt x="119" y="145"/>
                  <a:pt x="113" y="149"/>
                  <a:pt x="113" y="150"/>
                </a:cubicBezTo>
                <a:close/>
                <a:moveTo>
                  <a:pt x="112" y="138"/>
                </a:moveTo>
                <a:cubicBezTo>
                  <a:pt x="110" y="140"/>
                  <a:pt x="110" y="138"/>
                  <a:pt x="108" y="140"/>
                </a:cubicBezTo>
                <a:cubicBezTo>
                  <a:pt x="107" y="142"/>
                  <a:pt x="109" y="140"/>
                  <a:pt x="110" y="141"/>
                </a:cubicBezTo>
                <a:cubicBezTo>
                  <a:pt x="111" y="140"/>
                  <a:pt x="114" y="137"/>
                  <a:pt x="112" y="138"/>
                </a:cubicBezTo>
                <a:close/>
                <a:moveTo>
                  <a:pt x="96" y="141"/>
                </a:moveTo>
                <a:cubicBezTo>
                  <a:pt x="99" y="138"/>
                  <a:pt x="99" y="138"/>
                  <a:pt x="99" y="138"/>
                </a:cubicBezTo>
                <a:cubicBezTo>
                  <a:pt x="98" y="137"/>
                  <a:pt x="98" y="137"/>
                  <a:pt x="98" y="137"/>
                </a:cubicBezTo>
                <a:cubicBezTo>
                  <a:pt x="96" y="139"/>
                  <a:pt x="97" y="139"/>
                  <a:pt x="96" y="141"/>
                </a:cubicBezTo>
                <a:close/>
                <a:moveTo>
                  <a:pt x="119" y="170"/>
                </a:moveTo>
                <a:cubicBezTo>
                  <a:pt x="119" y="171"/>
                  <a:pt x="120" y="168"/>
                  <a:pt x="120" y="169"/>
                </a:cubicBezTo>
                <a:cubicBezTo>
                  <a:pt x="121" y="168"/>
                  <a:pt x="125" y="165"/>
                  <a:pt x="123" y="166"/>
                </a:cubicBezTo>
                <a:cubicBezTo>
                  <a:pt x="121" y="168"/>
                  <a:pt x="121" y="168"/>
                  <a:pt x="119" y="170"/>
                </a:cubicBezTo>
                <a:close/>
                <a:moveTo>
                  <a:pt x="111" y="161"/>
                </a:moveTo>
                <a:cubicBezTo>
                  <a:pt x="113" y="159"/>
                  <a:pt x="114" y="159"/>
                  <a:pt x="115" y="158"/>
                </a:cubicBezTo>
                <a:cubicBezTo>
                  <a:pt x="114" y="158"/>
                  <a:pt x="115" y="157"/>
                  <a:pt x="114" y="157"/>
                </a:cubicBezTo>
                <a:cubicBezTo>
                  <a:pt x="113" y="159"/>
                  <a:pt x="111" y="160"/>
                  <a:pt x="111" y="161"/>
                </a:cubicBezTo>
                <a:close/>
                <a:moveTo>
                  <a:pt x="85" y="151"/>
                </a:moveTo>
                <a:cubicBezTo>
                  <a:pt x="83" y="153"/>
                  <a:pt x="82" y="154"/>
                  <a:pt x="81" y="155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2" y="156"/>
                  <a:pt x="82" y="156"/>
                  <a:pt x="82" y="156"/>
                </a:cubicBezTo>
                <a:cubicBezTo>
                  <a:pt x="83" y="155"/>
                  <a:pt x="83" y="155"/>
                  <a:pt x="83" y="155"/>
                </a:cubicBezTo>
                <a:cubicBezTo>
                  <a:pt x="84" y="154"/>
                  <a:pt x="85" y="152"/>
                  <a:pt x="86" y="151"/>
                </a:cubicBezTo>
                <a:cubicBezTo>
                  <a:pt x="89" y="149"/>
                  <a:pt x="91" y="146"/>
                  <a:pt x="93" y="143"/>
                </a:cubicBezTo>
                <a:cubicBezTo>
                  <a:pt x="90" y="146"/>
                  <a:pt x="87" y="149"/>
                  <a:pt x="85" y="151"/>
                </a:cubicBezTo>
                <a:close/>
                <a:moveTo>
                  <a:pt x="88" y="156"/>
                </a:moveTo>
                <a:cubicBezTo>
                  <a:pt x="90" y="154"/>
                  <a:pt x="91" y="154"/>
                  <a:pt x="93" y="152"/>
                </a:cubicBezTo>
                <a:cubicBezTo>
                  <a:pt x="93" y="151"/>
                  <a:pt x="93" y="150"/>
                  <a:pt x="94" y="149"/>
                </a:cubicBezTo>
                <a:cubicBezTo>
                  <a:pt x="91" y="152"/>
                  <a:pt x="87" y="156"/>
                  <a:pt x="88" y="156"/>
                </a:cubicBezTo>
                <a:close/>
                <a:moveTo>
                  <a:pt x="86" y="154"/>
                </a:moveTo>
                <a:cubicBezTo>
                  <a:pt x="88" y="153"/>
                  <a:pt x="87" y="154"/>
                  <a:pt x="89" y="152"/>
                </a:cubicBezTo>
                <a:cubicBezTo>
                  <a:pt x="89" y="152"/>
                  <a:pt x="89" y="152"/>
                  <a:pt x="90" y="151"/>
                </a:cubicBezTo>
                <a:cubicBezTo>
                  <a:pt x="89" y="151"/>
                  <a:pt x="89" y="151"/>
                  <a:pt x="90" y="151"/>
                </a:cubicBezTo>
                <a:cubicBezTo>
                  <a:pt x="90" y="150"/>
                  <a:pt x="90" y="150"/>
                  <a:pt x="90" y="150"/>
                </a:cubicBezTo>
                <a:cubicBezTo>
                  <a:pt x="89" y="152"/>
                  <a:pt x="86" y="154"/>
                  <a:pt x="86" y="154"/>
                </a:cubicBezTo>
                <a:close/>
                <a:moveTo>
                  <a:pt x="96" y="160"/>
                </a:moveTo>
                <a:cubicBezTo>
                  <a:pt x="96" y="161"/>
                  <a:pt x="94" y="163"/>
                  <a:pt x="94" y="164"/>
                </a:cubicBezTo>
                <a:cubicBezTo>
                  <a:pt x="96" y="162"/>
                  <a:pt x="96" y="161"/>
                  <a:pt x="98" y="160"/>
                </a:cubicBezTo>
                <a:cubicBezTo>
                  <a:pt x="97" y="159"/>
                  <a:pt x="97" y="160"/>
                  <a:pt x="96" y="160"/>
                </a:cubicBezTo>
                <a:close/>
                <a:moveTo>
                  <a:pt x="95" y="158"/>
                </a:moveTo>
                <a:cubicBezTo>
                  <a:pt x="95" y="158"/>
                  <a:pt x="95" y="158"/>
                  <a:pt x="95" y="158"/>
                </a:cubicBezTo>
                <a:cubicBezTo>
                  <a:pt x="93" y="159"/>
                  <a:pt x="94" y="159"/>
                  <a:pt x="92" y="160"/>
                </a:cubicBezTo>
                <a:cubicBezTo>
                  <a:pt x="93" y="161"/>
                  <a:pt x="93" y="161"/>
                  <a:pt x="93" y="161"/>
                </a:cubicBezTo>
                <a:cubicBezTo>
                  <a:pt x="94" y="159"/>
                  <a:pt x="94" y="160"/>
                  <a:pt x="95" y="158"/>
                </a:cubicBezTo>
                <a:close/>
                <a:moveTo>
                  <a:pt x="85" y="163"/>
                </a:moveTo>
                <a:cubicBezTo>
                  <a:pt x="86" y="162"/>
                  <a:pt x="86" y="162"/>
                  <a:pt x="86" y="162"/>
                </a:cubicBezTo>
                <a:cubicBezTo>
                  <a:pt x="86" y="162"/>
                  <a:pt x="85" y="162"/>
                  <a:pt x="85" y="163"/>
                </a:cubicBezTo>
                <a:close/>
                <a:moveTo>
                  <a:pt x="91" y="167"/>
                </a:moveTo>
                <a:cubicBezTo>
                  <a:pt x="91" y="167"/>
                  <a:pt x="91" y="167"/>
                  <a:pt x="91" y="168"/>
                </a:cubicBezTo>
                <a:cubicBezTo>
                  <a:pt x="92" y="168"/>
                  <a:pt x="92" y="168"/>
                  <a:pt x="92" y="167"/>
                </a:cubicBezTo>
                <a:cubicBezTo>
                  <a:pt x="92" y="167"/>
                  <a:pt x="92" y="167"/>
                  <a:pt x="92" y="167"/>
                </a:cubicBezTo>
                <a:cubicBezTo>
                  <a:pt x="92" y="167"/>
                  <a:pt x="91" y="166"/>
                  <a:pt x="91" y="167"/>
                </a:cubicBezTo>
                <a:close/>
                <a:moveTo>
                  <a:pt x="101" y="179"/>
                </a:moveTo>
                <a:cubicBezTo>
                  <a:pt x="101" y="179"/>
                  <a:pt x="101" y="179"/>
                  <a:pt x="102" y="180"/>
                </a:cubicBezTo>
                <a:cubicBezTo>
                  <a:pt x="102" y="179"/>
                  <a:pt x="102" y="178"/>
                  <a:pt x="103" y="178"/>
                </a:cubicBezTo>
                <a:cubicBezTo>
                  <a:pt x="103" y="178"/>
                  <a:pt x="103" y="178"/>
                  <a:pt x="103" y="177"/>
                </a:cubicBezTo>
                <a:cubicBezTo>
                  <a:pt x="102" y="178"/>
                  <a:pt x="102" y="178"/>
                  <a:pt x="101" y="179"/>
                </a:cubicBezTo>
                <a:close/>
                <a:moveTo>
                  <a:pt x="111" y="187"/>
                </a:moveTo>
                <a:cubicBezTo>
                  <a:pt x="111" y="188"/>
                  <a:pt x="112" y="187"/>
                  <a:pt x="112" y="187"/>
                </a:cubicBezTo>
                <a:cubicBezTo>
                  <a:pt x="111" y="187"/>
                  <a:pt x="112" y="187"/>
                  <a:pt x="112" y="186"/>
                </a:cubicBezTo>
                <a:cubicBezTo>
                  <a:pt x="111" y="186"/>
                  <a:pt x="112" y="187"/>
                  <a:pt x="111" y="187"/>
                </a:cubicBezTo>
                <a:close/>
                <a:moveTo>
                  <a:pt x="100" y="178"/>
                </a:moveTo>
                <a:cubicBezTo>
                  <a:pt x="100" y="179"/>
                  <a:pt x="101" y="179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0" y="178"/>
                  <a:pt x="100" y="178"/>
                </a:cubicBezTo>
                <a:close/>
                <a:moveTo>
                  <a:pt x="101" y="180"/>
                </a:moveTo>
                <a:cubicBezTo>
                  <a:pt x="101" y="179"/>
                  <a:pt x="101" y="181"/>
                  <a:pt x="102" y="180"/>
                </a:cubicBezTo>
                <a:cubicBezTo>
                  <a:pt x="102" y="180"/>
                  <a:pt x="101" y="179"/>
                  <a:pt x="101" y="179"/>
                </a:cubicBezTo>
                <a:cubicBezTo>
                  <a:pt x="101" y="179"/>
                  <a:pt x="100" y="180"/>
                  <a:pt x="101" y="180"/>
                </a:cubicBezTo>
                <a:close/>
                <a:moveTo>
                  <a:pt x="76" y="157"/>
                </a:moveTo>
                <a:cubicBezTo>
                  <a:pt x="76" y="157"/>
                  <a:pt x="77" y="156"/>
                  <a:pt x="76" y="156"/>
                </a:cubicBezTo>
                <a:cubicBezTo>
                  <a:pt x="76" y="156"/>
                  <a:pt x="76" y="157"/>
                  <a:pt x="76" y="157"/>
                </a:cubicBezTo>
                <a:close/>
                <a:moveTo>
                  <a:pt x="99" y="179"/>
                </a:moveTo>
                <a:cubicBezTo>
                  <a:pt x="99" y="178"/>
                  <a:pt x="100" y="180"/>
                  <a:pt x="100" y="179"/>
                </a:cubicBezTo>
                <a:cubicBezTo>
                  <a:pt x="99" y="179"/>
                  <a:pt x="100" y="179"/>
                  <a:pt x="100" y="178"/>
                </a:cubicBezTo>
                <a:cubicBezTo>
                  <a:pt x="100" y="178"/>
                  <a:pt x="99" y="179"/>
                  <a:pt x="99" y="179"/>
                </a:cubicBezTo>
                <a:close/>
                <a:moveTo>
                  <a:pt x="104" y="186"/>
                </a:moveTo>
                <a:cubicBezTo>
                  <a:pt x="105" y="185"/>
                  <a:pt x="105" y="185"/>
                  <a:pt x="105" y="185"/>
                </a:cubicBezTo>
                <a:cubicBezTo>
                  <a:pt x="105" y="184"/>
                  <a:pt x="104" y="185"/>
                  <a:pt x="104" y="186"/>
                </a:cubicBezTo>
                <a:close/>
                <a:moveTo>
                  <a:pt x="100" y="181"/>
                </a:move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1" y="181"/>
                  <a:pt x="101" y="181"/>
                </a:cubicBezTo>
                <a:cubicBezTo>
                  <a:pt x="100" y="181"/>
                  <a:pt x="100" y="180"/>
                  <a:pt x="100" y="181"/>
                </a:cubicBezTo>
                <a:close/>
                <a:moveTo>
                  <a:pt x="108" y="192"/>
                </a:moveTo>
                <a:cubicBezTo>
                  <a:pt x="108" y="191"/>
                  <a:pt x="109" y="190"/>
                  <a:pt x="109" y="190"/>
                </a:cubicBezTo>
                <a:cubicBezTo>
                  <a:pt x="108" y="191"/>
                  <a:pt x="107" y="191"/>
                  <a:pt x="108" y="192"/>
                </a:cubicBezTo>
                <a:close/>
                <a:moveTo>
                  <a:pt x="76" y="161"/>
                </a:moveTo>
                <a:cubicBezTo>
                  <a:pt x="76" y="161"/>
                  <a:pt x="77" y="162"/>
                  <a:pt x="77" y="161"/>
                </a:cubicBezTo>
                <a:cubicBezTo>
                  <a:pt x="77" y="161"/>
                  <a:pt x="77" y="161"/>
                  <a:pt x="77" y="161"/>
                </a:cubicBezTo>
                <a:cubicBezTo>
                  <a:pt x="77" y="161"/>
                  <a:pt x="78" y="161"/>
                  <a:pt x="77" y="161"/>
                </a:cubicBezTo>
                <a:cubicBezTo>
                  <a:pt x="77" y="161"/>
                  <a:pt x="77" y="161"/>
                  <a:pt x="76" y="161"/>
                </a:cubicBezTo>
                <a:close/>
                <a:moveTo>
                  <a:pt x="99" y="182"/>
                </a:moveTo>
                <a:cubicBezTo>
                  <a:pt x="99" y="182"/>
                  <a:pt x="99" y="182"/>
                  <a:pt x="99" y="182"/>
                </a:cubicBezTo>
                <a:cubicBezTo>
                  <a:pt x="100" y="182"/>
                  <a:pt x="100" y="182"/>
                  <a:pt x="100" y="181"/>
                </a:cubicBezTo>
                <a:cubicBezTo>
                  <a:pt x="99" y="181"/>
                  <a:pt x="99" y="182"/>
                  <a:pt x="99" y="182"/>
                </a:cubicBezTo>
                <a:close/>
                <a:moveTo>
                  <a:pt x="102" y="184"/>
                </a:moveTo>
                <a:cubicBezTo>
                  <a:pt x="102" y="184"/>
                  <a:pt x="102" y="185"/>
                  <a:pt x="102" y="185"/>
                </a:cubicBezTo>
                <a:cubicBezTo>
                  <a:pt x="102" y="185"/>
                  <a:pt x="102" y="185"/>
                  <a:pt x="102" y="185"/>
                </a:cubicBezTo>
                <a:cubicBezTo>
                  <a:pt x="102" y="185"/>
                  <a:pt x="103" y="185"/>
                  <a:pt x="103" y="184"/>
                </a:cubicBezTo>
                <a:cubicBezTo>
                  <a:pt x="103" y="185"/>
                  <a:pt x="102" y="184"/>
                  <a:pt x="102" y="184"/>
                </a:cubicBezTo>
                <a:close/>
                <a:moveTo>
                  <a:pt x="103" y="187"/>
                </a:moveTo>
                <a:cubicBezTo>
                  <a:pt x="104" y="186"/>
                  <a:pt x="104" y="186"/>
                  <a:pt x="104" y="185"/>
                </a:cubicBezTo>
                <a:cubicBezTo>
                  <a:pt x="104" y="186"/>
                  <a:pt x="103" y="186"/>
                  <a:pt x="103" y="187"/>
                </a:cubicBezTo>
                <a:close/>
                <a:moveTo>
                  <a:pt x="99" y="185"/>
                </a:moveTo>
                <a:cubicBezTo>
                  <a:pt x="99" y="185"/>
                  <a:pt x="100" y="185"/>
                  <a:pt x="100" y="185"/>
                </a:cubicBezTo>
                <a:cubicBezTo>
                  <a:pt x="100" y="185"/>
                  <a:pt x="101" y="185"/>
                  <a:pt x="101" y="186"/>
                </a:cubicBezTo>
                <a:cubicBezTo>
                  <a:pt x="102" y="186"/>
                  <a:pt x="100" y="184"/>
                  <a:pt x="102" y="184"/>
                </a:cubicBezTo>
                <a:cubicBezTo>
                  <a:pt x="101" y="184"/>
                  <a:pt x="101" y="184"/>
                  <a:pt x="101" y="183"/>
                </a:cubicBezTo>
                <a:cubicBezTo>
                  <a:pt x="100" y="184"/>
                  <a:pt x="99" y="184"/>
                  <a:pt x="99" y="185"/>
                </a:cubicBezTo>
                <a:close/>
                <a:moveTo>
                  <a:pt x="84" y="169"/>
                </a:moveTo>
                <a:cubicBezTo>
                  <a:pt x="84" y="169"/>
                  <a:pt x="85" y="169"/>
                  <a:pt x="85" y="168"/>
                </a:cubicBezTo>
                <a:cubicBezTo>
                  <a:pt x="85" y="169"/>
                  <a:pt x="84" y="169"/>
                  <a:pt x="84" y="169"/>
                </a:cubicBezTo>
                <a:close/>
                <a:moveTo>
                  <a:pt x="97" y="181"/>
                </a:moveTo>
                <a:cubicBezTo>
                  <a:pt x="98" y="181"/>
                  <a:pt x="97" y="182"/>
                  <a:pt x="98" y="182"/>
                </a:cubicBezTo>
                <a:cubicBezTo>
                  <a:pt x="98" y="181"/>
                  <a:pt x="98" y="181"/>
                  <a:pt x="98" y="181"/>
                </a:cubicBezTo>
                <a:cubicBezTo>
                  <a:pt x="98" y="181"/>
                  <a:pt x="98" y="181"/>
                  <a:pt x="97" y="181"/>
                </a:cubicBezTo>
                <a:close/>
                <a:moveTo>
                  <a:pt x="105" y="194"/>
                </a:moveTo>
                <a:cubicBezTo>
                  <a:pt x="106" y="194"/>
                  <a:pt x="106" y="192"/>
                  <a:pt x="107" y="192"/>
                </a:cubicBezTo>
                <a:cubicBezTo>
                  <a:pt x="107" y="192"/>
                  <a:pt x="107" y="192"/>
                  <a:pt x="107" y="192"/>
                </a:cubicBezTo>
                <a:cubicBezTo>
                  <a:pt x="106" y="192"/>
                  <a:pt x="105" y="193"/>
                  <a:pt x="105" y="194"/>
                </a:cubicBezTo>
                <a:close/>
                <a:moveTo>
                  <a:pt x="91" y="184"/>
                </a:moveTo>
                <a:cubicBezTo>
                  <a:pt x="92" y="184"/>
                  <a:pt x="91" y="185"/>
                  <a:pt x="91" y="185"/>
                </a:cubicBezTo>
                <a:cubicBezTo>
                  <a:pt x="92" y="185"/>
                  <a:pt x="92" y="184"/>
                  <a:pt x="93" y="184"/>
                </a:cubicBezTo>
                <a:cubicBezTo>
                  <a:pt x="92" y="184"/>
                  <a:pt x="92" y="184"/>
                  <a:pt x="92" y="183"/>
                </a:cubicBezTo>
                <a:cubicBezTo>
                  <a:pt x="92" y="184"/>
                  <a:pt x="92" y="184"/>
                  <a:pt x="91" y="184"/>
                </a:cubicBezTo>
                <a:close/>
                <a:moveTo>
                  <a:pt x="72" y="169"/>
                </a:moveTo>
                <a:cubicBezTo>
                  <a:pt x="73" y="170"/>
                  <a:pt x="73" y="170"/>
                  <a:pt x="73" y="170"/>
                </a:cubicBezTo>
                <a:cubicBezTo>
                  <a:pt x="73" y="169"/>
                  <a:pt x="75" y="168"/>
                  <a:pt x="74" y="167"/>
                </a:cubicBezTo>
                <a:cubicBezTo>
                  <a:pt x="73" y="168"/>
                  <a:pt x="73" y="169"/>
                  <a:pt x="72" y="169"/>
                </a:cubicBezTo>
                <a:close/>
                <a:moveTo>
                  <a:pt x="74" y="170"/>
                </a:moveTo>
                <a:cubicBezTo>
                  <a:pt x="75" y="170"/>
                  <a:pt x="76" y="169"/>
                  <a:pt x="76" y="168"/>
                </a:cubicBezTo>
                <a:cubicBezTo>
                  <a:pt x="75" y="169"/>
                  <a:pt x="74" y="170"/>
                  <a:pt x="74" y="170"/>
                </a:cubicBezTo>
                <a:close/>
                <a:moveTo>
                  <a:pt x="88" y="184"/>
                </a:moveTo>
                <a:cubicBezTo>
                  <a:pt x="89" y="185"/>
                  <a:pt x="89" y="185"/>
                  <a:pt x="89" y="185"/>
                </a:cubicBezTo>
                <a:cubicBezTo>
                  <a:pt x="90" y="184"/>
                  <a:pt x="90" y="184"/>
                  <a:pt x="90" y="183"/>
                </a:cubicBezTo>
                <a:cubicBezTo>
                  <a:pt x="90" y="183"/>
                  <a:pt x="89" y="184"/>
                  <a:pt x="88" y="184"/>
                </a:cubicBezTo>
                <a:close/>
                <a:moveTo>
                  <a:pt x="71" y="168"/>
                </a:moveTo>
                <a:cubicBezTo>
                  <a:pt x="71" y="168"/>
                  <a:pt x="71" y="167"/>
                  <a:pt x="71" y="167"/>
                </a:cubicBezTo>
                <a:cubicBezTo>
                  <a:pt x="71" y="167"/>
                  <a:pt x="71" y="168"/>
                  <a:pt x="71" y="168"/>
                </a:cubicBezTo>
                <a:close/>
                <a:moveTo>
                  <a:pt x="89" y="187"/>
                </a:moveTo>
                <a:cubicBezTo>
                  <a:pt x="90" y="188"/>
                  <a:pt x="90" y="187"/>
                  <a:pt x="90" y="187"/>
                </a:cubicBezTo>
                <a:cubicBezTo>
                  <a:pt x="91" y="187"/>
                  <a:pt x="91" y="186"/>
                  <a:pt x="91" y="186"/>
                </a:cubicBezTo>
                <a:cubicBezTo>
                  <a:pt x="90" y="186"/>
                  <a:pt x="90" y="187"/>
                  <a:pt x="89" y="186"/>
                </a:cubicBezTo>
                <a:cubicBezTo>
                  <a:pt x="89" y="186"/>
                  <a:pt x="90" y="187"/>
                  <a:pt x="89" y="187"/>
                </a:cubicBezTo>
                <a:close/>
                <a:moveTo>
                  <a:pt x="84" y="182"/>
                </a:moveTo>
                <a:cubicBezTo>
                  <a:pt x="84" y="182"/>
                  <a:pt x="85" y="180"/>
                  <a:pt x="84" y="180"/>
                </a:cubicBezTo>
                <a:cubicBezTo>
                  <a:pt x="84" y="181"/>
                  <a:pt x="83" y="181"/>
                  <a:pt x="84" y="182"/>
                </a:cubicBezTo>
                <a:close/>
                <a:moveTo>
                  <a:pt x="72" y="173"/>
                </a:moveTo>
                <a:cubicBezTo>
                  <a:pt x="72" y="173"/>
                  <a:pt x="73" y="173"/>
                  <a:pt x="73" y="173"/>
                </a:cubicBezTo>
                <a:cubicBezTo>
                  <a:pt x="73" y="173"/>
                  <a:pt x="73" y="173"/>
                  <a:pt x="73" y="172"/>
                </a:cubicBezTo>
                <a:cubicBezTo>
                  <a:pt x="72" y="172"/>
                  <a:pt x="75" y="172"/>
                  <a:pt x="74" y="171"/>
                </a:cubicBezTo>
                <a:cubicBezTo>
                  <a:pt x="73" y="171"/>
                  <a:pt x="73" y="172"/>
                  <a:pt x="72" y="173"/>
                </a:cubicBezTo>
                <a:close/>
                <a:moveTo>
                  <a:pt x="97" y="197"/>
                </a:moveTo>
                <a:cubicBezTo>
                  <a:pt x="98" y="196"/>
                  <a:pt x="99" y="195"/>
                  <a:pt x="99" y="194"/>
                </a:cubicBezTo>
                <a:cubicBezTo>
                  <a:pt x="99" y="195"/>
                  <a:pt x="97" y="195"/>
                  <a:pt x="97" y="197"/>
                </a:cubicBezTo>
                <a:close/>
                <a:moveTo>
                  <a:pt x="69" y="174"/>
                </a:moveTo>
                <a:cubicBezTo>
                  <a:pt x="70" y="173"/>
                  <a:pt x="71" y="172"/>
                  <a:pt x="72" y="171"/>
                </a:cubicBezTo>
                <a:cubicBezTo>
                  <a:pt x="72" y="170"/>
                  <a:pt x="72" y="170"/>
                  <a:pt x="72" y="170"/>
                </a:cubicBezTo>
                <a:cubicBezTo>
                  <a:pt x="71" y="172"/>
                  <a:pt x="69" y="172"/>
                  <a:pt x="69" y="174"/>
                </a:cubicBezTo>
                <a:close/>
                <a:moveTo>
                  <a:pt x="91" y="189"/>
                </a:moveTo>
                <a:cubicBezTo>
                  <a:pt x="91" y="189"/>
                  <a:pt x="92" y="189"/>
                  <a:pt x="91" y="188"/>
                </a:cubicBezTo>
                <a:cubicBezTo>
                  <a:pt x="91" y="189"/>
                  <a:pt x="90" y="189"/>
                  <a:pt x="91" y="189"/>
                </a:cubicBezTo>
                <a:close/>
                <a:moveTo>
                  <a:pt x="69" y="171"/>
                </a:moveTo>
                <a:cubicBezTo>
                  <a:pt x="69" y="170"/>
                  <a:pt x="70" y="169"/>
                  <a:pt x="70" y="169"/>
                </a:cubicBezTo>
                <a:cubicBezTo>
                  <a:pt x="69" y="169"/>
                  <a:pt x="68" y="170"/>
                  <a:pt x="69" y="171"/>
                </a:cubicBezTo>
                <a:close/>
                <a:moveTo>
                  <a:pt x="67" y="172"/>
                </a:moveTo>
                <a:cubicBezTo>
                  <a:pt x="68" y="173"/>
                  <a:pt x="68" y="172"/>
                  <a:pt x="68" y="171"/>
                </a:cubicBezTo>
                <a:lnTo>
                  <a:pt x="67" y="172"/>
                </a:lnTo>
                <a:close/>
                <a:moveTo>
                  <a:pt x="96" y="198"/>
                </a:moveTo>
                <a:cubicBezTo>
                  <a:pt x="97" y="198"/>
                  <a:pt x="97" y="197"/>
                  <a:pt x="97" y="197"/>
                </a:cubicBezTo>
                <a:cubicBezTo>
                  <a:pt x="96" y="197"/>
                  <a:pt x="96" y="198"/>
                  <a:pt x="96" y="198"/>
                </a:cubicBezTo>
                <a:close/>
                <a:moveTo>
                  <a:pt x="75" y="181"/>
                </a:moveTo>
                <a:cubicBezTo>
                  <a:pt x="76" y="181"/>
                  <a:pt x="77" y="180"/>
                  <a:pt x="76" y="180"/>
                </a:cubicBezTo>
                <a:cubicBezTo>
                  <a:pt x="76" y="180"/>
                  <a:pt x="75" y="181"/>
                  <a:pt x="75" y="181"/>
                </a:cubicBezTo>
                <a:close/>
                <a:moveTo>
                  <a:pt x="90" y="195"/>
                </a:moveTo>
                <a:cubicBezTo>
                  <a:pt x="91" y="196"/>
                  <a:pt x="91" y="194"/>
                  <a:pt x="92" y="194"/>
                </a:cubicBezTo>
                <a:cubicBezTo>
                  <a:pt x="92" y="194"/>
                  <a:pt x="92" y="194"/>
                  <a:pt x="91" y="193"/>
                </a:cubicBezTo>
                <a:cubicBezTo>
                  <a:pt x="91" y="194"/>
                  <a:pt x="91" y="195"/>
                  <a:pt x="90" y="195"/>
                </a:cubicBezTo>
                <a:close/>
                <a:moveTo>
                  <a:pt x="65" y="173"/>
                </a:moveTo>
                <a:cubicBezTo>
                  <a:pt x="66" y="173"/>
                  <a:pt x="66" y="172"/>
                  <a:pt x="66" y="172"/>
                </a:cubicBezTo>
                <a:cubicBezTo>
                  <a:pt x="66" y="172"/>
                  <a:pt x="65" y="173"/>
                  <a:pt x="65" y="173"/>
                </a:cubicBezTo>
                <a:close/>
                <a:moveTo>
                  <a:pt x="67" y="176"/>
                </a:moveTo>
                <a:cubicBezTo>
                  <a:pt x="68" y="177"/>
                  <a:pt x="69" y="175"/>
                  <a:pt x="68" y="175"/>
                </a:cubicBezTo>
                <a:cubicBezTo>
                  <a:pt x="68" y="176"/>
                  <a:pt x="67" y="176"/>
                  <a:pt x="67" y="176"/>
                </a:cubicBezTo>
                <a:close/>
                <a:moveTo>
                  <a:pt x="70" y="178"/>
                </a:moveTo>
                <a:cubicBezTo>
                  <a:pt x="70" y="179"/>
                  <a:pt x="70" y="178"/>
                  <a:pt x="70" y="177"/>
                </a:cubicBezTo>
                <a:cubicBezTo>
                  <a:pt x="70" y="177"/>
                  <a:pt x="70" y="178"/>
                  <a:pt x="70" y="178"/>
                </a:cubicBezTo>
                <a:close/>
                <a:moveTo>
                  <a:pt x="88" y="196"/>
                </a:moveTo>
                <a:cubicBezTo>
                  <a:pt x="89" y="196"/>
                  <a:pt x="90" y="195"/>
                  <a:pt x="89" y="194"/>
                </a:cubicBezTo>
                <a:cubicBezTo>
                  <a:pt x="89" y="196"/>
                  <a:pt x="87" y="195"/>
                  <a:pt x="88" y="196"/>
                </a:cubicBezTo>
                <a:close/>
                <a:moveTo>
                  <a:pt x="63" y="174"/>
                </a:moveTo>
                <a:cubicBezTo>
                  <a:pt x="63" y="174"/>
                  <a:pt x="63" y="174"/>
                  <a:pt x="63" y="174"/>
                </a:cubicBezTo>
                <a:cubicBezTo>
                  <a:pt x="64" y="174"/>
                  <a:pt x="64" y="173"/>
                  <a:pt x="64" y="172"/>
                </a:cubicBezTo>
                <a:cubicBezTo>
                  <a:pt x="64" y="172"/>
                  <a:pt x="64" y="173"/>
                  <a:pt x="63" y="174"/>
                </a:cubicBezTo>
                <a:close/>
                <a:moveTo>
                  <a:pt x="87" y="195"/>
                </a:moveTo>
                <a:cubicBezTo>
                  <a:pt x="87" y="194"/>
                  <a:pt x="87" y="194"/>
                  <a:pt x="88" y="194"/>
                </a:cubicBezTo>
                <a:cubicBezTo>
                  <a:pt x="87" y="193"/>
                  <a:pt x="87" y="193"/>
                  <a:pt x="87" y="193"/>
                </a:cubicBezTo>
                <a:cubicBezTo>
                  <a:pt x="87" y="194"/>
                  <a:pt x="86" y="194"/>
                  <a:pt x="87" y="195"/>
                </a:cubicBezTo>
                <a:close/>
                <a:moveTo>
                  <a:pt x="89" y="196"/>
                </a:moveTo>
                <a:cubicBezTo>
                  <a:pt x="89" y="196"/>
                  <a:pt x="90" y="197"/>
                  <a:pt x="90" y="197"/>
                </a:cubicBezTo>
                <a:cubicBezTo>
                  <a:pt x="90" y="196"/>
                  <a:pt x="90" y="196"/>
                  <a:pt x="89" y="196"/>
                </a:cubicBezTo>
                <a:close/>
                <a:moveTo>
                  <a:pt x="70" y="180"/>
                </a:moveTo>
                <a:cubicBezTo>
                  <a:pt x="70" y="180"/>
                  <a:pt x="70" y="180"/>
                  <a:pt x="70" y="179"/>
                </a:cubicBezTo>
                <a:cubicBezTo>
                  <a:pt x="70" y="179"/>
                  <a:pt x="69" y="179"/>
                  <a:pt x="69" y="180"/>
                </a:cubicBezTo>
                <a:cubicBezTo>
                  <a:pt x="69" y="180"/>
                  <a:pt x="69" y="180"/>
                  <a:pt x="70" y="180"/>
                </a:cubicBezTo>
                <a:close/>
                <a:moveTo>
                  <a:pt x="63" y="175"/>
                </a:moveTo>
                <a:cubicBezTo>
                  <a:pt x="62" y="175"/>
                  <a:pt x="61" y="176"/>
                  <a:pt x="61" y="177"/>
                </a:cubicBezTo>
                <a:cubicBezTo>
                  <a:pt x="62" y="177"/>
                  <a:pt x="63" y="175"/>
                  <a:pt x="63" y="174"/>
                </a:cubicBezTo>
                <a:cubicBezTo>
                  <a:pt x="63" y="174"/>
                  <a:pt x="63" y="175"/>
                  <a:pt x="63" y="175"/>
                </a:cubicBezTo>
                <a:close/>
                <a:moveTo>
                  <a:pt x="88" y="201"/>
                </a:moveTo>
                <a:cubicBezTo>
                  <a:pt x="88" y="202"/>
                  <a:pt x="88" y="202"/>
                  <a:pt x="89" y="202"/>
                </a:cubicBezTo>
                <a:cubicBezTo>
                  <a:pt x="89" y="201"/>
                  <a:pt x="89" y="201"/>
                  <a:pt x="90" y="200"/>
                </a:cubicBezTo>
                <a:cubicBezTo>
                  <a:pt x="90" y="200"/>
                  <a:pt x="90" y="200"/>
                  <a:pt x="90" y="199"/>
                </a:cubicBezTo>
                <a:cubicBezTo>
                  <a:pt x="90" y="199"/>
                  <a:pt x="90" y="199"/>
                  <a:pt x="90" y="199"/>
                </a:cubicBezTo>
                <a:cubicBezTo>
                  <a:pt x="89" y="200"/>
                  <a:pt x="89" y="201"/>
                  <a:pt x="88" y="201"/>
                </a:cubicBezTo>
                <a:close/>
                <a:moveTo>
                  <a:pt x="92" y="203"/>
                </a:moveTo>
                <a:cubicBezTo>
                  <a:pt x="92" y="203"/>
                  <a:pt x="93" y="202"/>
                  <a:pt x="93" y="202"/>
                </a:cubicBezTo>
                <a:cubicBezTo>
                  <a:pt x="92" y="202"/>
                  <a:pt x="92" y="202"/>
                  <a:pt x="92" y="203"/>
                </a:cubicBezTo>
                <a:close/>
                <a:moveTo>
                  <a:pt x="62" y="177"/>
                </a:moveTo>
                <a:cubicBezTo>
                  <a:pt x="62" y="177"/>
                  <a:pt x="63" y="177"/>
                  <a:pt x="63" y="176"/>
                </a:cubicBezTo>
                <a:cubicBezTo>
                  <a:pt x="62" y="176"/>
                  <a:pt x="62" y="177"/>
                  <a:pt x="62" y="177"/>
                </a:cubicBezTo>
                <a:close/>
                <a:moveTo>
                  <a:pt x="62" y="177"/>
                </a:moveTo>
                <a:cubicBezTo>
                  <a:pt x="62" y="178"/>
                  <a:pt x="63" y="178"/>
                  <a:pt x="63" y="178"/>
                </a:cubicBezTo>
                <a:cubicBezTo>
                  <a:pt x="63" y="177"/>
                  <a:pt x="63" y="177"/>
                  <a:pt x="62" y="177"/>
                </a:cubicBezTo>
                <a:close/>
                <a:moveTo>
                  <a:pt x="90" y="205"/>
                </a:moveTo>
                <a:cubicBezTo>
                  <a:pt x="90" y="205"/>
                  <a:pt x="92" y="204"/>
                  <a:pt x="91" y="203"/>
                </a:cubicBezTo>
                <a:cubicBezTo>
                  <a:pt x="91" y="203"/>
                  <a:pt x="90" y="204"/>
                  <a:pt x="90" y="205"/>
                </a:cubicBezTo>
                <a:close/>
                <a:moveTo>
                  <a:pt x="89" y="203"/>
                </a:moveTo>
                <a:cubicBezTo>
                  <a:pt x="90" y="204"/>
                  <a:pt x="91" y="202"/>
                  <a:pt x="90" y="202"/>
                </a:cubicBezTo>
                <a:cubicBezTo>
                  <a:pt x="90" y="203"/>
                  <a:pt x="90" y="203"/>
                  <a:pt x="89" y="203"/>
                </a:cubicBezTo>
                <a:close/>
                <a:moveTo>
                  <a:pt x="78" y="193"/>
                </a:moveTo>
                <a:cubicBezTo>
                  <a:pt x="76" y="194"/>
                  <a:pt x="79" y="195"/>
                  <a:pt x="78" y="196"/>
                </a:cubicBezTo>
                <a:cubicBezTo>
                  <a:pt x="79" y="196"/>
                  <a:pt x="80" y="194"/>
                  <a:pt x="80" y="194"/>
                </a:cubicBezTo>
                <a:cubicBezTo>
                  <a:pt x="79" y="195"/>
                  <a:pt x="78" y="194"/>
                  <a:pt x="78" y="193"/>
                </a:cubicBezTo>
                <a:close/>
                <a:moveTo>
                  <a:pt x="70" y="188"/>
                </a:moveTo>
                <a:cubicBezTo>
                  <a:pt x="69" y="188"/>
                  <a:pt x="70" y="188"/>
                  <a:pt x="69" y="188"/>
                </a:cubicBezTo>
                <a:cubicBezTo>
                  <a:pt x="69" y="189"/>
                  <a:pt x="67" y="189"/>
                  <a:pt x="68" y="190"/>
                </a:cubicBezTo>
                <a:cubicBezTo>
                  <a:pt x="68" y="189"/>
                  <a:pt x="70" y="190"/>
                  <a:pt x="70" y="188"/>
                </a:cubicBezTo>
                <a:cubicBezTo>
                  <a:pt x="70" y="188"/>
                  <a:pt x="70" y="188"/>
                  <a:pt x="70" y="188"/>
                </a:cubicBezTo>
                <a:close/>
                <a:moveTo>
                  <a:pt x="66" y="185"/>
                </a:moveTo>
                <a:cubicBezTo>
                  <a:pt x="65" y="185"/>
                  <a:pt x="65" y="185"/>
                  <a:pt x="66" y="186"/>
                </a:cubicBezTo>
                <a:cubicBezTo>
                  <a:pt x="66" y="185"/>
                  <a:pt x="66" y="184"/>
                  <a:pt x="66" y="185"/>
                </a:cubicBezTo>
                <a:close/>
                <a:moveTo>
                  <a:pt x="79" y="199"/>
                </a:moveTo>
                <a:cubicBezTo>
                  <a:pt x="80" y="199"/>
                  <a:pt x="81" y="198"/>
                  <a:pt x="81" y="198"/>
                </a:cubicBezTo>
                <a:cubicBezTo>
                  <a:pt x="80" y="198"/>
                  <a:pt x="79" y="199"/>
                  <a:pt x="79" y="199"/>
                </a:cubicBezTo>
                <a:close/>
                <a:moveTo>
                  <a:pt x="84" y="202"/>
                </a:moveTo>
                <a:cubicBezTo>
                  <a:pt x="85" y="202"/>
                  <a:pt x="85" y="201"/>
                  <a:pt x="85" y="201"/>
                </a:cubicBezTo>
                <a:cubicBezTo>
                  <a:pt x="84" y="201"/>
                  <a:pt x="84" y="202"/>
                  <a:pt x="84" y="202"/>
                </a:cubicBezTo>
                <a:close/>
                <a:moveTo>
                  <a:pt x="58" y="182"/>
                </a:moveTo>
                <a:cubicBezTo>
                  <a:pt x="58" y="183"/>
                  <a:pt x="60" y="181"/>
                  <a:pt x="59" y="181"/>
                </a:cubicBezTo>
                <a:cubicBezTo>
                  <a:pt x="59" y="181"/>
                  <a:pt x="57" y="182"/>
                  <a:pt x="58" y="182"/>
                </a:cubicBezTo>
                <a:close/>
                <a:moveTo>
                  <a:pt x="76" y="197"/>
                </a:moveTo>
                <a:cubicBezTo>
                  <a:pt x="77" y="198"/>
                  <a:pt x="78" y="196"/>
                  <a:pt x="77" y="197"/>
                </a:cubicBezTo>
                <a:cubicBezTo>
                  <a:pt x="77" y="197"/>
                  <a:pt x="76" y="197"/>
                  <a:pt x="76" y="197"/>
                </a:cubicBezTo>
                <a:close/>
                <a:moveTo>
                  <a:pt x="68" y="191"/>
                </a:moveTo>
                <a:cubicBezTo>
                  <a:pt x="68" y="191"/>
                  <a:pt x="68" y="191"/>
                  <a:pt x="69" y="191"/>
                </a:cubicBezTo>
                <a:cubicBezTo>
                  <a:pt x="68" y="191"/>
                  <a:pt x="69" y="190"/>
                  <a:pt x="69" y="190"/>
                </a:cubicBezTo>
                <a:cubicBezTo>
                  <a:pt x="68" y="190"/>
                  <a:pt x="68" y="191"/>
                  <a:pt x="68" y="191"/>
                </a:cubicBezTo>
                <a:close/>
                <a:moveTo>
                  <a:pt x="69" y="194"/>
                </a:moveTo>
                <a:cubicBezTo>
                  <a:pt x="70" y="195"/>
                  <a:pt x="70" y="194"/>
                  <a:pt x="71" y="194"/>
                </a:cubicBezTo>
                <a:cubicBezTo>
                  <a:pt x="70" y="193"/>
                  <a:pt x="71" y="193"/>
                  <a:pt x="70" y="193"/>
                </a:cubicBezTo>
                <a:cubicBezTo>
                  <a:pt x="70" y="193"/>
                  <a:pt x="70" y="194"/>
                  <a:pt x="69" y="194"/>
                </a:cubicBezTo>
                <a:close/>
                <a:moveTo>
                  <a:pt x="64" y="195"/>
                </a:moveTo>
                <a:cubicBezTo>
                  <a:pt x="64" y="194"/>
                  <a:pt x="64" y="195"/>
                  <a:pt x="64" y="194"/>
                </a:cubicBezTo>
                <a:cubicBezTo>
                  <a:pt x="65" y="193"/>
                  <a:pt x="65" y="191"/>
                  <a:pt x="67" y="190"/>
                </a:cubicBezTo>
                <a:cubicBezTo>
                  <a:pt x="67" y="191"/>
                  <a:pt x="67" y="192"/>
                  <a:pt x="68" y="191"/>
                </a:cubicBezTo>
                <a:cubicBezTo>
                  <a:pt x="67" y="193"/>
                  <a:pt x="66" y="194"/>
                  <a:pt x="65" y="195"/>
                </a:cubicBezTo>
                <a:cubicBezTo>
                  <a:pt x="65" y="194"/>
                  <a:pt x="66" y="194"/>
                  <a:pt x="66" y="193"/>
                </a:cubicBezTo>
                <a:cubicBezTo>
                  <a:pt x="65" y="192"/>
                  <a:pt x="65" y="195"/>
                  <a:pt x="64" y="195"/>
                </a:cubicBezTo>
                <a:cubicBezTo>
                  <a:pt x="64" y="195"/>
                  <a:pt x="64" y="195"/>
                  <a:pt x="64" y="195"/>
                </a:cubicBezTo>
                <a:close/>
                <a:moveTo>
                  <a:pt x="66" y="192"/>
                </a:moveTo>
                <a:cubicBezTo>
                  <a:pt x="66" y="192"/>
                  <a:pt x="68" y="192"/>
                  <a:pt x="67" y="191"/>
                </a:cubicBezTo>
                <a:cubicBezTo>
                  <a:pt x="67" y="192"/>
                  <a:pt x="66" y="192"/>
                  <a:pt x="66" y="192"/>
                </a:cubicBezTo>
                <a:close/>
                <a:moveTo>
                  <a:pt x="68" y="196"/>
                </a:moveTo>
                <a:cubicBezTo>
                  <a:pt x="69" y="196"/>
                  <a:pt x="69" y="195"/>
                  <a:pt x="69" y="195"/>
                </a:cubicBezTo>
                <a:cubicBezTo>
                  <a:pt x="69" y="195"/>
                  <a:pt x="68" y="196"/>
                  <a:pt x="68" y="196"/>
                </a:cubicBezTo>
                <a:close/>
                <a:moveTo>
                  <a:pt x="81" y="205"/>
                </a:moveTo>
                <a:cubicBezTo>
                  <a:pt x="81" y="206"/>
                  <a:pt x="80" y="206"/>
                  <a:pt x="80" y="207"/>
                </a:cubicBezTo>
                <a:cubicBezTo>
                  <a:pt x="81" y="207"/>
                  <a:pt x="81" y="206"/>
                  <a:pt x="81" y="205"/>
                </a:cubicBezTo>
                <a:close/>
                <a:moveTo>
                  <a:pt x="85" y="210"/>
                </a:moveTo>
                <a:cubicBezTo>
                  <a:pt x="85" y="211"/>
                  <a:pt x="84" y="211"/>
                  <a:pt x="84" y="213"/>
                </a:cubicBezTo>
                <a:cubicBezTo>
                  <a:pt x="84" y="212"/>
                  <a:pt x="87" y="210"/>
                  <a:pt x="86" y="210"/>
                </a:cubicBezTo>
                <a:cubicBezTo>
                  <a:pt x="86" y="210"/>
                  <a:pt x="85" y="210"/>
                  <a:pt x="85" y="210"/>
                </a:cubicBezTo>
                <a:close/>
                <a:moveTo>
                  <a:pt x="81" y="210"/>
                </a:moveTo>
                <a:cubicBezTo>
                  <a:pt x="82" y="210"/>
                  <a:pt x="83" y="209"/>
                  <a:pt x="83" y="207"/>
                </a:cubicBezTo>
                <a:cubicBezTo>
                  <a:pt x="82" y="208"/>
                  <a:pt x="81" y="209"/>
                  <a:pt x="81" y="210"/>
                </a:cubicBezTo>
                <a:close/>
                <a:moveTo>
                  <a:pt x="67" y="196"/>
                </a:moveTo>
                <a:cubicBezTo>
                  <a:pt x="67" y="195"/>
                  <a:pt x="67" y="195"/>
                  <a:pt x="67" y="195"/>
                </a:cubicBezTo>
                <a:cubicBezTo>
                  <a:pt x="66" y="194"/>
                  <a:pt x="67" y="195"/>
                  <a:pt x="67" y="196"/>
                </a:cubicBezTo>
                <a:close/>
                <a:moveTo>
                  <a:pt x="54" y="186"/>
                </a:moveTo>
                <a:cubicBezTo>
                  <a:pt x="55" y="186"/>
                  <a:pt x="55" y="186"/>
                  <a:pt x="55" y="186"/>
                </a:cubicBezTo>
                <a:cubicBezTo>
                  <a:pt x="55" y="186"/>
                  <a:pt x="55" y="187"/>
                  <a:pt x="55" y="187"/>
                </a:cubicBezTo>
                <a:cubicBezTo>
                  <a:pt x="56" y="186"/>
                  <a:pt x="55" y="186"/>
                  <a:pt x="55" y="186"/>
                </a:cubicBezTo>
                <a:cubicBezTo>
                  <a:pt x="55" y="185"/>
                  <a:pt x="55" y="186"/>
                  <a:pt x="54" y="186"/>
                </a:cubicBezTo>
                <a:cubicBezTo>
                  <a:pt x="54" y="186"/>
                  <a:pt x="54" y="186"/>
                  <a:pt x="54" y="186"/>
                </a:cubicBezTo>
                <a:close/>
                <a:moveTo>
                  <a:pt x="63" y="194"/>
                </a:moveTo>
                <a:cubicBezTo>
                  <a:pt x="63" y="194"/>
                  <a:pt x="64" y="194"/>
                  <a:pt x="64" y="193"/>
                </a:cubicBezTo>
                <a:cubicBezTo>
                  <a:pt x="63" y="193"/>
                  <a:pt x="62" y="194"/>
                  <a:pt x="63" y="194"/>
                </a:cubicBezTo>
                <a:close/>
                <a:moveTo>
                  <a:pt x="68" y="198"/>
                </a:moveTo>
                <a:cubicBezTo>
                  <a:pt x="68" y="197"/>
                  <a:pt x="68" y="197"/>
                  <a:pt x="68" y="197"/>
                </a:cubicBezTo>
                <a:cubicBezTo>
                  <a:pt x="68" y="197"/>
                  <a:pt x="67" y="198"/>
                  <a:pt x="68" y="198"/>
                </a:cubicBezTo>
                <a:close/>
                <a:moveTo>
                  <a:pt x="68" y="200"/>
                </a:moveTo>
                <a:cubicBezTo>
                  <a:pt x="69" y="201"/>
                  <a:pt x="69" y="200"/>
                  <a:pt x="70" y="200"/>
                </a:cubicBezTo>
                <a:cubicBezTo>
                  <a:pt x="70" y="200"/>
                  <a:pt x="70" y="199"/>
                  <a:pt x="70" y="199"/>
                </a:cubicBezTo>
                <a:cubicBezTo>
                  <a:pt x="70" y="199"/>
                  <a:pt x="70" y="199"/>
                  <a:pt x="70" y="198"/>
                </a:cubicBezTo>
                <a:cubicBezTo>
                  <a:pt x="69" y="199"/>
                  <a:pt x="69" y="200"/>
                  <a:pt x="68" y="200"/>
                </a:cubicBezTo>
                <a:close/>
                <a:moveTo>
                  <a:pt x="53" y="186"/>
                </a:moveTo>
                <a:cubicBezTo>
                  <a:pt x="53" y="185"/>
                  <a:pt x="54" y="185"/>
                  <a:pt x="53" y="184"/>
                </a:cubicBezTo>
                <a:cubicBezTo>
                  <a:pt x="53" y="184"/>
                  <a:pt x="53" y="185"/>
                  <a:pt x="53" y="186"/>
                </a:cubicBezTo>
                <a:close/>
                <a:moveTo>
                  <a:pt x="66" y="197"/>
                </a:moveTo>
                <a:cubicBezTo>
                  <a:pt x="67" y="196"/>
                  <a:pt x="66" y="197"/>
                  <a:pt x="66" y="196"/>
                </a:cubicBezTo>
                <a:cubicBezTo>
                  <a:pt x="66" y="196"/>
                  <a:pt x="66" y="197"/>
                  <a:pt x="66" y="197"/>
                </a:cubicBezTo>
                <a:close/>
                <a:moveTo>
                  <a:pt x="71" y="202"/>
                </a:moveTo>
                <a:cubicBezTo>
                  <a:pt x="71" y="202"/>
                  <a:pt x="72" y="202"/>
                  <a:pt x="72" y="201"/>
                </a:cubicBezTo>
                <a:cubicBezTo>
                  <a:pt x="71" y="201"/>
                  <a:pt x="70" y="202"/>
                  <a:pt x="71" y="202"/>
                </a:cubicBezTo>
                <a:close/>
                <a:moveTo>
                  <a:pt x="60" y="193"/>
                </a:moveTo>
                <a:cubicBezTo>
                  <a:pt x="61" y="193"/>
                  <a:pt x="61" y="193"/>
                  <a:pt x="61" y="194"/>
                </a:cubicBezTo>
                <a:cubicBezTo>
                  <a:pt x="61" y="193"/>
                  <a:pt x="61" y="194"/>
                  <a:pt x="61" y="194"/>
                </a:cubicBezTo>
                <a:cubicBezTo>
                  <a:pt x="61" y="194"/>
                  <a:pt x="62" y="193"/>
                  <a:pt x="61" y="193"/>
                </a:cubicBezTo>
                <a:cubicBezTo>
                  <a:pt x="61" y="193"/>
                  <a:pt x="61" y="193"/>
                  <a:pt x="60" y="193"/>
                </a:cubicBezTo>
                <a:close/>
                <a:moveTo>
                  <a:pt x="54" y="191"/>
                </a:moveTo>
                <a:cubicBezTo>
                  <a:pt x="55" y="191"/>
                  <a:pt x="56" y="190"/>
                  <a:pt x="56" y="189"/>
                </a:cubicBezTo>
                <a:cubicBezTo>
                  <a:pt x="55" y="189"/>
                  <a:pt x="54" y="190"/>
                  <a:pt x="54" y="191"/>
                </a:cubicBezTo>
                <a:close/>
                <a:moveTo>
                  <a:pt x="76" y="210"/>
                </a:moveTo>
                <a:cubicBezTo>
                  <a:pt x="77" y="209"/>
                  <a:pt x="78" y="209"/>
                  <a:pt x="78" y="208"/>
                </a:cubicBezTo>
                <a:cubicBezTo>
                  <a:pt x="78" y="208"/>
                  <a:pt x="76" y="210"/>
                  <a:pt x="76" y="210"/>
                </a:cubicBezTo>
                <a:close/>
                <a:moveTo>
                  <a:pt x="75" y="208"/>
                </a:moveTo>
                <a:cubicBezTo>
                  <a:pt x="75" y="208"/>
                  <a:pt x="75" y="208"/>
                  <a:pt x="75" y="208"/>
                </a:cubicBezTo>
                <a:cubicBezTo>
                  <a:pt x="75" y="208"/>
                  <a:pt x="75" y="207"/>
                  <a:pt x="75" y="207"/>
                </a:cubicBezTo>
                <a:cubicBezTo>
                  <a:pt x="75" y="207"/>
                  <a:pt x="75" y="207"/>
                  <a:pt x="75" y="207"/>
                </a:cubicBezTo>
                <a:cubicBezTo>
                  <a:pt x="74" y="207"/>
                  <a:pt x="75" y="207"/>
                  <a:pt x="74" y="208"/>
                </a:cubicBezTo>
                <a:lnTo>
                  <a:pt x="75" y="208"/>
                </a:lnTo>
                <a:close/>
                <a:moveTo>
                  <a:pt x="74" y="206"/>
                </a:moveTo>
                <a:cubicBezTo>
                  <a:pt x="73" y="207"/>
                  <a:pt x="73" y="205"/>
                  <a:pt x="73" y="206"/>
                </a:cubicBezTo>
                <a:cubicBezTo>
                  <a:pt x="73" y="206"/>
                  <a:pt x="72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4" y="207"/>
                  <a:pt x="74" y="206"/>
                  <a:pt x="74" y="206"/>
                </a:cubicBezTo>
                <a:close/>
                <a:moveTo>
                  <a:pt x="50" y="189"/>
                </a:moveTo>
                <a:cubicBezTo>
                  <a:pt x="51" y="190"/>
                  <a:pt x="52" y="189"/>
                  <a:pt x="51" y="188"/>
                </a:cubicBezTo>
                <a:cubicBezTo>
                  <a:pt x="51" y="189"/>
                  <a:pt x="51" y="189"/>
                  <a:pt x="50" y="189"/>
                </a:cubicBezTo>
                <a:close/>
                <a:moveTo>
                  <a:pt x="53" y="192"/>
                </a:moveTo>
                <a:cubicBezTo>
                  <a:pt x="54" y="193"/>
                  <a:pt x="54" y="192"/>
                  <a:pt x="54" y="192"/>
                </a:cubicBezTo>
                <a:cubicBezTo>
                  <a:pt x="54" y="192"/>
                  <a:pt x="54" y="191"/>
                  <a:pt x="54" y="191"/>
                </a:cubicBezTo>
                <a:lnTo>
                  <a:pt x="53" y="192"/>
                </a:lnTo>
                <a:close/>
                <a:moveTo>
                  <a:pt x="73" y="209"/>
                </a:moveTo>
                <a:cubicBezTo>
                  <a:pt x="73" y="209"/>
                  <a:pt x="73" y="210"/>
                  <a:pt x="73" y="209"/>
                </a:cubicBezTo>
                <a:cubicBezTo>
                  <a:pt x="73" y="209"/>
                  <a:pt x="74" y="210"/>
                  <a:pt x="74" y="209"/>
                </a:cubicBezTo>
                <a:cubicBezTo>
                  <a:pt x="74" y="209"/>
                  <a:pt x="74" y="208"/>
                  <a:pt x="74" y="208"/>
                </a:cubicBezTo>
                <a:cubicBezTo>
                  <a:pt x="73" y="209"/>
                  <a:pt x="73" y="208"/>
                  <a:pt x="73" y="208"/>
                </a:cubicBezTo>
                <a:cubicBezTo>
                  <a:pt x="73" y="208"/>
                  <a:pt x="73" y="209"/>
                  <a:pt x="73" y="209"/>
                </a:cubicBezTo>
                <a:cubicBezTo>
                  <a:pt x="73" y="209"/>
                  <a:pt x="73" y="209"/>
                  <a:pt x="73" y="209"/>
                </a:cubicBezTo>
                <a:close/>
                <a:moveTo>
                  <a:pt x="49" y="190"/>
                </a:moveTo>
                <a:cubicBezTo>
                  <a:pt x="49" y="190"/>
                  <a:pt x="50" y="189"/>
                  <a:pt x="50" y="189"/>
                </a:cubicBezTo>
                <a:cubicBezTo>
                  <a:pt x="50" y="189"/>
                  <a:pt x="49" y="190"/>
                  <a:pt x="49" y="190"/>
                </a:cubicBezTo>
                <a:close/>
                <a:moveTo>
                  <a:pt x="52" y="194"/>
                </a:moveTo>
                <a:cubicBezTo>
                  <a:pt x="53" y="194"/>
                  <a:pt x="54" y="193"/>
                  <a:pt x="53" y="192"/>
                </a:cubicBezTo>
                <a:cubicBezTo>
                  <a:pt x="53" y="193"/>
                  <a:pt x="52" y="193"/>
                  <a:pt x="52" y="194"/>
                </a:cubicBezTo>
                <a:close/>
                <a:moveTo>
                  <a:pt x="66" y="205"/>
                </a:moveTo>
                <a:cubicBezTo>
                  <a:pt x="66" y="205"/>
                  <a:pt x="67" y="204"/>
                  <a:pt x="67" y="204"/>
                </a:cubicBezTo>
                <a:cubicBezTo>
                  <a:pt x="67" y="204"/>
                  <a:pt x="67" y="204"/>
                  <a:pt x="67" y="204"/>
                </a:cubicBezTo>
                <a:cubicBezTo>
                  <a:pt x="67" y="204"/>
                  <a:pt x="66" y="205"/>
                  <a:pt x="66" y="205"/>
                </a:cubicBezTo>
                <a:close/>
                <a:moveTo>
                  <a:pt x="58" y="198"/>
                </a:moveTo>
                <a:cubicBezTo>
                  <a:pt x="57" y="198"/>
                  <a:pt x="57" y="197"/>
                  <a:pt x="57" y="197"/>
                </a:cubicBezTo>
                <a:cubicBezTo>
                  <a:pt x="56" y="197"/>
                  <a:pt x="57" y="198"/>
                  <a:pt x="58" y="198"/>
                </a:cubicBezTo>
                <a:close/>
                <a:moveTo>
                  <a:pt x="50" y="197"/>
                </a:moveTo>
                <a:cubicBezTo>
                  <a:pt x="51" y="196"/>
                  <a:pt x="51" y="195"/>
                  <a:pt x="52" y="195"/>
                </a:cubicBezTo>
                <a:cubicBezTo>
                  <a:pt x="52" y="194"/>
                  <a:pt x="52" y="194"/>
                  <a:pt x="52" y="194"/>
                </a:cubicBezTo>
                <a:cubicBezTo>
                  <a:pt x="51" y="195"/>
                  <a:pt x="50" y="196"/>
                  <a:pt x="50" y="197"/>
                </a:cubicBezTo>
                <a:close/>
                <a:moveTo>
                  <a:pt x="79" y="218"/>
                </a:moveTo>
                <a:cubicBezTo>
                  <a:pt x="80" y="219"/>
                  <a:pt x="80" y="218"/>
                  <a:pt x="80" y="218"/>
                </a:cubicBezTo>
                <a:cubicBezTo>
                  <a:pt x="80" y="218"/>
                  <a:pt x="80" y="218"/>
                  <a:pt x="79" y="218"/>
                </a:cubicBezTo>
                <a:close/>
                <a:moveTo>
                  <a:pt x="45" y="192"/>
                </a:moveTo>
                <a:cubicBezTo>
                  <a:pt x="45" y="192"/>
                  <a:pt x="47" y="192"/>
                  <a:pt x="46" y="191"/>
                </a:cubicBezTo>
                <a:cubicBezTo>
                  <a:pt x="46" y="192"/>
                  <a:pt x="45" y="191"/>
                  <a:pt x="45" y="192"/>
                </a:cubicBezTo>
                <a:close/>
                <a:moveTo>
                  <a:pt x="42" y="196"/>
                </a:moveTo>
                <a:cubicBezTo>
                  <a:pt x="44" y="196"/>
                  <a:pt x="43" y="194"/>
                  <a:pt x="45" y="193"/>
                </a:cubicBezTo>
                <a:cubicBezTo>
                  <a:pt x="44" y="193"/>
                  <a:pt x="44" y="193"/>
                  <a:pt x="44" y="193"/>
                </a:cubicBezTo>
                <a:cubicBezTo>
                  <a:pt x="44" y="194"/>
                  <a:pt x="42" y="194"/>
                  <a:pt x="42" y="196"/>
                </a:cubicBezTo>
                <a:close/>
                <a:moveTo>
                  <a:pt x="49" y="199"/>
                </a:moveTo>
                <a:cubicBezTo>
                  <a:pt x="49" y="198"/>
                  <a:pt x="50" y="198"/>
                  <a:pt x="49" y="197"/>
                </a:cubicBezTo>
                <a:cubicBezTo>
                  <a:pt x="49" y="198"/>
                  <a:pt x="48" y="198"/>
                  <a:pt x="49" y="199"/>
                </a:cubicBezTo>
                <a:close/>
                <a:moveTo>
                  <a:pt x="67" y="214"/>
                </a:moveTo>
                <a:cubicBezTo>
                  <a:pt x="67" y="214"/>
                  <a:pt x="66" y="215"/>
                  <a:pt x="67" y="215"/>
                </a:cubicBezTo>
                <a:cubicBezTo>
                  <a:pt x="66" y="214"/>
                  <a:pt x="68" y="214"/>
                  <a:pt x="68" y="214"/>
                </a:cubicBezTo>
                <a:cubicBezTo>
                  <a:pt x="67" y="214"/>
                  <a:pt x="67" y="214"/>
                  <a:pt x="67" y="214"/>
                </a:cubicBezTo>
                <a:close/>
                <a:moveTo>
                  <a:pt x="72" y="224"/>
                </a:moveTo>
                <a:cubicBezTo>
                  <a:pt x="72" y="224"/>
                  <a:pt x="74" y="222"/>
                  <a:pt x="74" y="221"/>
                </a:cubicBezTo>
                <a:cubicBezTo>
                  <a:pt x="74" y="222"/>
                  <a:pt x="72" y="224"/>
                  <a:pt x="72" y="224"/>
                </a:cubicBezTo>
                <a:close/>
                <a:moveTo>
                  <a:pt x="59" y="212"/>
                </a:moveTo>
                <a:cubicBezTo>
                  <a:pt x="59" y="211"/>
                  <a:pt x="61" y="211"/>
                  <a:pt x="61" y="211"/>
                </a:cubicBezTo>
                <a:cubicBezTo>
                  <a:pt x="60" y="211"/>
                  <a:pt x="59" y="211"/>
                  <a:pt x="59" y="212"/>
                </a:cubicBezTo>
                <a:close/>
                <a:moveTo>
                  <a:pt x="71" y="219"/>
                </a:moveTo>
                <a:cubicBezTo>
                  <a:pt x="71" y="219"/>
                  <a:pt x="70" y="219"/>
                  <a:pt x="70" y="218"/>
                </a:cubicBezTo>
                <a:cubicBezTo>
                  <a:pt x="70" y="219"/>
                  <a:pt x="70" y="219"/>
                  <a:pt x="71" y="219"/>
                </a:cubicBezTo>
                <a:close/>
                <a:moveTo>
                  <a:pt x="41" y="197"/>
                </a:moveTo>
                <a:cubicBezTo>
                  <a:pt x="42" y="198"/>
                  <a:pt x="42" y="197"/>
                  <a:pt x="42" y="196"/>
                </a:cubicBezTo>
                <a:cubicBezTo>
                  <a:pt x="42" y="196"/>
                  <a:pt x="42" y="196"/>
                  <a:pt x="41" y="197"/>
                </a:cubicBezTo>
                <a:close/>
                <a:moveTo>
                  <a:pt x="57" y="214"/>
                </a:moveTo>
                <a:cubicBezTo>
                  <a:pt x="57" y="214"/>
                  <a:pt x="57" y="214"/>
                  <a:pt x="57" y="215"/>
                </a:cubicBezTo>
                <a:cubicBezTo>
                  <a:pt x="58" y="214"/>
                  <a:pt x="58" y="214"/>
                  <a:pt x="58" y="213"/>
                </a:cubicBezTo>
                <a:cubicBezTo>
                  <a:pt x="58" y="214"/>
                  <a:pt x="58" y="214"/>
                  <a:pt x="57" y="214"/>
                </a:cubicBezTo>
                <a:close/>
                <a:moveTo>
                  <a:pt x="62" y="219"/>
                </a:moveTo>
                <a:cubicBezTo>
                  <a:pt x="62" y="218"/>
                  <a:pt x="62" y="218"/>
                  <a:pt x="62" y="218"/>
                </a:cubicBezTo>
                <a:cubicBezTo>
                  <a:pt x="61" y="218"/>
                  <a:pt x="61" y="218"/>
                  <a:pt x="62" y="219"/>
                </a:cubicBezTo>
                <a:close/>
                <a:moveTo>
                  <a:pt x="62" y="219"/>
                </a:moveTo>
                <a:cubicBezTo>
                  <a:pt x="62" y="220"/>
                  <a:pt x="63" y="220"/>
                  <a:pt x="63" y="220"/>
                </a:cubicBezTo>
                <a:cubicBezTo>
                  <a:pt x="63" y="220"/>
                  <a:pt x="62" y="219"/>
                  <a:pt x="62" y="219"/>
                </a:cubicBezTo>
                <a:close/>
                <a:moveTo>
                  <a:pt x="43" y="206"/>
                </a:moveTo>
                <a:cubicBezTo>
                  <a:pt x="43" y="205"/>
                  <a:pt x="44" y="204"/>
                  <a:pt x="43" y="204"/>
                </a:cubicBezTo>
                <a:cubicBezTo>
                  <a:pt x="42" y="205"/>
                  <a:pt x="42" y="205"/>
                  <a:pt x="43" y="206"/>
                </a:cubicBezTo>
                <a:close/>
                <a:moveTo>
                  <a:pt x="59" y="218"/>
                </a:moveTo>
                <a:cubicBezTo>
                  <a:pt x="60" y="219"/>
                  <a:pt x="60" y="218"/>
                  <a:pt x="60" y="217"/>
                </a:cubicBezTo>
                <a:cubicBezTo>
                  <a:pt x="60" y="217"/>
                  <a:pt x="59" y="218"/>
                  <a:pt x="59" y="218"/>
                </a:cubicBezTo>
                <a:close/>
                <a:moveTo>
                  <a:pt x="57" y="218"/>
                </a:moveTo>
                <a:cubicBezTo>
                  <a:pt x="57" y="217"/>
                  <a:pt x="58" y="217"/>
                  <a:pt x="58" y="216"/>
                </a:cubicBezTo>
                <a:cubicBezTo>
                  <a:pt x="58" y="216"/>
                  <a:pt x="57" y="217"/>
                  <a:pt x="57" y="218"/>
                </a:cubicBezTo>
                <a:close/>
                <a:moveTo>
                  <a:pt x="64" y="226"/>
                </a:moveTo>
                <a:cubicBezTo>
                  <a:pt x="65" y="225"/>
                  <a:pt x="66" y="225"/>
                  <a:pt x="66" y="224"/>
                </a:cubicBezTo>
                <a:cubicBezTo>
                  <a:pt x="66" y="224"/>
                  <a:pt x="66" y="224"/>
                  <a:pt x="66" y="223"/>
                </a:cubicBezTo>
                <a:cubicBezTo>
                  <a:pt x="65" y="224"/>
                  <a:pt x="64" y="225"/>
                  <a:pt x="64" y="226"/>
                </a:cubicBezTo>
                <a:close/>
                <a:moveTo>
                  <a:pt x="49" y="214"/>
                </a:moveTo>
                <a:cubicBezTo>
                  <a:pt x="50" y="214"/>
                  <a:pt x="51" y="213"/>
                  <a:pt x="51" y="212"/>
                </a:cubicBezTo>
                <a:cubicBezTo>
                  <a:pt x="50" y="213"/>
                  <a:pt x="49" y="213"/>
                  <a:pt x="49" y="214"/>
                </a:cubicBezTo>
                <a:close/>
                <a:moveTo>
                  <a:pt x="57" y="221"/>
                </a:moveTo>
                <a:cubicBezTo>
                  <a:pt x="58" y="220"/>
                  <a:pt x="59" y="220"/>
                  <a:pt x="59" y="219"/>
                </a:cubicBezTo>
                <a:cubicBezTo>
                  <a:pt x="58" y="219"/>
                  <a:pt x="56" y="220"/>
                  <a:pt x="57" y="221"/>
                </a:cubicBezTo>
                <a:close/>
                <a:moveTo>
                  <a:pt x="41" y="208"/>
                </a:moveTo>
                <a:cubicBezTo>
                  <a:pt x="41" y="208"/>
                  <a:pt x="41" y="207"/>
                  <a:pt x="41" y="207"/>
                </a:cubicBezTo>
                <a:cubicBezTo>
                  <a:pt x="41" y="207"/>
                  <a:pt x="40" y="208"/>
                  <a:pt x="41" y="208"/>
                </a:cubicBezTo>
                <a:close/>
                <a:moveTo>
                  <a:pt x="62" y="226"/>
                </a:moveTo>
                <a:cubicBezTo>
                  <a:pt x="62" y="225"/>
                  <a:pt x="63" y="225"/>
                  <a:pt x="62" y="224"/>
                </a:cubicBezTo>
                <a:cubicBezTo>
                  <a:pt x="62" y="225"/>
                  <a:pt x="61" y="225"/>
                  <a:pt x="62" y="226"/>
                </a:cubicBezTo>
                <a:close/>
                <a:moveTo>
                  <a:pt x="53" y="219"/>
                </a:moveTo>
                <a:cubicBezTo>
                  <a:pt x="54" y="219"/>
                  <a:pt x="54" y="220"/>
                  <a:pt x="55" y="219"/>
                </a:cubicBezTo>
                <a:cubicBezTo>
                  <a:pt x="54" y="219"/>
                  <a:pt x="54" y="218"/>
                  <a:pt x="53" y="219"/>
                </a:cubicBezTo>
                <a:close/>
                <a:moveTo>
                  <a:pt x="68" y="232"/>
                </a:moveTo>
                <a:cubicBezTo>
                  <a:pt x="69" y="233"/>
                  <a:pt x="70" y="231"/>
                  <a:pt x="69" y="231"/>
                </a:cubicBezTo>
                <a:cubicBezTo>
                  <a:pt x="69" y="231"/>
                  <a:pt x="69" y="232"/>
                  <a:pt x="68" y="232"/>
                </a:cubicBezTo>
                <a:close/>
                <a:moveTo>
                  <a:pt x="55" y="224"/>
                </a:moveTo>
                <a:cubicBezTo>
                  <a:pt x="56" y="223"/>
                  <a:pt x="57" y="222"/>
                  <a:pt x="57" y="221"/>
                </a:cubicBezTo>
                <a:cubicBezTo>
                  <a:pt x="56" y="222"/>
                  <a:pt x="56" y="223"/>
                  <a:pt x="55" y="224"/>
                </a:cubicBezTo>
                <a:close/>
                <a:moveTo>
                  <a:pt x="62" y="228"/>
                </a:moveTo>
                <a:cubicBezTo>
                  <a:pt x="63" y="228"/>
                  <a:pt x="63" y="228"/>
                  <a:pt x="64" y="228"/>
                </a:cubicBezTo>
                <a:cubicBezTo>
                  <a:pt x="63" y="227"/>
                  <a:pt x="64" y="227"/>
                  <a:pt x="63" y="226"/>
                </a:cubicBezTo>
                <a:cubicBezTo>
                  <a:pt x="63" y="227"/>
                  <a:pt x="62" y="228"/>
                  <a:pt x="62" y="228"/>
                </a:cubicBezTo>
                <a:close/>
                <a:moveTo>
                  <a:pt x="53" y="220"/>
                </a:moveTo>
                <a:cubicBezTo>
                  <a:pt x="53" y="220"/>
                  <a:pt x="54" y="219"/>
                  <a:pt x="53" y="219"/>
                </a:cubicBezTo>
                <a:cubicBezTo>
                  <a:pt x="52" y="221"/>
                  <a:pt x="51" y="222"/>
                  <a:pt x="53" y="220"/>
                </a:cubicBezTo>
                <a:close/>
                <a:moveTo>
                  <a:pt x="47" y="216"/>
                </a:moveTo>
                <a:cubicBezTo>
                  <a:pt x="47" y="217"/>
                  <a:pt x="46" y="217"/>
                  <a:pt x="47" y="218"/>
                </a:cubicBezTo>
                <a:cubicBezTo>
                  <a:pt x="47" y="217"/>
                  <a:pt x="47" y="217"/>
                  <a:pt x="48" y="217"/>
                </a:cubicBezTo>
                <a:cubicBezTo>
                  <a:pt x="48" y="216"/>
                  <a:pt x="48" y="216"/>
                  <a:pt x="47" y="216"/>
                </a:cubicBezTo>
                <a:close/>
                <a:moveTo>
                  <a:pt x="59" y="227"/>
                </a:moveTo>
                <a:cubicBezTo>
                  <a:pt x="59" y="227"/>
                  <a:pt x="59" y="227"/>
                  <a:pt x="59" y="228"/>
                </a:cubicBezTo>
                <a:cubicBezTo>
                  <a:pt x="59" y="227"/>
                  <a:pt x="60" y="227"/>
                  <a:pt x="60" y="226"/>
                </a:cubicBezTo>
                <a:cubicBezTo>
                  <a:pt x="60" y="227"/>
                  <a:pt x="59" y="226"/>
                  <a:pt x="59" y="227"/>
                </a:cubicBezTo>
                <a:close/>
                <a:moveTo>
                  <a:pt x="57" y="227"/>
                </a:moveTo>
                <a:cubicBezTo>
                  <a:pt x="57" y="227"/>
                  <a:pt x="59" y="226"/>
                  <a:pt x="58" y="226"/>
                </a:cubicBezTo>
                <a:cubicBezTo>
                  <a:pt x="58" y="226"/>
                  <a:pt x="57" y="226"/>
                  <a:pt x="57" y="227"/>
                </a:cubicBezTo>
                <a:close/>
                <a:moveTo>
                  <a:pt x="51" y="223"/>
                </a:moveTo>
                <a:cubicBezTo>
                  <a:pt x="51" y="222"/>
                  <a:pt x="52" y="222"/>
                  <a:pt x="52" y="221"/>
                </a:cubicBezTo>
                <a:cubicBezTo>
                  <a:pt x="51" y="222"/>
                  <a:pt x="51" y="222"/>
                  <a:pt x="51" y="223"/>
                </a:cubicBezTo>
                <a:close/>
                <a:moveTo>
                  <a:pt x="33" y="211"/>
                </a:moveTo>
                <a:cubicBezTo>
                  <a:pt x="34" y="212"/>
                  <a:pt x="35" y="210"/>
                  <a:pt x="35" y="209"/>
                </a:cubicBezTo>
                <a:cubicBezTo>
                  <a:pt x="34" y="210"/>
                  <a:pt x="34" y="211"/>
                  <a:pt x="33" y="211"/>
                </a:cubicBezTo>
                <a:close/>
                <a:moveTo>
                  <a:pt x="40" y="214"/>
                </a:moveTo>
                <a:cubicBezTo>
                  <a:pt x="40" y="214"/>
                  <a:pt x="41" y="214"/>
                  <a:pt x="40" y="213"/>
                </a:cubicBezTo>
                <a:cubicBezTo>
                  <a:pt x="40" y="213"/>
                  <a:pt x="39" y="214"/>
                  <a:pt x="40" y="214"/>
                </a:cubicBezTo>
                <a:close/>
                <a:moveTo>
                  <a:pt x="35" y="215"/>
                </a:moveTo>
                <a:cubicBezTo>
                  <a:pt x="36" y="215"/>
                  <a:pt x="37" y="214"/>
                  <a:pt x="37" y="213"/>
                </a:cubicBezTo>
                <a:cubicBezTo>
                  <a:pt x="36" y="214"/>
                  <a:pt x="35" y="215"/>
                  <a:pt x="35" y="215"/>
                </a:cubicBezTo>
                <a:close/>
                <a:moveTo>
                  <a:pt x="48" y="223"/>
                </a:moveTo>
                <a:cubicBezTo>
                  <a:pt x="49" y="223"/>
                  <a:pt x="49" y="222"/>
                  <a:pt x="48" y="222"/>
                </a:cubicBezTo>
                <a:cubicBezTo>
                  <a:pt x="48" y="222"/>
                  <a:pt x="48" y="223"/>
                  <a:pt x="48" y="223"/>
                </a:cubicBezTo>
                <a:close/>
                <a:moveTo>
                  <a:pt x="38" y="217"/>
                </a:moveTo>
                <a:cubicBezTo>
                  <a:pt x="38" y="217"/>
                  <a:pt x="39" y="216"/>
                  <a:pt x="39" y="215"/>
                </a:cubicBezTo>
                <a:lnTo>
                  <a:pt x="38" y="217"/>
                </a:lnTo>
                <a:close/>
                <a:moveTo>
                  <a:pt x="43" y="223"/>
                </a:moveTo>
                <a:cubicBezTo>
                  <a:pt x="43" y="223"/>
                  <a:pt x="45" y="222"/>
                  <a:pt x="44" y="221"/>
                </a:cubicBezTo>
                <a:cubicBezTo>
                  <a:pt x="44" y="222"/>
                  <a:pt x="42" y="223"/>
                  <a:pt x="43" y="223"/>
                </a:cubicBezTo>
                <a:close/>
                <a:moveTo>
                  <a:pt x="62" y="237"/>
                </a:moveTo>
                <a:cubicBezTo>
                  <a:pt x="62" y="237"/>
                  <a:pt x="63" y="236"/>
                  <a:pt x="62" y="235"/>
                </a:cubicBezTo>
                <a:cubicBezTo>
                  <a:pt x="62" y="236"/>
                  <a:pt x="61" y="237"/>
                  <a:pt x="62" y="237"/>
                </a:cubicBezTo>
                <a:close/>
                <a:moveTo>
                  <a:pt x="30" y="213"/>
                </a:moveTo>
                <a:cubicBezTo>
                  <a:pt x="30" y="212"/>
                  <a:pt x="31" y="212"/>
                  <a:pt x="30" y="211"/>
                </a:cubicBezTo>
                <a:cubicBezTo>
                  <a:pt x="30" y="212"/>
                  <a:pt x="29" y="212"/>
                  <a:pt x="30" y="213"/>
                </a:cubicBezTo>
                <a:close/>
                <a:moveTo>
                  <a:pt x="49" y="228"/>
                </a:moveTo>
                <a:cubicBezTo>
                  <a:pt x="50" y="229"/>
                  <a:pt x="50" y="227"/>
                  <a:pt x="50" y="228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0" y="228"/>
                  <a:pt x="49" y="227"/>
                  <a:pt x="49" y="228"/>
                </a:cubicBezTo>
                <a:close/>
                <a:moveTo>
                  <a:pt x="44" y="225"/>
                </a:moveTo>
                <a:cubicBezTo>
                  <a:pt x="44" y="224"/>
                  <a:pt x="45" y="224"/>
                  <a:pt x="44" y="223"/>
                </a:cubicBezTo>
                <a:cubicBezTo>
                  <a:pt x="44" y="224"/>
                  <a:pt x="44" y="224"/>
                  <a:pt x="44" y="225"/>
                </a:cubicBezTo>
                <a:close/>
                <a:moveTo>
                  <a:pt x="64" y="238"/>
                </a:moveTo>
                <a:cubicBezTo>
                  <a:pt x="63" y="238"/>
                  <a:pt x="63" y="239"/>
                  <a:pt x="63" y="239"/>
                </a:cubicBezTo>
                <a:cubicBezTo>
                  <a:pt x="64" y="239"/>
                  <a:pt x="64" y="239"/>
                  <a:pt x="64" y="238"/>
                </a:cubicBezTo>
                <a:close/>
                <a:moveTo>
                  <a:pt x="29" y="217"/>
                </a:moveTo>
                <a:cubicBezTo>
                  <a:pt x="30" y="217"/>
                  <a:pt x="30" y="216"/>
                  <a:pt x="30" y="215"/>
                </a:cubicBezTo>
                <a:cubicBezTo>
                  <a:pt x="30" y="216"/>
                  <a:pt x="29" y="216"/>
                  <a:pt x="29" y="217"/>
                </a:cubicBezTo>
                <a:close/>
                <a:moveTo>
                  <a:pt x="55" y="237"/>
                </a:moveTo>
                <a:cubicBezTo>
                  <a:pt x="55" y="236"/>
                  <a:pt x="56" y="236"/>
                  <a:pt x="56" y="235"/>
                </a:cubicBezTo>
                <a:cubicBezTo>
                  <a:pt x="55" y="235"/>
                  <a:pt x="55" y="236"/>
                  <a:pt x="55" y="237"/>
                </a:cubicBezTo>
                <a:close/>
                <a:moveTo>
                  <a:pt x="47" y="231"/>
                </a:moveTo>
                <a:cubicBezTo>
                  <a:pt x="47" y="232"/>
                  <a:pt x="48" y="230"/>
                  <a:pt x="48" y="230"/>
                </a:cubicBezTo>
                <a:cubicBezTo>
                  <a:pt x="47" y="230"/>
                  <a:pt x="47" y="230"/>
                  <a:pt x="47" y="231"/>
                </a:cubicBezTo>
                <a:close/>
                <a:moveTo>
                  <a:pt x="61" y="240"/>
                </a:moveTo>
                <a:cubicBezTo>
                  <a:pt x="62" y="240"/>
                  <a:pt x="61" y="240"/>
                  <a:pt x="61" y="239"/>
                </a:cubicBezTo>
                <a:cubicBezTo>
                  <a:pt x="61" y="240"/>
                  <a:pt x="61" y="240"/>
                  <a:pt x="61" y="240"/>
                </a:cubicBezTo>
                <a:close/>
                <a:moveTo>
                  <a:pt x="34" y="223"/>
                </a:moveTo>
                <a:cubicBezTo>
                  <a:pt x="34" y="222"/>
                  <a:pt x="35" y="222"/>
                  <a:pt x="35" y="221"/>
                </a:cubicBezTo>
                <a:cubicBezTo>
                  <a:pt x="34" y="221"/>
                  <a:pt x="33" y="222"/>
                  <a:pt x="34" y="223"/>
                </a:cubicBezTo>
                <a:close/>
                <a:moveTo>
                  <a:pt x="26" y="217"/>
                </a:moveTo>
                <a:cubicBezTo>
                  <a:pt x="26" y="217"/>
                  <a:pt x="27" y="217"/>
                  <a:pt x="26" y="216"/>
                </a:cubicBezTo>
                <a:cubicBezTo>
                  <a:pt x="26" y="217"/>
                  <a:pt x="26" y="217"/>
                  <a:pt x="26" y="217"/>
                </a:cubicBezTo>
                <a:close/>
                <a:moveTo>
                  <a:pt x="32" y="222"/>
                </a:moveTo>
                <a:cubicBezTo>
                  <a:pt x="33" y="222"/>
                  <a:pt x="33" y="222"/>
                  <a:pt x="33" y="221"/>
                </a:cubicBezTo>
                <a:cubicBezTo>
                  <a:pt x="32" y="221"/>
                  <a:pt x="32" y="222"/>
                  <a:pt x="32" y="222"/>
                </a:cubicBezTo>
                <a:close/>
                <a:moveTo>
                  <a:pt x="27" y="218"/>
                </a:moveTo>
                <a:cubicBezTo>
                  <a:pt x="27" y="219"/>
                  <a:pt x="26" y="220"/>
                  <a:pt x="27" y="221"/>
                </a:cubicBezTo>
                <a:cubicBezTo>
                  <a:pt x="27" y="220"/>
                  <a:pt x="27" y="220"/>
                  <a:pt x="28" y="219"/>
                </a:cubicBezTo>
                <a:cubicBezTo>
                  <a:pt x="28" y="219"/>
                  <a:pt x="28" y="218"/>
                  <a:pt x="27" y="218"/>
                </a:cubicBezTo>
                <a:close/>
                <a:moveTo>
                  <a:pt x="32" y="225"/>
                </a:moveTo>
                <a:cubicBezTo>
                  <a:pt x="33" y="224"/>
                  <a:pt x="33" y="224"/>
                  <a:pt x="34" y="223"/>
                </a:cubicBezTo>
                <a:cubicBezTo>
                  <a:pt x="33" y="223"/>
                  <a:pt x="33" y="223"/>
                  <a:pt x="33" y="223"/>
                </a:cubicBezTo>
                <a:cubicBezTo>
                  <a:pt x="32" y="223"/>
                  <a:pt x="32" y="224"/>
                  <a:pt x="32" y="225"/>
                </a:cubicBezTo>
                <a:close/>
                <a:moveTo>
                  <a:pt x="23" y="221"/>
                </a:moveTo>
                <a:cubicBezTo>
                  <a:pt x="24" y="220"/>
                  <a:pt x="25" y="219"/>
                  <a:pt x="26" y="217"/>
                </a:cubicBezTo>
                <a:cubicBezTo>
                  <a:pt x="25" y="219"/>
                  <a:pt x="24" y="220"/>
                  <a:pt x="23" y="221"/>
                </a:cubicBezTo>
                <a:close/>
                <a:moveTo>
                  <a:pt x="57" y="242"/>
                </a:moveTo>
                <a:cubicBezTo>
                  <a:pt x="58" y="243"/>
                  <a:pt x="58" y="243"/>
                  <a:pt x="58" y="243"/>
                </a:cubicBezTo>
                <a:cubicBezTo>
                  <a:pt x="59" y="243"/>
                  <a:pt x="58" y="242"/>
                  <a:pt x="58" y="241"/>
                </a:cubicBezTo>
                <a:lnTo>
                  <a:pt x="57" y="242"/>
                </a:lnTo>
                <a:close/>
                <a:moveTo>
                  <a:pt x="25" y="220"/>
                </a:moveTo>
                <a:cubicBezTo>
                  <a:pt x="26" y="220"/>
                  <a:pt x="26" y="219"/>
                  <a:pt x="26" y="218"/>
                </a:cubicBezTo>
                <a:cubicBezTo>
                  <a:pt x="26" y="218"/>
                  <a:pt x="25" y="219"/>
                  <a:pt x="25" y="220"/>
                </a:cubicBezTo>
                <a:close/>
                <a:moveTo>
                  <a:pt x="44" y="234"/>
                </a:moveTo>
                <a:cubicBezTo>
                  <a:pt x="44" y="234"/>
                  <a:pt x="45" y="233"/>
                  <a:pt x="45" y="233"/>
                </a:cubicBezTo>
                <a:cubicBezTo>
                  <a:pt x="44" y="233"/>
                  <a:pt x="43" y="233"/>
                  <a:pt x="44" y="234"/>
                </a:cubicBezTo>
                <a:close/>
                <a:moveTo>
                  <a:pt x="49" y="243"/>
                </a:moveTo>
                <a:cubicBezTo>
                  <a:pt x="50" y="242"/>
                  <a:pt x="52" y="240"/>
                  <a:pt x="52" y="239"/>
                </a:cubicBezTo>
                <a:cubicBezTo>
                  <a:pt x="51" y="241"/>
                  <a:pt x="49" y="241"/>
                  <a:pt x="49" y="243"/>
                </a:cubicBezTo>
                <a:close/>
                <a:moveTo>
                  <a:pt x="31" y="225"/>
                </a:moveTo>
                <a:cubicBezTo>
                  <a:pt x="32" y="225"/>
                  <a:pt x="31" y="226"/>
                  <a:pt x="31" y="226"/>
                </a:cubicBezTo>
                <a:cubicBezTo>
                  <a:pt x="32" y="226"/>
                  <a:pt x="32" y="226"/>
                  <a:pt x="32" y="225"/>
                </a:cubicBezTo>
                <a:cubicBezTo>
                  <a:pt x="32" y="225"/>
                  <a:pt x="32" y="225"/>
                  <a:pt x="31" y="225"/>
                </a:cubicBezTo>
                <a:close/>
                <a:moveTo>
                  <a:pt x="42" y="242"/>
                </a:moveTo>
                <a:cubicBezTo>
                  <a:pt x="43" y="241"/>
                  <a:pt x="45" y="239"/>
                  <a:pt x="46" y="236"/>
                </a:cubicBezTo>
                <a:cubicBezTo>
                  <a:pt x="46" y="237"/>
                  <a:pt x="46" y="238"/>
                  <a:pt x="47" y="237"/>
                </a:cubicBezTo>
                <a:cubicBezTo>
                  <a:pt x="47" y="236"/>
                  <a:pt x="46" y="236"/>
                  <a:pt x="46" y="235"/>
                </a:cubicBezTo>
                <a:cubicBezTo>
                  <a:pt x="45" y="238"/>
                  <a:pt x="42" y="240"/>
                  <a:pt x="42" y="242"/>
                </a:cubicBezTo>
                <a:close/>
                <a:moveTo>
                  <a:pt x="23" y="220"/>
                </a:moveTo>
                <a:cubicBezTo>
                  <a:pt x="23" y="220"/>
                  <a:pt x="22" y="220"/>
                  <a:pt x="23" y="219"/>
                </a:cubicBezTo>
                <a:cubicBezTo>
                  <a:pt x="22" y="219"/>
                  <a:pt x="22" y="219"/>
                  <a:pt x="22" y="219"/>
                </a:cubicBezTo>
                <a:cubicBezTo>
                  <a:pt x="22" y="219"/>
                  <a:pt x="22" y="221"/>
                  <a:pt x="23" y="220"/>
                </a:cubicBezTo>
                <a:close/>
                <a:moveTo>
                  <a:pt x="30" y="227"/>
                </a:moveTo>
                <a:cubicBezTo>
                  <a:pt x="30" y="227"/>
                  <a:pt x="30" y="227"/>
                  <a:pt x="31" y="228"/>
                </a:cubicBezTo>
                <a:cubicBezTo>
                  <a:pt x="31" y="227"/>
                  <a:pt x="31" y="227"/>
                  <a:pt x="31" y="227"/>
                </a:cubicBezTo>
                <a:cubicBezTo>
                  <a:pt x="31" y="226"/>
                  <a:pt x="32" y="227"/>
                  <a:pt x="31" y="226"/>
                </a:cubicBezTo>
                <a:cubicBezTo>
                  <a:pt x="31" y="226"/>
                  <a:pt x="31" y="226"/>
                  <a:pt x="30" y="227"/>
                </a:cubicBezTo>
                <a:close/>
                <a:moveTo>
                  <a:pt x="31" y="230"/>
                </a:moveTo>
                <a:cubicBezTo>
                  <a:pt x="32" y="229"/>
                  <a:pt x="33" y="228"/>
                  <a:pt x="33" y="228"/>
                </a:cubicBezTo>
                <a:cubicBezTo>
                  <a:pt x="32" y="228"/>
                  <a:pt x="31" y="229"/>
                  <a:pt x="31" y="230"/>
                </a:cubicBezTo>
                <a:close/>
                <a:moveTo>
                  <a:pt x="57" y="246"/>
                </a:moveTo>
                <a:cubicBezTo>
                  <a:pt x="57" y="246"/>
                  <a:pt x="57" y="246"/>
                  <a:pt x="58" y="246"/>
                </a:cubicBezTo>
                <a:cubicBezTo>
                  <a:pt x="57" y="246"/>
                  <a:pt x="57" y="246"/>
                  <a:pt x="57" y="246"/>
                </a:cubicBezTo>
                <a:close/>
                <a:moveTo>
                  <a:pt x="21" y="224"/>
                </a:moveTo>
                <a:cubicBezTo>
                  <a:pt x="22" y="224"/>
                  <a:pt x="22" y="223"/>
                  <a:pt x="22" y="223"/>
                </a:cubicBezTo>
                <a:cubicBezTo>
                  <a:pt x="22" y="223"/>
                  <a:pt x="21" y="224"/>
                  <a:pt x="21" y="224"/>
                </a:cubicBezTo>
                <a:close/>
                <a:moveTo>
                  <a:pt x="52" y="249"/>
                </a:moveTo>
                <a:cubicBezTo>
                  <a:pt x="52" y="249"/>
                  <a:pt x="52" y="249"/>
                  <a:pt x="51" y="249"/>
                </a:cubicBezTo>
                <a:cubicBezTo>
                  <a:pt x="52" y="250"/>
                  <a:pt x="52" y="249"/>
                  <a:pt x="52" y="250"/>
                </a:cubicBezTo>
                <a:cubicBezTo>
                  <a:pt x="53" y="248"/>
                  <a:pt x="53" y="248"/>
                  <a:pt x="54" y="247"/>
                </a:cubicBezTo>
                <a:cubicBezTo>
                  <a:pt x="53" y="247"/>
                  <a:pt x="52" y="248"/>
                  <a:pt x="52" y="249"/>
                </a:cubicBezTo>
                <a:close/>
                <a:moveTo>
                  <a:pt x="29" y="230"/>
                </a:moveTo>
                <a:cubicBezTo>
                  <a:pt x="29" y="230"/>
                  <a:pt x="29" y="230"/>
                  <a:pt x="29" y="230"/>
                </a:cubicBezTo>
                <a:cubicBezTo>
                  <a:pt x="29" y="229"/>
                  <a:pt x="28" y="230"/>
                  <a:pt x="29" y="230"/>
                </a:cubicBezTo>
                <a:close/>
                <a:moveTo>
                  <a:pt x="54" y="249"/>
                </a:moveTo>
                <a:cubicBezTo>
                  <a:pt x="55" y="250"/>
                  <a:pt x="54" y="251"/>
                  <a:pt x="55" y="250"/>
                </a:cubicBezTo>
                <a:cubicBezTo>
                  <a:pt x="56" y="251"/>
                  <a:pt x="55" y="250"/>
                  <a:pt x="55" y="251"/>
                </a:cubicBezTo>
                <a:cubicBezTo>
                  <a:pt x="56" y="251"/>
                  <a:pt x="56" y="250"/>
                  <a:pt x="56" y="250"/>
                </a:cubicBezTo>
                <a:cubicBezTo>
                  <a:pt x="55" y="249"/>
                  <a:pt x="55" y="249"/>
                  <a:pt x="54" y="249"/>
                </a:cubicBezTo>
                <a:close/>
                <a:moveTo>
                  <a:pt x="47" y="245"/>
                </a:moveTo>
                <a:cubicBezTo>
                  <a:pt x="47" y="246"/>
                  <a:pt x="46" y="246"/>
                  <a:pt x="47" y="246"/>
                </a:cubicBezTo>
                <a:cubicBezTo>
                  <a:pt x="48" y="245"/>
                  <a:pt x="48" y="245"/>
                  <a:pt x="48" y="245"/>
                </a:cubicBezTo>
                <a:cubicBezTo>
                  <a:pt x="48" y="245"/>
                  <a:pt x="47" y="245"/>
                  <a:pt x="47" y="245"/>
                </a:cubicBezTo>
                <a:close/>
                <a:moveTo>
                  <a:pt x="28" y="231"/>
                </a:moveTo>
                <a:cubicBezTo>
                  <a:pt x="28" y="232"/>
                  <a:pt x="27" y="232"/>
                  <a:pt x="27" y="233"/>
                </a:cubicBezTo>
                <a:cubicBezTo>
                  <a:pt x="28" y="232"/>
                  <a:pt x="28" y="231"/>
                  <a:pt x="28" y="231"/>
                </a:cubicBezTo>
                <a:cubicBezTo>
                  <a:pt x="28" y="231"/>
                  <a:pt x="28" y="230"/>
                  <a:pt x="28" y="231"/>
                </a:cubicBezTo>
                <a:close/>
                <a:moveTo>
                  <a:pt x="28" y="235"/>
                </a:moveTo>
                <a:cubicBezTo>
                  <a:pt x="29" y="234"/>
                  <a:pt x="30" y="233"/>
                  <a:pt x="29" y="232"/>
                </a:cubicBezTo>
                <a:cubicBezTo>
                  <a:pt x="29" y="233"/>
                  <a:pt x="29" y="234"/>
                  <a:pt x="28" y="235"/>
                </a:cubicBezTo>
                <a:close/>
                <a:moveTo>
                  <a:pt x="48" y="247"/>
                </a:moveTo>
                <a:cubicBezTo>
                  <a:pt x="48" y="248"/>
                  <a:pt x="49" y="248"/>
                  <a:pt x="49" y="248"/>
                </a:cubicBezTo>
                <a:cubicBezTo>
                  <a:pt x="49" y="248"/>
                  <a:pt x="49" y="248"/>
                  <a:pt x="49" y="248"/>
                </a:cubicBezTo>
                <a:cubicBezTo>
                  <a:pt x="49" y="248"/>
                  <a:pt x="49" y="247"/>
                  <a:pt x="48" y="247"/>
                </a:cubicBezTo>
                <a:close/>
                <a:moveTo>
                  <a:pt x="17" y="226"/>
                </a:moveTo>
                <a:cubicBezTo>
                  <a:pt x="17" y="226"/>
                  <a:pt x="17" y="227"/>
                  <a:pt x="17" y="227"/>
                </a:cubicBezTo>
                <a:cubicBezTo>
                  <a:pt x="17" y="226"/>
                  <a:pt x="18" y="227"/>
                  <a:pt x="18" y="227"/>
                </a:cubicBezTo>
                <a:cubicBezTo>
                  <a:pt x="18" y="226"/>
                  <a:pt x="17" y="226"/>
                  <a:pt x="17" y="225"/>
                </a:cubicBezTo>
                <a:lnTo>
                  <a:pt x="17" y="226"/>
                </a:lnTo>
                <a:close/>
                <a:moveTo>
                  <a:pt x="41" y="244"/>
                </a:moveTo>
                <a:cubicBezTo>
                  <a:pt x="41" y="244"/>
                  <a:pt x="42" y="243"/>
                  <a:pt x="41" y="243"/>
                </a:cubicBezTo>
                <a:cubicBezTo>
                  <a:pt x="40" y="245"/>
                  <a:pt x="39" y="245"/>
                  <a:pt x="41" y="244"/>
                </a:cubicBezTo>
                <a:close/>
                <a:moveTo>
                  <a:pt x="50" y="252"/>
                </a:moveTo>
                <a:cubicBezTo>
                  <a:pt x="50" y="251"/>
                  <a:pt x="51" y="252"/>
                  <a:pt x="51" y="252"/>
                </a:cubicBezTo>
                <a:cubicBezTo>
                  <a:pt x="50" y="252"/>
                  <a:pt x="51" y="251"/>
                  <a:pt x="51" y="250"/>
                </a:cubicBezTo>
                <a:cubicBezTo>
                  <a:pt x="51" y="252"/>
                  <a:pt x="49" y="251"/>
                  <a:pt x="50" y="252"/>
                </a:cubicBezTo>
                <a:close/>
                <a:moveTo>
                  <a:pt x="42" y="245"/>
                </a:moveTo>
                <a:cubicBezTo>
                  <a:pt x="42" y="246"/>
                  <a:pt x="42" y="246"/>
                  <a:pt x="43" y="246"/>
                </a:cubicBezTo>
                <a:cubicBezTo>
                  <a:pt x="43" y="245"/>
                  <a:pt x="42" y="245"/>
                  <a:pt x="42" y="245"/>
                </a:cubicBezTo>
                <a:close/>
                <a:moveTo>
                  <a:pt x="53" y="255"/>
                </a:moveTo>
                <a:cubicBezTo>
                  <a:pt x="53" y="254"/>
                  <a:pt x="54" y="254"/>
                  <a:pt x="53" y="253"/>
                </a:cubicBezTo>
                <a:cubicBezTo>
                  <a:pt x="53" y="254"/>
                  <a:pt x="52" y="254"/>
                  <a:pt x="53" y="255"/>
                </a:cubicBezTo>
                <a:close/>
                <a:moveTo>
                  <a:pt x="40" y="247"/>
                </a:moveTo>
                <a:cubicBezTo>
                  <a:pt x="41" y="247"/>
                  <a:pt x="42" y="246"/>
                  <a:pt x="41" y="246"/>
                </a:cubicBezTo>
                <a:lnTo>
                  <a:pt x="40" y="247"/>
                </a:lnTo>
                <a:close/>
                <a:moveTo>
                  <a:pt x="43" y="248"/>
                </a:moveTo>
                <a:cubicBezTo>
                  <a:pt x="44" y="249"/>
                  <a:pt x="44" y="249"/>
                  <a:pt x="44" y="249"/>
                </a:cubicBezTo>
                <a:cubicBezTo>
                  <a:pt x="44" y="248"/>
                  <a:pt x="43" y="248"/>
                  <a:pt x="43" y="248"/>
                </a:cubicBezTo>
                <a:close/>
                <a:moveTo>
                  <a:pt x="15" y="234"/>
                </a:moveTo>
                <a:cubicBezTo>
                  <a:pt x="15" y="233"/>
                  <a:pt x="15" y="233"/>
                  <a:pt x="15" y="232"/>
                </a:cubicBezTo>
                <a:cubicBezTo>
                  <a:pt x="15" y="233"/>
                  <a:pt x="15" y="233"/>
                  <a:pt x="15" y="233"/>
                </a:cubicBezTo>
                <a:cubicBezTo>
                  <a:pt x="16" y="234"/>
                  <a:pt x="16" y="234"/>
                  <a:pt x="16" y="234"/>
                </a:cubicBezTo>
                <a:cubicBezTo>
                  <a:pt x="17" y="232"/>
                  <a:pt x="17" y="233"/>
                  <a:pt x="18" y="231"/>
                </a:cubicBezTo>
                <a:cubicBezTo>
                  <a:pt x="18" y="231"/>
                  <a:pt x="17" y="231"/>
                  <a:pt x="17" y="230"/>
                </a:cubicBezTo>
                <a:cubicBezTo>
                  <a:pt x="17" y="230"/>
                  <a:pt x="17" y="231"/>
                  <a:pt x="17" y="230"/>
                </a:cubicBezTo>
                <a:cubicBezTo>
                  <a:pt x="17" y="232"/>
                  <a:pt x="16" y="232"/>
                  <a:pt x="15" y="234"/>
                </a:cubicBezTo>
                <a:close/>
                <a:moveTo>
                  <a:pt x="51" y="255"/>
                </a:moveTo>
                <a:cubicBezTo>
                  <a:pt x="51" y="256"/>
                  <a:pt x="50" y="257"/>
                  <a:pt x="51" y="257"/>
                </a:cubicBezTo>
                <a:cubicBezTo>
                  <a:pt x="51" y="256"/>
                  <a:pt x="52" y="256"/>
                  <a:pt x="52" y="255"/>
                </a:cubicBezTo>
                <a:cubicBezTo>
                  <a:pt x="51" y="255"/>
                  <a:pt x="51" y="255"/>
                  <a:pt x="51" y="255"/>
                </a:cubicBezTo>
                <a:close/>
                <a:moveTo>
                  <a:pt x="20" y="235"/>
                </a:moveTo>
                <a:cubicBezTo>
                  <a:pt x="19" y="235"/>
                  <a:pt x="19" y="236"/>
                  <a:pt x="19" y="236"/>
                </a:cubicBezTo>
                <a:cubicBezTo>
                  <a:pt x="20" y="236"/>
                  <a:pt x="20" y="236"/>
                  <a:pt x="20" y="236"/>
                </a:cubicBezTo>
                <a:cubicBezTo>
                  <a:pt x="20" y="236"/>
                  <a:pt x="21" y="235"/>
                  <a:pt x="21" y="235"/>
                </a:cubicBezTo>
                <a:cubicBezTo>
                  <a:pt x="20" y="235"/>
                  <a:pt x="20" y="236"/>
                  <a:pt x="20" y="235"/>
                </a:cubicBezTo>
                <a:close/>
                <a:moveTo>
                  <a:pt x="21" y="238"/>
                </a:moveTo>
                <a:cubicBezTo>
                  <a:pt x="21" y="237"/>
                  <a:pt x="22" y="237"/>
                  <a:pt x="22" y="236"/>
                </a:cubicBezTo>
                <a:cubicBezTo>
                  <a:pt x="21" y="236"/>
                  <a:pt x="21" y="237"/>
                  <a:pt x="21" y="238"/>
                </a:cubicBezTo>
                <a:close/>
                <a:moveTo>
                  <a:pt x="17" y="236"/>
                </a:moveTo>
                <a:cubicBezTo>
                  <a:pt x="18" y="236"/>
                  <a:pt x="18" y="235"/>
                  <a:pt x="18" y="235"/>
                </a:cubicBezTo>
                <a:cubicBezTo>
                  <a:pt x="18" y="235"/>
                  <a:pt x="17" y="236"/>
                  <a:pt x="17" y="236"/>
                </a:cubicBezTo>
                <a:close/>
                <a:moveTo>
                  <a:pt x="23" y="243"/>
                </a:moveTo>
                <a:cubicBezTo>
                  <a:pt x="24" y="243"/>
                  <a:pt x="25" y="241"/>
                  <a:pt x="26" y="240"/>
                </a:cubicBezTo>
                <a:cubicBezTo>
                  <a:pt x="25" y="240"/>
                  <a:pt x="25" y="240"/>
                  <a:pt x="25" y="240"/>
                </a:cubicBezTo>
                <a:cubicBezTo>
                  <a:pt x="24" y="241"/>
                  <a:pt x="24" y="242"/>
                  <a:pt x="23" y="243"/>
                </a:cubicBezTo>
                <a:close/>
                <a:moveTo>
                  <a:pt x="17" y="238"/>
                </a:moveTo>
                <a:cubicBezTo>
                  <a:pt x="17" y="237"/>
                  <a:pt x="18" y="237"/>
                  <a:pt x="18" y="236"/>
                </a:cubicBezTo>
                <a:cubicBezTo>
                  <a:pt x="17" y="236"/>
                  <a:pt x="16" y="237"/>
                  <a:pt x="17" y="238"/>
                </a:cubicBezTo>
                <a:close/>
                <a:moveTo>
                  <a:pt x="35" y="251"/>
                </a:moveTo>
                <a:cubicBezTo>
                  <a:pt x="35" y="252"/>
                  <a:pt x="36" y="250"/>
                  <a:pt x="36" y="250"/>
                </a:cubicBezTo>
                <a:lnTo>
                  <a:pt x="35" y="251"/>
                </a:lnTo>
                <a:close/>
                <a:moveTo>
                  <a:pt x="38" y="255"/>
                </a:moveTo>
                <a:cubicBezTo>
                  <a:pt x="39" y="254"/>
                  <a:pt x="39" y="254"/>
                  <a:pt x="39" y="254"/>
                </a:cubicBezTo>
                <a:cubicBezTo>
                  <a:pt x="39" y="254"/>
                  <a:pt x="38" y="254"/>
                  <a:pt x="38" y="255"/>
                </a:cubicBezTo>
                <a:close/>
                <a:moveTo>
                  <a:pt x="12" y="236"/>
                </a:moveTo>
                <a:cubicBezTo>
                  <a:pt x="12" y="236"/>
                  <a:pt x="12" y="237"/>
                  <a:pt x="12" y="237"/>
                </a:cubicBezTo>
                <a:cubicBezTo>
                  <a:pt x="13" y="236"/>
                  <a:pt x="13" y="236"/>
                  <a:pt x="13" y="236"/>
                </a:cubicBezTo>
                <a:cubicBezTo>
                  <a:pt x="13" y="236"/>
                  <a:pt x="12" y="236"/>
                  <a:pt x="12" y="236"/>
                </a:cubicBezTo>
                <a:close/>
                <a:moveTo>
                  <a:pt x="38" y="253"/>
                </a:moveTo>
                <a:cubicBezTo>
                  <a:pt x="36" y="252"/>
                  <a:pt x="36" y="252"/>
                  <a:pt x="36" y="252"/>
                </a:cubicBezTo>
                <a:cubicBezTo>
                  <a:pt x="36" y="253"/>
                  <a:pt x="37" y="254"/>
                  <a:pt x="38" y="253"/>
                </a:cubicBezTo>
                <a:close/>
                <a:moveTo>
                  <a:pt x="12" y="239"/>
                </a:moveTo>
                <a:cubicBezTo>
                  <a:pt x="13" y="238"/>
                  <a:pt x="13" y="238"/>
                  <a:pt x="13" y="238"/>
                </a:cubicBezTo>
                <a:cubicBezTo>
                  <a:pt x="13" y="238"/>
                  <a:pt x="13" y="239"/>
                  <a:pt x="13" y="238"/>
                </a:cubicBezTo>
                <a:cubicBezTo>
                  <a:pt x="12" y="238"/>
                  <a:pt x="14" y="237"/>
                  <a:pt x="13" y="237"/>
                </a:cubicBezTo>
                <a:cubicBezTo>
                  <a:pt x="12" y="237"/>
                  <a:pt x="12" y="238"/>
                  <a:pt x="12" y="239"/>
                </a:cubicBezTo>
                <a:close/>
                <a:moveTo>
                  <a:pt x="35" y="256"/>
                </a:moveTo>
                <a:cubicBezTo>
                  <a:pt x="35" y="256"/>
                  <a:pt x="36" y="257"/>
                  <a:pt x="36" y="257"/>
                </a:cubicBezTo>
                <a:cubicBezTo>
                  <a:pt x="36" y="256"/>
                  <a:pt x="35" y="256"/>
                  <a:pt x="35" y="256"/>
                </a:cubicBezTo>
                <a:close/>
                <a:moveTo>
                  <a:pt x="27" y="255"/>
                </a:moveTo>
                <a:cubicBezTo>
                  <a:pt x="27" y="255"/>
                  <a:pt x="28" y="254"/>
                  <a:pt x="28" y="254"/>
                </a:cubicBezTo>
                <a:cubicBezTo>
                  <a:pt x="27" y="254"/>
                  <a:pt x="27" y="254"/>
                  <a:pt x="27" y="255"/>
                </a:cubicBezTo>
                <a:close/>
                <a:moveTo>
                  <a:pt x="8" y="244"/>
                </a:moveTo>
                <a:cubicBezTo>
                  <a:pt x="7" y="244"/>
                  <a:pt x="7" y="244"/>
                  <a:pt x="7" y="244"/>
                </a:cubicBezTo>
                <a:cubicBezTo>
                  <a:pt x="8" y="245"/>
                  <a:pt x="8" y="243"/>
                  <a:pt x="7" y="243"/>
                </a:cubicBezTo>
                <a:cubicBezTo>
                  <a:pt x="7" y="243"/>
                  <a:pt x="7" y="243"/>
                  <a:pt x="8" y="244"/>
                </a:cubicBezTo>
                <a:close/>
                <a:moveTo>
                  <a:pt x="6" y="247"/>
                </a:moveTo>
                <a:cubicBezTo>
                  <a:pt x="7" y="248"/>
                  <a:pt x="9" y="244"/>
                  <a:pt x="8" y="244"/>
                </a:cubicBezTo>
                <a:cubicBezTo>
                  <a:pt x="7" y="245"/>
                  <a:pt x="7" y="246"/>
                  <a:pt x="6" y="247"/>
                </a:cubicBezTo>
                <a:close/>
                <a:moveTo>
                  <a:pt x="11" y="248"/>
                </a:moveTo>
                <a:cubicBezTo>
                  <a:pt x="12" y="248"/>
                  <a:pt x="12" y="247"/>
                  <a:pt x="11" y="247"/>
                </a:cubicBezTo>
                <a:cubicBezTo>
                  <a:pt x="11" y="247"/>
                  <a:pt x="11" y="248"/>
                  <a:pt x="11" y="248"/>
                </a:cubicBezTo>
                <a:close/>
                <a:moveTo>
                  <a:pt x="32" y="264"/>
                </a:moveTo>
                <a:cubicBezTo>
                  <a:pt x="33" y="264"/>
                  <a:pt x="33" y="264"/>
                  <a:pt x="33" y="263"/>
                </a:cubicBezTo>
                <a:cubicBezTo>
                  <a:pt x="32" y="263"/>
                  <a:pt x="32" y="263"/>
                  <a:pt x="32" y="264"/>
                </a:cubicBezTo>
                <a:close/>
                <a:moveTo>
                  <a:pt x="10" y="250"/>
                </a:moveTo>
                <a:cubicBezTo>
                  <a:pt x="10" y="250"/>
                  <a:pt x="11" y="249"/>
                  <a:pt x="11" y="249"/>
                </a:cubicBezTo>
                <a:cubicBezTo>
                  <a:pt x="10" y="248"/>
                  <a:pt x="10" y="248"/>
                  <a:pt x="10" y="248"/>
                </a:cubicBezTo>
                <a:cubicBezTo>
                  <a:pt x="10" y="249"/>
                  <a:pt x="9" y="249"/>
                  <a:pt x="10" y="250"/>
                </a:cubicBezTo>
                <a:close/>
                <a:moveTo>
                  <a:pt x="7" y="252"/>
                </a:moveTo>
                <a:cubicBezTo>
                  <a:pt x="7" y="251"/>
                  <a:pt x="9" y="249"/>
                  <a:pt x="8" y="248"/>
                </a:cubicBezTo>
                <a:cubicBezTo>
                  <a:pt x="8" y="249"/>
                  <a:pt x="6" y="251"/>
                  <a:pt x="7" y="252"/>
                </a:cubicBezTo>
                <a:close/>
                <a:moveTo>
                  <a:pt x="3" y="247"/>
                </a:moveTo>
                <a:cubicBezTo>
                  <a:pt x="3" y="246"/>
                  <a:pt x="4" y="246"/>
                  <a:pt x="4" y="246"/>
                </a:cubicBezTo>
                <a:cubicBezTo>
                  <a:pt x="3" y="246"/>
                  <a:pt x="2" y="246"/>
                  <a:pt x="3" y="247"/>
                </a:cubicBezTo>
                <a:close/>
                <a:moveTo>
                  <a:pt x="0" y="255"/>
                </a:moveTo>
                <a:cubicBezTo>
                  <a:pt x="1" y="253"/>
                  <a:pt x="3" y="253"/>
                  <a:pt x="2" y="251"/>
                </a:cubicBezTo>
                <a:cubicBezTo>
                  <a:pt x="2" y="253"/>
                  <a:pt x="0" y="254"/>
                  <a:pt x="0" y="255"/>
                </a:cubicBezTo>
                <a:close/>
                <a:moveTo>
                  <a:pt x="30" y="271"/>
                </a:moveTo>
                <a:cubicBezTo>
                  <a:pt x="30" y="271"/>
                  <a:pt x="31" y="271"/>
                  <a:pt x="31" y="271"/>
                </a:cubicBezTo>
                <a:cubicBezTo>
                  <a:pt x="31" y="271"/>
                  <a:pt x="30" y="270"/>
                  <a:pt x="30" y="271"/>
                </a:cubicBezTo>
                <a:close/>
                <a:moveTo>
                  <a:pt x="34" y="274"/>
                </a:moveTo>
                <a:cubicBezTo>
                  <a:pt x="35" y="275"/>
                  <a:pt x="34" y="275"/>
                  <a:pt x="35" y="275"/>
                </a:cubicBezTo>
                <a:cubicBezTo>
                  <a:pt x="36" y="275"/>
                  <a:pt x="35" y="275"/>
                  <a:pt x="35" y="274"/>
                </a:cubicBezTo>
                <a:cubicBezTo>
                  <a:pt x="35" y="274"/>
                  <a:pt x="35" y="274"/>
                  <a:pt x="34" y="274"/>
                </a:cubicBezTo>
                <a:close/>
                <a:moveTo>
                  <a:pt x="3" y="254"/>
                </a:moveTo>
                <a:cubicBezTo>
                  <a:pt x="2" y="254"/>
                  <a:pt x="2" y="254"/>
                  <a:pt x="2" y="253"/>
                </a:cubicBezTo>
                <a:cubicBezTo>
                  <a:pt x="2" y="254"/>
                  <a:pt x="2" y="254"/>
                  <a:pt x="2" y="254"/>
                </a:cubicBezTo>
                <a:cubicBezTo>
                  <a:pt x="2" y="254"/>
                  <a:pt x="4" y="254"/>
                  <a:pt x="3" y="253"/>
                </a:cubicBezTo>
                <a:lnTo>
                  <a:pt x="3" y="254"/>
                </a:lnTo>
                <a:close/>
                <a:moveTo>
                  <a:pt x="27" y="271"/>
                </a:moveTo>
                <a:cubicBezTo>
                  <a:pt x="27" y="271"/>
                  <a:pt x="27" y="272"/>
                  <a:pt x="28" y="271"/>
                </a:cubicBezTo>
                <a:cubicBezTo>
                  <a:pt x="28" y="271"/>
                  <a:pt x="27" y="270"/>
                  <a:pt x="27" y="271"/>
                </a:cubicBezTo>
                <a:close/>
                <a:moveTo>
                  <a:pt x="31" y="278"/>
                </a:moveTo>
                <a:cubicBezTo>
                  <a:pt x="31" y="277"/>
                  <a:pt x="30" y="277"/>
                  <a:pt x="30" y="276"/>
                </a:cubicBezTo>
                <a:cubicBezTo>
                  <a:pt x="30" y="277"/>
                  <a:pt x="31" y="277"/>
                  <a:pt x="31" y="278"/>
                </a:cubicBezTo>
                <a:close/>
                <a:moveTo>
                  <a:pt x="31" y="281"/>
                </a:moveTo>
                <a:cubicBezTo>
                  <a:pt x="32" y="281"/>
                  <a:pt x="32" y="281"/>
                  <a:pt x="32" y="281"/>
                </a:cubicBezTo>
                <a:cubicBezTo>
                  <a:pt x="32" y="280"/>
                  <a:pt x="32" y="280"/>
                  <a:pt x="33" y="280"/>
                </a:cubicBezTo>
                <a:cubicBezTo>
                  <a:pt x="33" y="280"/>
                  <a:pt x="33" y="279"/>
                  <a:pt x="33" y="279"/>
                </a:cubicBezTo>
                <a:cubicBezTo>
                  <a:pt x="32" y="280"/>
                  <a:pt x="32" y="281"/>
                  <a:pt x="31" y="281"/>
                </a:cubicBezTo>
                <a:close/>
                <a:moveTo>
                  <a:pt x="782" y="255"/>
                </a:moveTo>
                <a:cubicBezTo>
                  <a:pt x="781" y="255"/>
                  <a:pt x="779" y="253"/>
                  <a:pt x="779" y="256"/>
                </a:cubicBezTo>
                <a:cubicBezTo>
                  <a:pt x="781" y="259"/>
                  <a:pt x="782" y="261"/>
                  <a:pt x="783" y="263"/>
                </a:cubicBezTo>
                <a:cubicBezTo>
                  <a:pt x="781" y="263"/>
                  <a:pt x="777" y="259"/>
                  <a:pt x="774" y="258"/>
                </a:cubicBezTo>
                <a:cubicBezTo>
                  <a:pt x="775" y="259"/>
                  <a:pt x="777" y="263"/>
                  <a:pt x="778" y="264"/>
                </a:cubicBezTo>
                <a:cubicBezTo>
                  <a:pt x="779" y="267"/>
                  <a:pt x="779" y="268"/>
                  <a:pt x="780" y="271"/>
                </a:cubicBezTo>
                <a:cubicBezTo>
                  <a:pt x="779" y="271"/>
                  <a:pt x="779" y="271"/>
                  <a:pt x="779" y="272"/>
                </a:cubicBezTo>
                <a:cubicBezTo>
                  <a:pt x="776" y="269"/>
                  <a:pt x="775" y="267"/>
                  <a:pt x="772" y="264"/>
                </a:cubicBezTo>
                <a:cubicBezTo>
                  <a:pt x="771" y="262"/>
                  <a:pt x="772" y="262"/>
                  <a:pt x="771" y="260"/>
                </a:cubicBezTo>
                <a:cubicBezTo>
                  <a:pt x="770" y="259"/>
                  <a:pt x="767" y="254"/>
                  <a:pt x="766" y="252"/>
                </a:cubicBezTo>
                <a:cubicBezTo>
                  <a:pt x="766" y="254"/>
                  <a:pt x="763" y="249"/>
                  <a:pt x="762" y="246"/>
                </a:cubicBezTo>
                <a:cubicBezTo>
                  <a:pt x="763" y="250"/>
                  <a:pt x="761" y="249"/>
                  <a:pt x="764" y="255"/>
                </a:cubicBezTo>
                <a:cubicBezTo>
                  <a:pt x="763" y="252"/>
                  <a:pt x="764" y="254"/>
                  <a:pt x="765" y="256"/>
                </a:cubicBezTo>
                <a:cubicBezTo>
                  <a:pt x="765" y="257"/>
                  <a:pt x="765" y="255"/>
                  <a:pt x="765" y="255"/>
                </a:cubicBezTo>
                <a:cubicBezTo>
                  <a:pt x="766" y="256"/>
                  <a:pt x="766" y="257"/>
                  <a:pt x="766" y="258"/>
                </a:cubicBezTo>
                <a:cubicBezTo>
                  <a:pt x="767" y="259"/>
                  <a:pt x="768" y="260"/>
                  <a:pt x="770" y="260"/>
                </a:cubicBezTo>
                <a:cubicBezTo>
                  <a:pt x="770" y="262"/>
                  <a:pt x="771" y="264"/>
                  <a:pt x="772" y="267"/>
                </a:cubicBezTo>
                <a:cubicBezTo>
                  <a:pt x="771" y="267"/>
                  <a:pt x="768" y="261"/>
                  <a:pt x="769" y="264"/>
                </a:cubicBezTo>
                <a:cubicBezTo>
                  <a:pt x="768" y="262"/>
                  <a:pt x="766" y="259"/>
                  <a:pt x="766" y="260"/>
                </a:cubicBezTo>
                <a:cubicBezTo>
                  <a:pt x="766" y="259"/>
                  <a:pt x="764" y="256"/>
                  <a:pt x="764" y="255"/>
                </a:cubicBezTo>
                <a:cubicBezTo>
                  <a:pt x="763" y="254"/>
                  <a:pt x="762" y="254"/>
                  <a:pt x="761" y="253"/>
                </a:cubicBezTo>
                <a:cubicBezTo>
                  <a:pt x="761" y="252"/>
                  <a:pt x="762" y="253"/>
                  <a:pt x="762" y="252"/>
                </a:cubicBezTo>
                <a:cubicBezTo>
                  <a:pt x="762" y="251"/>
                  <a:pt x="761" y="249"/>
                  <a:pt x="761" y="249"/>
                </a:cubicBezTo>
                <a:cubicBezTo>
                  <a:pt x="757" y="243"/>
                  <a:pt x="757" y="246"/>
                  <a:pt x="752" y="241"/>
                </a:cubicBezTo>
                <a:cubicBezTo>
                  <a:pt x="752" y="241"/>
                  <a:pt x="755" y="244"/>
                  <a:pt x="755" y="245"/>
                </a:cubicBezTo>
                <a:cubicBezTo>
                  <a:pt x="755" y="246"/>
                  <a:pt x="755" y="245"/>
                  <a:pt x="755" y="244"/>
                </a:cubicBezTo>
                <a:cubicBezTo>
                  <a:pt x="755" y="244"/>
                  <a:pt x="755" y="246"/>
                  <a:pt x="756" y="246"/>
                </a:cubicBezTo>
                <a:cubicBezTo>
                  <a:pt x="757" y="248"/>
                  <a:pt x="756" y="247"/>
                  <a:pt x="757" y="249"/>
                </a:cubicBezTo>
                <a:cubicBezTo>
                  <a:pt x="755" y="246"/>
                  <a:pt x="755" y="248"/>
                  <a:pt x="753" y="248"/>
                </a:cubicBezTo>
                <a:cubicBezTo>
                  <a:pt x="752" y="245"/>
                  <a:pt x="751" y="244"/>
                  <a:pt x="750" y="245"/>
                </a:cubicBezTo>
                <a:cubicBezTo>
                  <a:pt x="748" y="242"/>
                  <a:pt x="747" y="243"/>
                  <a:pt x="745" y="239"/>
                </a:cubicBezTo>
                <a:cubicBezTo>
                  <a:pt x="744" y="239"/>
                  <a:pt x="744" y="239"/>
                  <a:pt x="744" y="239"/>
                </a:cubicBezTo>
                <a:cubicBezTo>
                  <a:pt x="743" y="237"/>
                  <a:pt x="741" y="236"/>
                  <a:pt x="739" y="233"/>
                </a:cubicBezTo>
                <a:cubicBezTo>
                  <a:pt x="739" y="232"/>
                  <a:pt x="739" y="231"/>
                  <a:pt x="740" y="231"/>
                </a:cubicBezTo>
                <a:cubicBezTo>
                  <a:pt x="741" y="233"/>
                  <a:pt x="741" y="234"/>
                  <a:pt x="742" y="234"/>
                </a:cubicBezTo>
                <a:cubicBezTo>
                  <a:pt x="742" y="234"/>
                  <a:pt x="741" y="231"/>
                  <a:pt x="743" y="234"/>
                </a:cubicBezTo>
                <a:cubicBezTo>
                  <a:pt x="743" y="233"/>
                  <a:pt x="742" y="232"/>
                  <a:pt x="741" y="231"/>
                </a:cubicBezTo>
                <a:cubicBezTo>
                  <a:pt x="740" y="230"/>
                  <a:pt x="741" y="231"/>
                  <a:pt x="740" y="231"/>
                </a:cubicBezTo>
                <a:cubicBezTo>
                  <a:pt x="739" y="227"/>
                  <a:pt x="737" y="229"/>
                  <a:pt x="736" y="226"/>
                </a:cubicBezTo>
                <a:cubicBezTo>
                  <a:pt x="736" y="227"/>
                  <a:pt x="735" y="226"/>
                  <a:pt x="733" y="224"/>
                </a:cubicBezTo>
                <a:cubicBezTo>
                  <a:pt x="734" y="226"/>
                  <a:pt x="737" y="229"/>
                  <a:pt x="738" y="231"/>
                </a:cubicBezTo>
                <a:cubicBezTo>
                  <a:pt x="735" y="229"/>
                  <a:pt x="728" y="217"/>
                  <a:pt x="726" y="218"/>
                </a:cubicBezTo>
                <a:cubicBezTo>
                  <a:pt x="724" y="215"/>
                  <a:pt x="723" y="213"/>
                  <a:pt x="721" y="210"/>
                </a:cubicBezTo>
                <a:cubicBezTo>
                  <a:pt x="715" y="205"/>
                  <a:pt x="707" y="195"/>
                  <a:pt x="698" y="186"/>
                </a:cubicBezTo>
                <a:cubicBezTo>
                  <a:pt x="698" y="186"/>
                  <a:pt x="701" y="188"/>
                  <a:pt x="700" y="188"/>
                </a:cubicBezTo>
                <a:cubicBezTo>
                  <a:pt x="696" y="184"/>
                  <a:pt x="693" y="182"/>
                  <a:pt x="688" y="177"/>
                </a:cubicBezTo>
                <a:cubicBezTo>
                  <a:pt x="689" y="178"/>
                  <a:pt x="690" y="178"/>
                  <a:pt x="690" y="177"/>
                </a:cubicBezTo>
                <a:cubicBezTo>
                  <a:pt x="689" y="176"/>
                  <a:pt x="689" y="176"/>
                  <a:pt x="689" y="176"/>
                </a:cubicBezTo>
                <a:cubicBezTo>
                  <a:pt x="687" y="174"/>
                  <a:pt x="689" y="177"/>
                  <a:pt x="688" y="177"/>
                </a:cubicBezTo>
                <a:cubicBezTo>
                  <a:pt x="686" y="175"/>
                  <a:pt x="687" y="175"/>
                  <a:pt x="686" y="174"/>
                </a:cubicBezTo>
                <a:cubicBezTo>
                  <a:pt x="684" y="172"/>
                  <a:pt x="686" y="174"/>
                  <a:pt x="684" y="173"/>
                </a:cubicBezTo>
                <a:cubicBezTo>
                  <a:pt x="683" y="172"/>
                  <a:pt x="682" y="169"/>
                  <a:pt x="681" y="170"/>
                </a:cubicBezTo>
                <a:cubicBezTo>
                  <a:pt x="680" y="169"/>
                  <a:pt x="681" y="169"/>
                  <a:pt x="681" y="169"/>
                </a:cubicBezTo>
                <a:cubicBezTo>
                  <a:pt x="680" y="168"/>
                  <a:pt x="679" y="168"/>
                  <a:pt x="678" y="168"/>
                </a:cubicBezTo>
                <a:cubicBezTo>
                  <a:pt x="676" y="165"/>
                  <a:pt x="672" y="163"/>
                  <a:pt x="672" y="161"/>
                </a:cubicBezTo>
                <a:cubicBezTo>
                  <a:pt x="670" y="160"/>
                  <a:pt x="662" y="154"/>
                  <a:pt x="657" y="149"/>
                </a:cubicBezTo>
                <a:cubicBezTo>
                  <a:pt x="660" y="152"/>
                  <a:pt x="654" y="146"/>
                  <a:pt x="654" y="146"/>
                </a:cubicBezTo>
                <a:cubicBezTo>
                  <a:pt x="653" y="145"/>
                  <a:pt x="653" y="145"/>
                  <a:pt x="652" y="145"/>
                </a:cubicBezTo>
                <a:cubicBezTo>
                  <a:pt x="648" y="142"/>
                  <a:pt x="644" y="139"/>
                  <a:pt x="645" y="138"/>
                </a:cubicBezTo>
                <a:cubicBezTo>
                  <a:pt x="641" y="135"/>
                  <a:pt x="641" y="135"/>
                  <a:pt x="641" y="135"/>
                </a:cubicBezTo>
                <a:cubicBezTo>
                  <a:pt x="642" y="137"/>
                  <a:pt x="641" y="136"/>
                  <a:pt x="640" y="136"/>
                </a:cubicBezTo>
                <a:cubicBezTo>
                  <a:pt x="637" y="133"/>
                  <a:pt x="636" y="133"/>
                  <a:pt x="633" y="130"/>
                </a:cubicBezTo>
                <a:cubicBezTo>
                  <a:pt x="633" y="130"/>
                  <a:pt x="632" y="129"/>
                  <a:pt x="633" y="129"/>
                </a:cubicBezTo>
                <a:cubicBezTo>
                  <a:pt x="629" y="126"/>
                  <a:pt x="631" y="129"/>
                  <a:pt x="629" y="128"/>
                </a:cubicBezTo>
                <a:cubicBezTo>
                  <a:pt x="628" y="126"/>
                  <a:pt x="625" y="124"/>
                  <a:pt x="622" y="123"/>
                </a:cubicBezTo>
                <a:cubicBezTo>
                  <a:pt x="626" y="124"/>
                  <a:pt x="620" y="120"/>
                  <a:pt x="618" y="120"/>
                </a:cubicBezTo>
                <a:cubicBezTo>
                  <a:pt x="618" y="120"/>
                  <a:pt x="620" y="122"/>
                  <a:pt x="621" y="122"/>
                </a:cubicBezTo>
                <a:cubicBezTo>
                  <a:pt x="623" y="124"/>
                  <a:pt x="615" y="119"/>
                  <a:pt x="617" y="119"/>
                </a:cubicBezTo>
                <a:cubicBezTo>
                  <a:pt x="614" y="117"/>
                  <a:pt x="614" y="117"/>
                  <a:pt x="614" y="117"/>
                </a:cubicBezTo>
                <a:cubicBezTo>
                  <a:pt x="613" y="116"/>
                  <a:pt x="614" y="118"/>
                  <a:pt x="611" y="116"/>
                </a:cubicBezTo>
                <a:cubicBezTo>
                  <a:pt x="611" y="116"/>
                  <a:pt x="613" y="116"/>
                  <a:pt x="612" y="115"/>
                </a:cubicBezTo>
                <a:cubicBezTo>
                  <a:pt x="610" y="114"/>
                  <a:pt x="612" y="116"/>
                  <a:pt x="610" y="115"/>
                </a:cubicBezTo>
                <a:cubicBezTo>
                  <a:pt x="607" y="112"/>
                  <a:pt x="602" y="111"/>
                  <a:pt x="596" y="106"/>
                </a:cubicBezTo>
                <a:cubicBezTo>
                  <a:pt x="596" y="106"/>
                  <a:pt x="595" y="106"/>
                  <a:pt x="595" y="105"/>
                </a:cubicBezTo>
                <a:cubicBezTo>
                  <a:pt x="594" y="105"/>
                  <a:pt x="594" y="105"/>
                  <a:pt x="594" y="106"/>
                </a:cubicBezTo>
                <a:cubicBezTo>
                  <a:pt x="587" y="101"/>
                  <a:pt x="583" y="99"/>
                  <a:pt x="576" y="95"/>
                </a:cubicBezTo>
                <a:cubicBezTo>
                  <a:pt x="573" y="94"/>
                  <a:pt x="576" y="96"/>
                  <a:pt x="575" y="96"/>
                </a:cubicBezTo>
                <a:cubicBezTo>
                  <a:pt x="575" y="95"/>
                  <a:pt x="571" y="94"/>
                  <a:pt x="571" y="94"/>
                </a:cubicBezTo>
                <a:cubicBezTo>
                  <a:pt x="568" y="92"/>
                  <a:pt x="566" y="90"/>
                  <a:pt x="562" y="88"/>
                </a:cubicBezTo>
                <a:cubicBezTo>
                  <a:pt x="555" y="85"/>
                  <a:pt x="548" y="82"/>
                  <a:pt x="540" y="79"/>
                </a:cubicBezTo>
                <a:cubicBezTo>
                  <a:pt x="540" y="78"/>
                  <a:pt x="540" y="78"/>
                  <a:pt x="540" y="78"/>
                </a:cubicBezTo>
                <a:cubicBezTo>
                  <a:pt x="537" y="77"/>
                  <a:pt x="535" y="76"/>
                  <a:pt x="533" y="75"/>
                </a:cubicBezTo>
                <a:cubicBezTo>
                  <a:pt x="530" y="74"/>
                  <a:pt x="529" y="74"/>
                  <a:pt x="526" y="73"/>
                </a:cubicBezTo>
                <a:cubicBezTo>
                  <a:pt x="526" y="72"/>
                  <a:pt x="526" y="72"/>
                  <a:pt x="526" y="72"/>
                </a:cubicBezTo>
                <a:cubicBezTo>
                  <a:pt x="521" y="71"/>
                  <a:pt x="517" y="70"/>
                  <a:pt x="514" y="68"/>
                </a:cubicBezTo>
                <a:cubicBezTo>
                  <a:pt x="510" y="68"/>
                  <a:pt x="504" y="65"/>
                  <a:pt x="502" y="64"/>
                </a:cubicBezTo>
                <a:cubicBezTo>
                  <a:pt x="500" y="63"/>
                  <a:pt x="502" y="65"/>
                  <a:pt x="502" y="65"/>
                </a:cubicBezTo>
                <a:cubicBezTo>
                  <a:pt x="497" y="64"/>
                  <a:pt x="493" y="62"/>
                  <a:pt x="488" y="60"/>
                </a:cubicBezTo>
                <a:cubicBezTo>
                  <a:pt x="485" y="60"/>
                  <a:pt x="481" y="60"/>
                  <a:pt x="480" y="59"/>
                </a:cubicBezTo>
                <a:cubicBezTo>
                  <a:pt x="483" y="59"/>
                  <a:pt x="485" y="60"/>
                  <a:pt x="484" y="59"/>
                </a:cubicBezTo>
                <a:cubicBezTo>
                  <a:pt x="482" y="58"/>
                  <a:pt x="480" y="59"/>
                  <a:pt x="480" y="58"/>
                </a:cubicBezTo>
                <a:cubicBezTo>
                  <a:pt x="479" y="58"/>
                  <a:pt x="479" y="58"/>
                  <a:pt x="479" y="59"/>
                </a:cubicBezTo>
                <a:cubicBezTo>
                  <a:pt x="474" y="58"/>
                  <a:pt x="470" y="57"/>
                  <a:pt x="468" y="56"/>
                </a:cubicBezTo>
                <a:cubicBezTo>
                  <a:pt x="466" y="56"/>
                  <a:pt x="469" y="57"/>
                  <a:pt x="464" y="56"/>
                </a:cubicBezTo>
                <a:cubicBezTo>
                  <a:pt x="465" y="55"/>
                  <a:pt x="461" y="54"/>
                  <a:pt x="459" y="54"/>
                </a:cubicBezTo>
                <a:cubicBezTo>
                  <a:pt x="459" y="54"/>
                  <a:pt x="459" y="54"/>
                  <a:pt x="458" y="54"/>
                </a:cubicBezTo>
                <a:cubicBezTo>
                  <a:pt x="458" y="54"/>
                  <a:pt x="459" y="54"/>
                  <a:pt x="461" y="54"/>
                </a:cubicBezTo>
                <a:cubicBezTo>
                  <a:pt x="461" y="53"/>
                  <a:pt x="460" y="53"/>
                  <a:pt x="458" y="53"/>
                </a:cubicBezTo>
                <a:cubicBezTo>
                  <a:pt x="457" y="53"/>
                  <a:pt x="456" y="53"/>
                  <a:pt x="456" y="54"/>
                </a:cubicBezTo>
                <a:cubicBezTo>
                  <a:pt x="453" y="53"/>
                  <a:pt x="452" y="52"/>
                  <a:pt x="450" y="52"/>
                </a:cubicBezTo>
                <a:cubicBezTo>
                  <a:pt x="448" y="51"/>
                  <a:pt x="451" y="52"/>
                  <a:pt x="450" y="52"/>
                </a:cubicBezTo>
                <a:cubicBezTo>
                  <a:pt x="442" y="51"/>
                  <a:pt x="434" y="51"/>
                  <a:pt x="428" y="49"/>
                </a:cubicBezTo>
                <a:cubicBezTo>
                  <a:pt x="426" y="49"/>
                  <a:pt x="429" y="50"/>
                  <a:pt x="427" y="50"/>
                </a:cubicBezTo>
                <a:cubicBezTo>
                  <a:pt x="424" y="50"/>
                  <a:pt x="424" y="49"/>
                  <a:pt x="426" y="49"/>
                </a:cubicBezTo>
                <a:cubicBezTo>
                  <a:pt x="426" y="48"/>
                  <a:pt x="425" y="49"/>
                  <a:pt x="423" y="48"/>
                </a:cubicBezTo>
                <a:cubicBezTo>
                  <a:pt x="423" y="49"/>
                  <a:pt x="423" y="49"/>
                  <a:pt x="423" y="49"/>
                </a:cubicBezTo>
                <a:cubicBezTo>
                  <a:pt x="416" y="48"/>
                  <a:pt x="410" y="48"/>
                  <a:pt x="402" y="48"/>
                </a:cubicBezTo>
                <a:cubicBezTo>
                  <a:pt x="404" y="47"/>
                  <a:pt x="401" y="47"/>
                  <a:pt x="397" y="47"/>
                </a:cubicBezTo>
                <a:cubicBezTo>
                  <a:pt x="397" y="46"/>
                  <a:pt x="397" y="46"/>
                  <a:pt x="397" y="46"/>
                </a:cubicBezTo>
                <a:cubicBezTo>
                  <a:pt x="394" y="47"/>
                  <a:pt x="393" y="46"/>
                  <a:pt x="391" y="46"/>
                </a:cubicBezTo>
                <a:cubicBezTo>
                  <a:pt x="389" y="46"/>
                  <a:pt x="395" y="47"/>
                  <a:pt x="393" y="48"/>
                </a:cubicBezTo>
                <a:cubicBezTo>
                  <a:pt x="390" y="47"/>
                  <a:pt x="390" y="47"/>
                  <a:pt x="388" y="47"/>
                </a:cubicBezTo>
                <a:cubicBezTo>
                  <a:pt x="386" y="47"/>
                  <a:pt x="388" y="47"/>
                  <a:pt x="388" y="48"/>
                </a:cubicBezTo>
                <a:cubicBezTo>
                  <a:pt x="385" y="48"/>
                  <a:pt x="385" y="47"/>
                  <a:pt x="382" y="48"/>
                </a:cubicBezTo>
                <a:cubicBezTo>
                  <a:pt x="382" y="47"/>
                  <a:pt x="383" y="47"/>
                  <a:pt x="384" y="47"/>
                </a:cubicBezTo>
                <a:cubicBezTo>
                  <a:pt x="383" y="47"/>
                  <a:pt x="380" y="48"/>
                  <a:pt x="380" y="47"/>
                </a:cubicBezTo>
                <a:cubicBezTo>
                  <a:pt x="379" y="47"/>
                  <a:pt x="380" y="48"/>
                  <a:pt x="377" y="48"/>
                </a:cubicBezTo>
                <a:cubicBezTo>
                  <a:pt x="376" y="47"/>
                  <a:pt x="377" y="47"/>
                  <a:pt x="376" y="47"/>
                </a:cubicBezTo>
                <a:cubicBezTo>
                  <a:pt x="375" y="47"/>
                  <a:pt x="371" y="48"/>
                  <a:pt x="375" y="48"/>
                </a:cubicBezTo>
                <a:cubicBezTo>
                  <a:pt x="374" y="48"/>
                  <a:pt x="373" y="49"/>
                  <a:pt x="371" y="49"/>
                </a:cubicBezTo>
                <a:cubicBezTo>
                  <a:pt x="372" y="48"/>
                  <a:pt x="370" y="48"/>
                  <a:pt x="371" y="47"/>
                </a:cubicBezTo>
                <a:cubicBezTo>
                  <a:pt x="370" y="47"/>
                  <a:pt x="367" y="48"/>
                  <a:pt x="368" y="47"/>
                </a:cubicBezTo>
                <a:cubicBezTo>
                  <a:pt x="365" y="48"/>
                  <a:pt x="363" y="48"/>
                  <a:pt x="361" y="48"/>
                </a:cubicBezTo>
                <a:cubicBezTo>
                  <a:pt x="361" y="47"/>
                  <a:pt x="362" y="47"/>
                  <a:pt x="363" y="47"/>
                </a:cubicBezTo>
                <a:cubicBezTo>
                  <a:pt x="363" y="47"/>
                  <a:pt x="361" y="47"/>
                  <a:pt x="359" y="47"/>
                </a:cubicBezTo>
                <a:cubicBezTo>
                  <a:pt x="358" y="48"/>
                  <a:pt x="355" y="48"/>
                  <a:pt x="351" y="48"/>
                </a:cubicBezTo>
                <a:cubicBezTo>
                  <a:pt x="351" y="49"/>
                  <a:pt x="354" y="48"/>
                  <a:pt x="354" y="49"/>
                </a:cubicBezTo>
                <a:cubicBezTo>
                  <a:pt x="350" y="50"/>
                  <a:pt x="351" y="49"/>
                  <a:pt x="348" y="49"/>
                </a:cubicBezTo>
                <a:cubicBezTo>
                  <a:pt x="350" y="50"/>
                  <a:pt x="344" y="50"/>
                  <a:pt x="342" y="50"/>
                </a:cubicBezTo>
                <a:cubicBezTo>
                  <a:pt x="340" y="50"/>
                  <a:pt x="343" y="50"/>
                  <a:pt x="341" y="51"/>
                </a:cubicBezTo>
                <a:cubicBezTo>
                  <a:pt x="336" y="52"/>
                  <a:pt x="334" y="52"/>
                  <a:pt x="332" y="51"/>
                </a:cubicBezTo>
                <a:cubicBezTo>
                  <a:pt x="334" y="50"/>
                  <a:pt x="335" y="51"/>
                  <a:pt x="335" y="51"/>
                </a:cubicBezTo>
                <a:cubicBezTo>
                  <a:pt x="336" y="51"/>
                  <a:pt x="336" y="51"/>
                  <a:pt x="336" y="51"/>
                </a:cubicBezTo>
                <a:cubicBezTo>
                  <a:pt x="336" y="50"/>
                  <a:pt x="334" y="51"/>
                  <a:pt x="335" y="50"/>
                </a:cubicBezTo>
                <a:cubicBezTo>
                  <a:pt x="331" y="51"/>
                  <a:pt x="331" y="51"/>
                  <a:pt x="331" y="52"/>
                </a:cubicBezTo>
                <a:cubicBezTo>
                  <a:pt x="330" y="51"/>
                  <a:pt x="326" y="51"/>
                  <a:pt x="326" y="52"/>
                </a:cubicBezTo>
                <a:cubicBezTo>
                  <a:pt x="323" y="53"/>
                  <a:pt x="325" y="52"/>
                  <a:pt x="326" y="51"/>
                </a:cubicBezTo>
                <a:cubicBezTo>
                  <a:pt x="326" y="51"/>
                  <a:pt x="322" y="52"/>
                  <a:pt x="321" y="53"/>
                </a:cubicBezTo>
                <a:cubicBezTo>
                  <a:pt x="321" y="53"/>
                  <a:pt x="322" y="53"/>
                  <a:pt x="323" y="53"/>
                </a:cubicBezTo>
                <a:cubicBezTo>
                  <a:pt x="321" y="53"/>
                  <a:pt x="315" y="54"/>
                  <a:pt x="316" y="55"/>
                </a:cubicBezTo>
                <a:cubicBezTo>
                  <a:pt x="314" y="56"/>
                  <a:pt x="314" y="55"/>
                  <a:pt x="312" y="55"/>
                </a:cubicBezTo>
                <a:cubicBezTo>
                  <a:pt x="313" y="55"/>
                  <a:pt x="314" y="54"/>
                  <a:pt x="315" y="54"/>
                </a:cubicBezTo>
                <a:cubicBezTo>
                  <a:pt x="317" y="53"/>
                  <a:pt x="317" y="53"/>
                  <a:pt x="320" y="52"/>
                </a:cubicBezTo>
                <a:cubicBezTo>
                  <a:pt x="319" y="52"/>
                  <a:pt x="314" y="54"/>
                  <a:pt x="313" y="54"/>
                </a:cubicBezTo>
                <a:cubicBezTo>
                  <a:pt x="310" y="54"/>
                  <a:pt x="314" y="54"/>
                  <a:pt x="312" y="55"/>
                </a:cubicBezTo>
                <a:cubicBezTo>
                  <a:pt x="308" y="56"/>
                  <a:pt x="308" y="56"/>
                  <a:pt x="304" y="57"/>
                </a:cubicBezTo>
                <a:cubicBezTo>
                  <a:pt x="305" y="57"/>
                  <a:pt x="307" y="57"/>
                  <a:pt x="307" y="56"/>
                </a:cubicBezTo>
                <a:cubicBezTo>
                  <a:pt x="305" y="56"/>
                  <a:pt x="302" y="58"/>
                  <a:pt x="302" y="58"/>
                </a:cubicBezTo>
                <a:cubicBezTo>
                  <a:pt x="299" y="59"/>
                  <a:pt x="304" y="57"/>
                  <a:pt x="301" y="58"/>
                </a:cubicBezTo>
                <a:cubicBezTo>
                  <a:pt x="301" y="57"/>
                  <a:pt x="304" y="57"/>
                  <a:pt x="303" y="57"/>
                </a:cubicBezTo>
                <a:cubicBezTo>
                  <a:pt x="303" y="57"/>
                  <a:pt x="298" y="58"/>
                  <a:pt x="297" y="58"/>
                </a:cubicBezTo>
                <a:cubicBezTo>
                  <a:pt x="298" y="59"/>
                  <a:pt x="301" y="57"/>
                  <a:pt x="301" y="58"/>
                </a:cubicBezTo>
                <a:cubicBezTo>
                  <a:pt x="296" y="59"/>
                  <a:pt x="295" y="60"/>
                  <a:pt x="292" y="60"/>
                </a:cubicBezTo>
                <a:cubicBezTo>
                  <a:pt x="290" y="61"/>
                  <a:pt x="289" y="61"/>
                  <a:pt x="289" y="62"/>
                </a:cubicBezTo>
                <a:cubicBezTo>
                  <a:pt x="288" y="62"/>
                  <a:pt x="283" y="62"/>
                  <a:pt x="283" y="63"/>
                </a:cubicBezTo>
                <a:cubicBezTo>
                  <a:pt x="279" y="65"/>
                  <a:pt x="279" y="64"/>
                  <a:pt x="276" y="65"/>
                </a:cubicBezTo>
                <a:cubicBezTo>
                  <a:pt x="274" y="66"/>
                  <a:pt x="277" y="66"/>
                  <a:pt x="276" y="66"/>
                </a:cubicBezTo>
                <a:cubicBezTo>
                  <a:pt x="273" y="67"/>
                  <a:pt x="273" y="67"/>
                  <a:pt x="273" y="67"/>
                </a:cubicBezTo>
                <a:cubicBezTo>
                  <a:pt x="275" y="65"/>
                  <a:pt x="264" y="71"/>
                  <a:pt x="260" y="71"/>
                </a:cubicBezTo>
                <a:cubicBezTo>
                  <a:pt x="259" y="72"/>
                  <a:pt x="259" y="72"/>
                  <a:pt x="259" y="73"/>
                </a:cubicBezTo>
                <a:cubicBezTo>
                  <a:pt x="257" y="73"/>
                  <a:pt x="254" y="74"/>
                  <a:pt x="253" y="75"/>
                </a:cubicBezTo>
                <a:cubicBezTo>
                  <a:pt x="253" y="75"/>
                  <a:pt x="253" y="75"/>
                  <a:pt x="253" y="74"/>
                </a:cubicBezTo>
                <a:cubicBezTo>
                  <a:pt x="248" y="77"/>
                  <a:pt x="246" y="78"/>
                  <a:pt x="239" y="81"/>
                </a:cubicBezTo>
                <a:cubicBezTo>
                  <a:pt x="240" y="80"/>
                  <a:pt x="244" y="78"/>
                  <a:pt x="245" y="78"/>
                </a:cubicBezTo>
                <a:cubicBezTo>
                  <a:pt x="244" y="78"/>
                  <a:pt x="244" y="76"/>
                  <a:pt x="243" y="77"/>
                </a:cubicBezTo>
                <a:cubicBezTo>
                  <a:pt x="243" y="77"/>
                  <a:pt x="242" y="76"/>
                  <a:pt x="243" y="75"/>
                </a:cubicBezTo>
                <a:cubicBezTo>
                  <a:pt x="244" y="75"/>
                  <a:pt x="244" y="75"/>
                  <a:pt x="245" y="75"/>
                </a:cubicBezTo>
                <a:cubicBezTo>
                  <a:pt x="247" y="74"/>
                  <a:pt x="243" y="74"/>
                  <a:pt x="246" y="73"/>
                </a:cubicBezTo>
                <a:cubicBezTo>
                  <a:pt x="245" y="73"/>
                  <a:pt x="244" y="74"/>
                  <a:pt x="243" y="75"/>
                </a:cubicBezTo>
                <a:cubicBezTo>
                  <a:pt x="243" y="73"/>
                  <a:pt x="250" y="71"/>
                  <a:pt x="252" y="71"/>
                </a:cubicBezTo>
                <a:cubicBezTo>
                  <a:pt x="254" y="70"/>
                  <a:pt x="251" y="70"/>
                  <a:pt x="254" y="69"/>
                </a:cubicBezTo>
                <a:cubicBezTo>
                  <a:pt x="247" y="70"/>
                  <a:pt x="242" y="74"/>
                  <a:pt x="237" y="76"/>
                </a:cubicBezTo>
                <a:cubicBezTo>
                  <a:pt x="236" y="76"/>
                  <a:pt x="237" y="76"/>
                  <a:pt x="237" y="76"/>
                </a:cubicBezTo>
                <a:cubicBezTo>
                  <a:pt x="235" y="77"/>
                  <a:pt x="233" y="78"/>
                  <a:pt x="233" y="78"/>
                </a:cubicBezTo>
                <a:cubicBezTo>
                  <a:pt x="234" y="77"/>
                  <a:pt x="235" y="77"/>
                  <a:pt x="235" y="76"/>
                </a:cubicBezTo>
                <a:cubicBezTo>
                  <a:pt x="232" y="77"/>
                  <a:pt x="234" y="77"/>
                  <a:pt x="231" y="78"/>
                </a:cubicBezTo>
                <a:cubicBezTo>
                  <a:pt x="229" y="78"/>
                  <a:pt x="231" y="77"/>
                  <a:pt x="227" y="79"/>
                </a:cubicBezTo>
                <a:cubicBezTo>
                  <a:pt x="227" y="78"/>
                  <a:pt x="230" y="77"/>
                  <a:pt x="231" y="76"/>
                </a:cubicBezTo>
                <a:cubicBezTo>
                  <a:pt x="229" y="77"/>
                  <a:pt x="228" y="77"/>
                  <a:pt x="224" y="79"/>
                </a:cubicBezTo>
                <a:cubicBezTo>
                  <a:pt x="227" y="76"/>
                  <a:pt x="236" y="73"/>
                  <a:pt x="233" y="72"/>
                </a:cubicBezTo>
                <a:cubicBezTo>
                  <a:pt x="233" y="72"/>
                  <a:pt x="231" y="72"/>
                  <a:pt x="231" y="72"/>
                </a:cubicBezTo>
                <a:cubicBezTo>
                  <a:pt x="229" y="73"/>
                  <a:pt x="233" y="72"/>
                  <a:pt x="230" y="73"/>
                </a:cubicBezTo>
                <a:cubicBezTo>
                  <a:pt x="230" y="73"/>
                  <a:pt x="232" y="73"/>
                  <a:pt x="232" y="73"/>
                </a:cubicBezTo>
                <a:cubicBezTo>
                  <a:pt x="227" y="76"/>
                  <a:pt x="222" y="80"/>
                  <a:pt x="219" y="80"/>
                </a:cubicBezTo>
                <a:cubicBezTo>
                  <a:pt x="223" y="79"/>
                  <a:pt x="216" y="80"/>
                  <a:pt x="222" y="77"/>
                </a:cubicBezTo>
                <a:cubicBezTo>
                  <a:pt x="221" y="76"/>
                  <a:pt x="216" y="78"/>
                  <a:pt x="218" y="76"/>
                </a:cubicBezTo>
                <a:cubicBezTo>
                  <a:pt x="217" y="77"/>
                  <a:pt x="210" y="80"/>
                  <a:pt x="210" y="82"/>
                </a:cubicBezTo>
                <a:cubicBezTo>
                  <a:pt x="205" y="84"/>
                  <a:pt x="210" y="81"/>
                  <a:pt x="203" y="85"/>
                </a:cubicBezTo>
                <a:cubicBezTo>
                  <a:pt x="207" y="83"/>
                  <a:pt x="205" y="85"/>
                  <a:pt x="206" y="85"/>
                </a:cubicBezTo>
                <a:cubicBezTo>
                  <a:pt x="203" y="87"/>
                  <a:pt x="205" y="85"/>
                  <a:pt x="204" y="85"/>
                </a:cubicBezTo>
                <a:cubicBezTo>
                  <a:pt x="202" y="86"/>
                  <a:pt x="201" y="88"/>
                  <a:pt x="199" y="88"/>
                </a:cubicBezTo>
                <a:cubicBezTo>
                  <a:pt x="199" y="89"/>
                  <a:pt x="199" y="89"/>
                  <a:pt x="198" y="89"/>
                </a:cubicBezTo>
                <a:cubicBezTo>
                  <a:pt x="200" y="89"/>
                  <a:pt x="202" y="86"/>
                  <a:pt x="203" y="86"/>
                </a:cubicBezTo>
                <a:cubicBezTo>
                  <a:pt x="204" y="87"/>
                  <a:pt x="202" y="88"/>
                  <a:pt x="201" y="88"/>
                </a:cubicBezTo>
                <a:cubicBezTo>
                  <a:pt x="201" y="89"/>
                  <a:pt x="205" y="87"/>
                  <a:pt x="202" y="89"/>
                </a:cubicBezTo>
                <a:cubicBezTo>
                  <a:pt x="202" y="89"/>
                  <a:pt x="204" y="88"/>
                  <a:pt x="205" y="87"/>
                </a:cubicBezTo>
                <a:cubicBezTo>
                  <a:pt x="203" y="89"/>
                  <a:pt x="198" y="91"/>
                  <a:pt x="198" y="92"/>
                </a:cubicBezTo>
                <a:cubicBezTo>
                  <a:pt x="198" y="92"/>
                  <a:pt x="198" y="91"/>
                  <a:pt x="195" y="93"/>
                </a:cubicBezTo>
                <a:cubicBezTo>
                  <a:pt x="195" y="92"/>
                  <a:pt x="196" y="92"/>
                  <a:pt x="197" y="91"/>
                </a:cubicBezTo>
                <a:cubicBezTo>
                  <a:pt x="196" y="91"/>
                  <a:pt x="194" y="92"/>
                  <a:pt x="192" y="94"/>
                </a:cubicBezTo>
                <a:cubicBezTo>
                  <a:pt x="191" y="94"/>
                  <a:pt x="190" y="94"/>
                  <a:pt x="190" y="93"/>
                </a:cubicBezTo>
                <a:cubicBezTo>
                  <a:pt x="187" y="95"/>
                  <a:pt x="190" y="94"/>
                  <a:pt x="187" y="96"/>
                </a:cubicBezTo>
                <a:cubicBezTo>
                  <a:pt x="189" y="94"/>
                  <a:pt x="184" y="97"/>
                  <a:pt x="184" y="96"/>
                </a:cubicBezTo>
                <a:cubicBezTo>
                  <a:pt x="182" y="98"/>
                  <a:pt x="180" y="99"/>
                  <a:pt x="179" y="100"/>
                </a:cubicBezTo>
                <a:cubicBezTo>
                  <a:pt x="179" y="99"/>
                  <a:pt x="179" y="98"/>
                  <a:pt x="181" y="98"/>
                </a:cubicBezTo>
                <a:cubicBezTo>
                  <a:pt x="184" y="96"/>
                  <a:pt x="180" y="98"/>
                  <a:pt x="180" y="97"/>
                </a:cubicBezTo>
                <a:cubicBezTo>
                  <a:pt x="184" y="95"/>
                  <a:pt x="186" y="93"/>
                  <a:pt x="191" y="90"/>
                </a:cubicBezTo>
                <a:cubicBezTo>
                  <a:pt x="188" y="92"/>
                  <a:pt x="189" y="92"/>
                  <a:pt x="192" y="90"/>
                </a:cubicBezTo>
                <a:cubicBezTo>
                  <a:pt x="194" y="88"/>
                  <a:pt x="194" y="88"/>
                  <a:pt x="198" y="86"/>
                </a:cubicBezTo>
                <a:cubicBezTo>
                  <a:pt x="200" y="85"/>
                  <a:pt x="196" y="86"/>
                  <a:pt x="200" y="84"/>
                </a:cubicBezTo>
                <a:cubicBezTo>
                  <a:pt x="199" y="85"/>
                  <a:pt x="204" y="82"/>
                  <a:pt x="204" y="84"/>
                </a:cubicBezTo>
                <a:cubicBezTo>
                  <a:pt x="204" y="84"/>
                  <a:pt x="206" y="83"/>
                  <a:pt x="208" y="82"/>
                </a:cubicBezTo>
                <a:cubicBezTo>
                  <a:pt x="208" y="81"/>
                  <a:pt x="209" y="81"/>
                  <a:pt x="209" y="81"/>
                </a:cubicBezTo>
                <a:cubicBezTo>
                  <a:pt x="209" y="80"/>
                  <a:pt x="205" y="82"/>
                  <a:pt x="207" y="82"/>
                </a:cubicBezTo>
                <a:cubicBezTo>
                  <a:pt x="205" y="83"/>
                  <a:pt x="203" y="84"/>
                  <a:pt x="203" y="83"/>
                </a:cubicBezTo>
                <a:cubicBezTo>
                  <a:pt x="206" y="81"/>
                  <a:pt x="206" y="81"/>
                  <a:pt x="206" y="81"/>
                </a:cubicBezTo>
                <a:cubicBezTo>
                  <a:pt x="206" y="81"/>
                  <a:pt x="205" y="82"/>
                  <a:pt x="206" y="82"/>
                </a:cubicBezTo>
                <a:cubicBezTo>
                  <a:pt x="208" y="81"/>
                  <a:pt x="207" y="81"/>
                  <a:pt x="207" y="80"/>
                </a:cubicBezTo>
                <a:cubicBezTo>
                  <a:pt x="208" y="79"/>
                  <a:pt x="209" y="80"/>
                  <a:pt x="210" y="79"/>
                </a:cubicBezTo>
                <a:cubicBezTo>
                  <a:pt x="212" y="78"/>
                  <a:pt x="209" y="81"/>
                  <a:pt x="213" y="79"/>
                </a:cubicBezTo>
                <a:cubicBezTo>
                  <a:pt x="215" y="78"/>
                  <a:pt x="214" y="77"/>
                  <a:pt x="216" y="77"/>
                </a:cubicBezTo>
                <a:cubicBezTo>
                  <a:pt x="218" y="75"/>
                  <a:pt x="218" y="73"/>
                  <a:pt x="217" y="73"/>
                </a:cubicBezTo>
                <a:cubicBezTo>
                  <a:pt x="216" y="74"/>
                  <a:pt x="216" y="74"/>
                  <a:pt x="213" y="75"/>
                </a:cubicBezTo>
                <a:cubicBezTo>
                  <a:pt x="213" y="74"/>
                  <a:pt x="213" y="74"/>
                  <a:pt x="213" y="74"/>
                </a:cubicBezTo>
                <a:cubicBezTo>
                  <a:pt x="219" y="70"/>
                  <a:pt x="218" y="72"/>
                  <a:pt x="221" y="70"/>
                </a:cubicBezTo>
                <a:cubicBezTo>
                  <a:pt x="222" y="70"/>
                  <a:pt x="220" y="71"/>
                  <a:pt x="219" y="72"/>
                </a:cubicBezTo>
                <a:cubicBezTo>
                  <a:pt x="218" y="73"/>
                  <a:pt x="221" y="71"/>
                  <a:pt x="219" y="73"/>
                </a:cubicBezTo>
                <a:cubicBezTo>
                  <a:pt x="219" y="73"/>
                  <a:pt x="223" y="71"/>
                  <a:pt x="222" y="72"/>
                </a:cubicBezTo>
                <a:cubicBezTo>
                  <a:pt x="224" y="71"/>
                  <a:pt x="221" y="72"/>
                  <a:pt x="221" y="71"/>
                </a:cubicBezTo>
                <a:cubicBezTo>
                  <a:pt x="224" y="70"/>
                  <a:pt x="221" y="70"/>
                  <a:pt x="224" y="68"/>
                </a:cubicBezTo>
                <a:cubicBezTo>
                  <a:pt x="224" y="68"/>
                  <a:pt x="224" y="68"/>
                  <a:pt x="224" y="68"/>
                </a:cubicBezTo>
                <a:cubicBezTo>
                  <a:pt x="223" y="68"/>
                  <a:pt x="223" y="69"/>
                  <a:pt x="221" y="70"/>
                </a:cubicBezTo>
                <a:cubicBezTo>
                  <a:pt x="224" y="66"/>
                  <a:pt x="231" y="66"/>
                  <a:pt x="235" y="63"/>
                </a:cubicBezTo>
                <a:cubicBezTo>
                  <a:pt x="234" y="63"/>
                  <a:pt x="233" y="64"/>
                  <a:pt x="234" y="62"/>
                </a:cubicBezTo>
                <a:cubicBezTo>
                  <a:pt x="231" y="63"/>
                  <a:pt x="234" y="63"/>
                  <a:pt x="231" y="64"/>
                </a:cubicBezTo>
                <a:cubicBezTo>
                  <a:pt x="233" y="63"/>
                  <a:pt x="232" y="63"/>
                  <a:pt x="234" y="61"/>
                </a:cubicBezTo>
                <a:cubicBezTo>
                  <a:pt x="236" y="60"/>
                  <a:pt x="235" y="61"/>
                  <a:pt x="234" y="61"/>
                </a:cubicBezTo>
                <a:cubicBezTo>
                  <a:pt x="235" y="61"/>
                  <a:pt x="236" y="61"/>
                  <a:pt x="236" y="62"/>
                </a:cubicBezTo>
                <a:cubicBezTo>
                  <a:pt x="239" y="60"/>
                  <a:pt x="239" y="60"/>
                  <a:pt x="241" y="59"/>
                </a:cubicBezTo>
                <a:cubicBezTo>
                  <a:pt x="240" y="60"/>
                  <a:pt x="244" y="58"/>
                  <a:pt x="245" y="58"/>
                </a:cubicBezTo>
                <a:cubicBezTo>
                  <a:pt x="248" y="57"/>
                  <a:pt x="244" y="57"/>
                  <a:pt x="247" y="57"/>
                </a:cubicBezTo>
                <a:cubicBezTo>
                  <a:pt x="249" y="55"/>
                  <a:pt x="249" y="56"/>
                  <a:pt x="249" y="56"/>
                </a:cubicBezTo>
                <a:cubicBezTo>
                  <a:pt x="248" y="58"/>
                  <a:pt x="246" y="58"/>
                  <a:pt x="244" y="59"/>
                </a:cubicBezTo>
                <a:cubicBezTo>
                  <a:pt x="245" y="59"/>
                  <a:pt x="246" y="59"/>
                  <a:pt x="244" y="61"/>
                </a:cubicBezTo>
                <a:cubicBezTo>
                  <a:pt x="244" y="61"/>
                  <a:pt x="245" y="60"/>
                  <a:pt x="245" y="61"/>
                </a:cubicBezTo>
                <a:cubicBezTo>
                  <a:pt x="245" y="60"/>
                  <a:pt x="245" y="60"/>
                  <a:pt x="246" y="59"/>
                </a:cubicBezTo>
                <a:cubicBezTo>
                  <a:pt x="247" y="59"/>
                  <a:pt x="248" y="59"/>
                  <a:pt x="248" y="59"/>
                </a:cubicBezTo>
                <a:cubicBezTo>
                  <a:pt x="250" y="58"/>
                  <a:pt x="245" y="59"/>
                  <a:pt x="246" y="59"/>
                </a:cubicBezTo>
                <a:cubicBezTo>
                  <a:pt x="248" y="57"/>
                  <a:pt x="253" y="56"/>
                  <a:pt x="253" y="55"/>
                </a:cubicBezTo>
                <a:cubicBezTo>
                  <a:pt x="255" y="54"/>
                  <a:pt x="255" y="55"/>
                  <a:pt x="257" y="55"/>
                </a:cubicBezTo>
                <a:cubicBezTo>
                  <a:pt x="257" y="54"/>
                  <a:pt x="264" y="50"/>
                  <a:pt x="267" y="50"/>
                </a:cubicBezTo>
                <a:cubicBezTo>
                  <a:pt x="271" y="49"/>
                  <a:pt x="268" y="48"/>
                  <a:pt x="268" y="48"/>
                </a:cubicBezTo>
                <a:cubicBezTo>
                  <a:pt x="266" y="49"/>
                  <a:pt x="263" y="49"/>
                  <a:pt x="263" y="50"/>
                </a:cubicBezTo>
                <a:cubicBezTo>
                  <a:pt x="263" y="50"/>
                  <a:pt x="265" y="50"/>
                  <a:pt x="266" y="49"/>
                </a:cubicBezTo>
                <a:cubicBezTo>
                  <a:pt x="263" y="51"/>
                  <a:pt x="256" y="53"/>
                  <a:pt x="253" y="55"/>
                </a:cubicBezTo>
                <a:cubicBezTo>
                  <a:pt x="253" y="54"/>
                  <a:pt x="252" y="54"/>
                  <a:pt x="254" y="53"/>
                </a:cubicBezTo>
                <a:cubicBezTo>
                  <a:pt x="256" y="52"/>
                  <a:pt x="258" y="52"/>
                  <a:pt x="258" y="51"/>
                </a:cubicBezTo>
                <a:cubicBezTo>
                  <a:pt x="261" y="50"/>
                  <a:pt x="259" y="52"/>
                  <a:pt x="257" y="52"/>
                </a:cubicBezTo>
                <a:cubicBezTo>
                  <a:pt x="261" y="51"/>
                  <a:pt x="263" y="49"/>
                  <a:pt x="267" y="48"/>
                </a:cubicBezTo>
                <a:cubicBezTo>
                  <a:pt x="262" y="49"/>
                  <a:pt x="253" y="52"/>
                  <a:pt x="247" y="55"/>
                </a:cubicBezTo>
                <a:cubicBezTo>
                  <a:pt x="244" y="56"/>
                  <a:pt x="242" y="56"/>
                  <a:pt x="242" y="55"/>
                </a:cubicBezTo>
                <a:cubicBezTo>
                  <a:pt x="240" y="56"/>
                  <a:pt x="242" y="56"/>
                  <a:pt x="242" y="57"/>
                </a:cubicBezTo>
                <a:cubicBezTo>
                  <a:pt x="240" y="57"/>
                  <a:pt x="241" y="58"/>
                  <a:pt x="239" y="58"/>
                </a:cubicBezTo>
                <a:cubicBezTo>
                  <a:pt x="238" y="58"/>
                  <a:pt x="240" y="57"/>
                  <a:pt x="239" y="57"/>
                </a:cubicBezTo>
                <a:cubicBezTo>
                  <a:pt x="238" y="57"/>
                  <a:pt x="236" y="58"/>
                  <a:pt x="234" y="59"/>
                </a:cubicBezTo>
                <a:cubicBezTo>
                  <a:pt x="233" y="60"/>
                  <a:pt x="235" y="59"/>
                  <a:pt x="234" y="60"/>
                </a:cubicBezTo>
                <a:cubicBezTo>
                  <a:pt x="236" y="59"/>
                  <a:pt x="235" y="59"/>
                  <a:pt x="235" y="59"/>
                </a:cubicBezTo>
                <a:cubicBezTo>
                  <a:pt x="237" y="57"/>
                  <a:pt x="237" y="58"/>
                  <a:pt x="239" y="58"/>
                </a:cubicBezTo>
                <a:cubicBezTo>
                  <a:pt x="238" y="59"/>
                  <a:pt x="227" y="63"/>
                  <a:pt x="229" y="64"/>
                </a:cubicBezTo>
                <a:cubicBezTo>
                  <a:pt x="228" y="64"/>
                  <a:pt x="227" y="64"/>
                  <a:pt x="226" y="64"/>
                </a:cubicBezTo>
                <a:cubicBezTo>
                  <a:pt x="229" y="61"/>
                  <a:pt x="225" y="63"/>
                  <a:pt x="223" y="62"/>
                </a:cubicBezTo>
                <a:cubicBezTo>
                  <a:pt x="222" y="63"/>
                  <a:pt x="222" y="63"/>
                  <a:pt x="220" y="64"/>
                </a:cubicBezTo>
                <a:cubicBezTo>
                  <a:pt x="220" y="64"/>
                  <a:pt x="221" y="63"/>
                  <a:pt x="221" y="63"/>
                </a:cubicBezTo>
                <a:cubicBezTo>
                  <a:pt x="216" y="65"/>
                  <a:pt x="222" y="64"/>
                  <a:pt x="217" y="66"/>
                </a:cubicBezTo>
                <a:cubicBezTo>
                  <a:pt x="217" y="65"/>
                  <a:pt x="218" y="65"/>
                  <a:pt x="218" y="64"/>
                </a:cubicBezTo>
                <a:cubicBezTo>
                  <a:pt x="213" y="68"/>
                  <a:pt x="214" y="68"/>
                  <a:pt x="210" y="70"/>
                </a:cubicBezTo>
                <a:cubicBezTo>
                  <a:pt x="209" y="69"/>
                  <a:pt x="209" y="69"/>
                  <a:pt x="209" y="69"/>
                </a:cubicBezTo>
                <a:cubicBezTo>
                  <a:pt x="209" y="69"/>
                  <a:pt x="207" y="71"/>
                  <a:pt x="205" y="72"/>
                </a:cubicBezTo>
                <a:cubicBezTo>
                  <a:pt x="205" y="72"/>
                  <a:pt x="207" y="72"/>
                  <a:pt x="204" y="74"/>
                </a:cubicBezTo>
                <a:cubicBezTo>
                  <a:pt x="204" y="73"/>
                  <a:pt x="205" y="72"/>
                  <a:pt x="203" y="73"/>
                </a:cubicBezTo>
                <a:cubicBezTo>
                  <a:pt x="201" y="75"/>
                  <a:pt x="199" y="76"/>
                  <a:pt x="198" y="77"/>
                </a:cubicBezTo>
                <a:cubicBezTo>
                  <a:pt x="199" y="76"/>
                  <a:pt x="202" y="75"/>
                  <a:pt x="198" y="78"/>
                </a:cubicBezTo>
                <a:cubicBezTo>
                  <a:pt x="199" y="78"/>
                  <a:pt x="201" y="77"/>
                  <a:pt x="203" y="75"/>
                </a:cubicBezTo>
                <a:cubicBezTo>
                  <a:pt x="203" y="76"/>
                  <a:pt x="196" y="80"/>
                  <a:pt x="194" y="81"/>
                </a:cubicBezTo>
                <a:cubicBezTo>
                  <a:pt x="197" y="79"/>
                  <a:pt x="196" y="79"/>
                  <a:pt x="197" y="77"/>
                </a:cubicBezTo>
                <a:cubicBezTo>
                  <a:pt x="194" y="79"/>
                  <a:pt x="195" y="78"/>
                  <a:pt x="192" y="80"/>
                </a:cubicBezTo>
                <a:cubicBezTo>
                  <a:pt x="191" y="80"/>
                  <a:pt x="192" y="80"/>
                  <a:pt x="192" y="81"/>
                </a:cubicBezTo>
                <a:cubicBezTo>
                  <a:pt x="187" y="83"/>
                  <a:pt x="184" y="85"/>
                  <a:pt x="179" y="89"/>
                </a:cubicBezTo>
                <a:cubicBezTo>
                  <a:pt x="179" y="89"/>
                  <a:pt x="180" y="89"/>
                  <a:pt x="180" y="89"/>
                </a:cubicBezTo>
                <a:cubicBezTo>
                  <a:pt x="181" y="88"/>
                  <a:pt x="181" y="88"/>
                  <a:pt x="183" y="87"/>
                </a:cubicBezTo>
                <a:cubicBezTo>
                  <a:pt x="182" y="88"/>
                  <a:pt x="182" y="89"/>
                  <a:pt x="182" y="90"/>
                </a:cubicBezTo>
                <a:cubicBezTo>
                  <a:pt x="179" y="91"/>
                  <a:pt x="178" y="93"/>
                  <a:pt x="177" y="92"/>
                </a:cubicBezTo>
                <a:cubicBezTo>
                  <a:pt x="176" y="94"/>
                  <a:pt x="174" y="95"/>
                  <a:pt x="172" y="96"/>
                </a:cubicBezTo>
                <a:cubicBezTo>
                  <a:pt x="171" y="96"/>
                  <a:pt x="173" y="94"/>
                  <a:pt x="173" y="94"/>
                </a:cubicBezTo>
                <a:cubicBezTo>
                  <a:pt x="169" y="96"/>
                  <a:pt x="172" y="96"/>
                  <a:pt x="171" y="97"/>
                </a:cubicBezTo>
                <a:cubicBezTo>
                  <a:pt x="171" y="97"/>
                  <a:pt x="172" y="96"/>
                  <a:pt x="173" y="95"/>
                </a:cubicBezTo>
                <a:cubicBezTo>
                  <a:pt x="173" y="96"/>
                  <a:pt x="169" y="100"/>
                  <a:pt x="173" y="97"/>
                </a:cubicBezTo>
                <a:cubicBezTo>
                  <a:pt x="171" y="99"/>
                  <a:pt x="166" y="102"/>
                  <a:pt x="166" y="101"/>
                </a:cubicBezTo>
                <a:cubicBezTo>
                  <a:pt x="169" y="98"/>
                  <a:pt x="167" y="98"/>
                  <a:pt x="169" y="97"/>
                </a:cubicBezTo>
                <a:cubicBezTo>
                  <a:pt x="168" y="96"/>
                  <a:pt x="165" y="99"/>
                  <a:pt x="163" y="101"/>
                </a:cubicBezTo>
                <a:cubicBezTo>
                  <a:pt x="163" y="101"/>
                  <a:pt x="162" y="101"/>
                  <a:pt x="162" y="101"/>
                </a:cubicBezTo>
                <a:cubicBezTo>
                  <a:pt x="162" y="101"/>
                  <a:pt x="163" y="100"/>
                  <a:pt x="163" y="100"/>
                </a:cubicBezTo>
                <a:cubicBezTo>
                  <a:pt x="163" y="100"/>
                  <a:pt x="162" y="100"/>
                  <a:pt x="161" y="101"/>
                </a:cubicBezTo>
                <a:cubicBezTo>
                  <a:pt x="162" y="102"/>
                  <a:pt x="162" y="102"/>
                  <a:pt x="158" y="102"/>
                </a:cubicBezTo>
                <a:cubicBezTo>
                  <a:pt x="157" y="104"/>
                  <a:pt x="161" y="102"/>
                  <a:pt x="157" y="105"/>
                </a:cubicBezTo>
                <a:cubicBezTo>
                  <a:pt x="157" y="104"/>
                  <a:pt x="155" y="105"/>
                  <a:pt x="154" y="106"/>
                </a:cubicBezTo>
                <a:cubicBezTo>
                  <a:pt x="157" y="105"/>
                  <a:pt x="154" y="107"/>
                  <a:pt x="154" y="107"/>
                </a:cubicBezTo>
                <a:cubicBezTo>
                  <a:pt x="152" y="109"/>
                  <a:pt x="153" y="108"/>
                  <a:pt x="151" y="109"/>
                </a:cubicBezTo>
                <a:cubicBezTo>
                  <a:pt x="151" y="109"/>
                  <a:pt x="153" y="108"/>
                  <a:pt x="152" y="108"/>
                </a:cubicBezTo>
                <a:cubicBezTo>
                  <a:pt x="152" y="108"/>
                  <a:pt x="152" y="108"/>
                  <a:pt x="151" y="108"/>
                </a:cubicBezTo>
                <a:cubicBezTo>
                  <a:pt x="150" y="109"/>
                  <a:pt x="151" y="109"/>
                  <a:pt x="150" y="110"/>
                </a:cubicBezTo>
                <a:cubicBezTo>
                  <a:pt x="150" y="111"/>
                  <a:pt x="153" y="108"/>
                  <a:pt x="150" y="111"/>
                </a:cubicBezTo>
                <a:cubicBezTo>
                  <a:pt x="151" y="111"/>
                  <a:pt x="154" y="109"/>
                  <a:pt x="154" y="108"/>
                </a:cubicBezTo>
                <a:cubicBezTo>
                  <a:pt x="154" y="109"/>
                  <a:pt x="156" y="108"/>
                  <a:pt x="156" y="108"/>
                </a:cubicBezTo>
                <a:cubicBezTo>
                  <a:pt x="154" y="110"/>
                  <a:pt x="154" y="109"/>
                  <a:pt x="153" y="110"/>
                </a:cubicBezTo>
                <a:cubicBezTo>
                  <a:pt x="152" y="111"/>
                  <a:pt x="149" y="113"/>
                  <a:pt x="149" y="114"/>
                </a:cubicBezTo>
                <a:cubicBezTo>
                  <a:pt x="150" y="113"/>
                  <a:pt x="153" y="110"/>
                  <a:pt x="154" y="111"/>
                </a:cubicBezTo>
                <a:cubicBezTo>
                  <a:pt x="151" y="113"/>
                  <a:pt x="152" y="113"/>
                  <a:pt x="153" y="113"/>
                </a:cubicBezTo>
                <a:cubicBezTo>
                  <a:pt x="153" y="113"/>
                  <a:pt x="152" y="113"/>
                  <a:pt x="152" y="113"/>
                </a:cubicBezTo>
                <a:cubicBezTo>
                  <a:pt x="152" y="113"/>
                  <a:pt x="152" y="114"/>
                  <a:pt x="152" y="114"/>
                </a:cubicBezTo>
                <a:cubicBezTo>
                  <a:pt x="150" y="114"/>
                  <a:pt x="153" y="111"/>
                  <a:pt x="149" y="114"/>
                </a:cubicBezTo>
                <a:cubicBezTo>
                  <a:pt x="149" y="116"/>
                  <a:pt x="146" y="119"/>
                  <a:pt x="150" y="117"/>
                </a:cubicBezTo>
                <a:cubicBezTo>
                  <a:pt x="149" y="118"/>
                  <a:pt x="149" y="118"/>
                  <a:pt x="149" y="118"/>
                </a:cubicBezTo>
                <a:cubicBezTo>
                  <a:pt x="147" y="120"/>
                  <a:pt x="146" y="119"/>
                  <a:pt x="147" y="118"/>
                </a:cubicBezTo>
                <a:cubicBezTo>
                  <a:pt x="144" y="118"/>
                  <a:pt x="140" y="124"/>
                  <a:pt x="138" y="124"/>
                </a:cubicBezTo>
                <a:cubicBezTo>
                  <a:pt x="139" y="124"/>
                  <a:pt x="136" y="126"/>
                  <a:pt x="136" y="127"/>
                </a:cubicBezTo>
                <a:cubicBezTo>
                  <a:pt x="137" y="127"/>
                  <a:pt x="140" y="125"/>
                  <a:pt x="143" y="122"/>
                </a:cubicBezTo>
                <a:cubicBezTo>
                  <a:pt x="143" y="122"/>
                  <a:pt x="143" y="122"/>
                  <a:pt x="143" y="122"/>
                </a:cubicBezTo>
                <a:cubicBezTo>
                  <a:pt x="144" y="121"/>
                  <a:pt x="142" y="123"/>
                  <a:pt x="144" y="123"/>
                </a:cubicBezTo>
                <a:cubicBezTo>
                  <a:pt x="142" y="122"/>
                  <a:pt x="139" y="127"/>
                  <a:pt x="138" y="126"/>
                </a:cubicBezTo>
                <a:cubicBezTo>
                  <a:pt x="135" y="128"/>
                  <a:pt x="135" y="129"/>
                  <a:pt x="134" y="130"/>
                </a:cubicBezTo>
                <a:cubicBezTo>
                  <a:pt x="137" y="129"/>
                  <a:pt x="137" y="128"/>
                  <a:pt x="139" y="127"/>
                </a:cubicBezTo>
                <a:cubicBezTo>
                  <a:pt x="139" y="128"/>
                  <a:pt x="140" y="127"/>
                  <a:pt x="139" y="128"/>
                </a:cubicBezTo>
                <a:cubicBezTo>
                  <a:pt x="140" y="128"/>
                  <a:pt x="141" y="127"/>
                  <a:pt x="141" y="127"/>
                </a:cubicBezTo>
                <a:cubicBezTo>
                  <a:pt x="142" y="126"/>
                  <a:pt x="142" y="126"/>
                  <a:pt x="142" y="126"/>
                </a:cubicBezTo>
                <a:cubicBezTo>
                  <a:pt x="143" y="125"/>
                  <a:pt x="144" y="125"/>
                  <a:pt x="146" y="123"/>
                </a:cubicBezTo>
                <a:cubicBezTo>
                  <a:pt x="147" y="121"/>
                  <a:pt x="151" y="120"/>
                  <a:pt x="154" y="116"/>
                </a:cubicBezTo>
                <a:cubicBezTo>
                  <a:pt x="159" y="114"/>
                  <a:pt x="160" y="110"/>
                  <a:pt x="162" y="111"/>
                </a:cubicBezTo>
                <a:cubicBezTo>
                  <a:pt x="165" y="107"/>
                  <a:pt x="169" y="106"/>
                  <a:pt x="173" y="103"/>
                </a:cubicBezTo>
                <a:cubicBezTo>
                  <a:pt x="175" y="101"/>
                  <a:pt x="172" y="103"/>
                  <a:pt x="174" y="102"/>
                </a:cubicBezTo>
                <a:cubicBezTo>
                  <a:pt x="175" y="101"/>
                  <a:pt x="176" y="101"/>
                  <a:pt x="178" y="100"/>
                </a:cubicBezTo>
                <a:cubicBezTo>
                  <a:pt x="174" y="104"/>
                  <a:pt x="169" y="106"/>
                  <a:pt x="163" y="111"/>
                </a:cubicBezTo>
                <a:cubicBezTo>
                  <a:pt x="166" y="111"/>
                  <a:pt x="178" y="99"/>
                  <a:pt x="183" y="98"/>
                </a:cubicBezTo>
                <a:cubicBezTo>
                  <a:pt x="183" y="98"/>
                  <a:pt x="180" y="101"/>
                  <a:pt x="183" y="99"/>
                </a:cubicBezTo>
                <a:cubicBezTo>
                  <a:pt x="183" y="100"/>
                  <a:pt x="177" y="103"/>
                  <a:pt x="177" y="104"/>
                </a:cubicBezTo>
                <a:cubicBezTo>
                  <a:pt x="173" y="106"/>
                  <a:pt x="172" y="108"/>
                  <a:pt x="168" y="110"/>
                </a:cubicBezTo>
                <a:cubicBezTo>
                  <a:pt x="168" y="111"/>
                  <a:pt x="168" y="111"/>
                  <a:pt x="168" y="111"/>
                </a:cubicBezTo>
                <a:cubicBezTo>
                  <a:pt x="170" y="109"/>
                  <a:pt x="173" y="108"/>
                  <a:pt x="176" y="106"/>
                </a:cubicBezTo>
                <a:cubicBezTo>
                  <a:pt x="175" y="107"/>
                  <a:pt x="175" y="107"/>
                  <a:pt x="176" y="107"/>
                </a:cubicBezTo>
                <a:cubicBezTo>
                  <a:pt x="173" y="109"/>
                  <a:pt x="173" y="109"/>
                  <a:pt x="169" y="112"/>
                </a:cubicBezTo>
                <a:cubicBezTo>
                  <a:pt x="168" y="112"/>
                  <a:pt x="168" y="112"/>
                  <a:pt x="168" y="112"/>
                </a:cubicBezTo>
                <a:cubicBezTo>
                  <a:pt x="166" y="114"/>
                  <a:pt x="163" y="116"/>
                  <a:pt x="159" y="119"/>
                </a:cubicBezTo>
                <a:cubicBezTo>
                  <a:pt x="160" y="120"/>
                  <a:pt x="165" y="115"/>
                  <a:pt x="166" y="114"/>
                </a:cubicBezTo>
                <a:cubicBezTo>
                  <a:pt x="167" y="114"/>
                  <a:pt x="166" y="114"/>
                  <a:pt x="166" y="114"/>
                </a:cubicBezTo>
                <a:cubicBezTo>
                  <a:pt x="164" y="116"/>
                  <a:pt x="168" y="113"/>
                  <a:pt x="168" y="114"/>
                </a:cubicBezTo>
                <a:cubicBezTo>
                  <a:pt x="169" y="112"/>
                  <a:pt x="172" y="111"/>
                  <a:pt x="175" y="108"/>
                </a:cubicBezTo>
                <a:cubicBezTo>
                  <a:pt x="175" y="109"/>
                  <a:pt x="174" y="110"/>
                  <a:pt x="174" y="110"/>
                </a:cubicBezTo>
                <a:cubicBezTo>
                  <a:pt x="176" y="108"/>
                  <a:pt x="181" y="104"/>
                  <a:pt x="183" y="104"/>
                </a:cubicBezTo>
                <a:cubicBezTo>
                  <a:pt x="185" y="102"/>
                  <a:pt x="189" y="100"/>
                  <a:pt x="190" y="98"/>
                </a:cubicBezTo>
                <a:cubicBezTo>
                  <a:pt x="191" y="98"/>
                  <a:pt x="196" y="95"/>
                  <a:pt x="199" y="93"/>
                </a:cubicBezTo>
                <a:cubicBezTo>
                  <a:pt x="199" y="93"/>
                  <a:pt x="198" y="94"/>
                  <a:pt x="198" y="94"/>
                </a:cubicBezTo>
                <a:cubicBezTo>
                  <a:pt x="203" y="90"/>
                  <a:pt x="208" y="88"/>
                  <a:pt x="215" y="83"/>
                </a:cubicBezTo>
                <a:cubicBezTo>
                  <a:pt x="214" y="84"/>
                  <a:pt x="214" y="85"/>
                  <a:pt x="215" y="84"/>
                </a:cubicBezTo>
                <a:cubicBezTo>
                  <a:pt x="218" y="83"/>
                  <a:pt x="214" y="85"/>
                  <a:pt x="215" y="85"/>
                </a:cubicBezTo>
                <a:cubicBezTo>
                  <a:pt x="212" y="86"/>
                  <a:pt x="211" y="87"/>
                  <a:pt x="208" y="88"/>
                </a:cubicBezTo>
                <a:cubicBezTo>
                  <a:pt x="206" y="89"/>
                  <a:pt x="209" y="88"/>
                  <a:pt x="209" y="89"/>
                </a:cubicBezTo>
                <a:cubicBezTo>
                  <a:pt x="204" y="91"/>
                  <a:pt x="202" y="93"/>
                  <a:pt x="200" y="95"/>
                </a:cubicBezTo>
                <a:cubicBezTo>
                  <a:pt x="198" y="95"/>
                  <a:pt x="196" y="97"/>
                  <a:pt x="194" y="98"/>
                </a:cubicBezTo>
                <a:cubicBezTo>
                  <a:pt x="193" y="99"/>
                  <a:pt x="193" y="99"/>
                  <a:pt x="193" y="99"/>
                </a:cubicBezTo>
                <a:cubicBezTo>
                  <a:pt x="190" y="100"/>
                  <a:pt x="188" y="102"/>
                  <a:pt x="184" y="105"/>
                </a:cubicBezTo>
                <a:cubicBezTo>
                  <a:pt x="184" y="104"/>
                  <a:pt x="184" y="104"/>
                  <a:pt x="184" y="104"/>
                </a:cubicBezTo>
                <a:cubicBezTo>
                  <a:pt x="183" y="105"/>
                  <a:pt x="182" y="106"/>
                  <a:pt x="182" y="106"/>
                </a:cubicBezTo>
                <a:cubicBezTo>
                  <a:pt x="182" y="106"/>
                  <a:pt x="175" y="111"/>
                  <a:pt x="170" y="115"/>
                </a:cubicBezTo>
                <a:cubicBezTo>
                  <a:pt x="170" y="115"/>
                  <a:pt x="170" y="115"/>
                  <a:pt x="170" y="115"/>
                </a:cubicBezTo>
                <a:cubicBezTo>
                  <a:pt x="164" y="119"/>
                  <a:pt x="167" y="119"/>
                  <a:pt x="161" y="123"/>
                </a:cubicBezTo>
                <a:cubicBezTo>
                  <a:pt x="162" y="123"/>
                  <a:pt x="161" y="124"/>
                  <a:pt x="162" y="123"/>
                </a:cubicBezTo>
                <a:cubicBezTo>
                  <a:pt x="161" y="124"/>
                  <a:pt x="156" y="128"/>
                  <a:pt x="156" y="128"/>
                </a:cubicBezTo>
                <a:cubicBezTo>
                  <a:pt x="155" y="128"/>
                  <a:pt x="156" y="129"/>
                  <a:pt x="155" y="130"/>
                </a:cubicBezTo>
                <a:cubicBezTo>
                  <a:pt x="152" y="130"/>
                  <a:pt x="154" y="128"/>
                  <a:pt x="154" y="127"/>
                </a:cubicBezTo>
                <a:cubicBezTo>
                  <a:pt x="151" y="129"/>
                  <a:pt x="154" y="128"/>
                  <a:pt x="151" y="131"/>
                </a:cubicBezTo>
                <a:cubicBezTo>
                  <a:pt x="151" y="131"/>
                  <a:pt x="152" y="130"/>
                  <a:pt x="152" y="131"/>
                </a:cubicBezTo>
                <a:cubicBezTo>
                  <a:pt x="149" y="133"/>
                  <a:pt x="150" y="133"/>
                  <a:pt x="148" y="135"/>
                </a:cubicBezTo>
                <a:cubicBezTo>
                  <a:pt x="146" y="136"/>
                  <a:pt x="146" y="137"/>
                  <a:pt x="145" y="138"/>
                </a:cubicBezTo>
                <a:cubicBezTo>
                  <a:pt x="145" y="137"/>
                  <a:pt x="145" y="137"/>
                  <a:pt x="142" y="139"/>
                </a:cubicBezTo>
                <a:cubicBezTo>
                  <a:pt x="140" y="141"/>
                  <a:pt x="144" y="138"/>
                  <a:pt x="143" y="139"/>
                </a:cubicBezTo>
                <a:cubicBezTo>
                  <a:pt x="142" y="140"/>
                  <a:pt x="139" y="142"/>
                  <a:pt x="141" y="141"/>
                </a:cubicBezTo>
                <a:cubicBezTo>
                  <a:pt x="141" y="141"/>
                  <a:pt x="139" y="143"/>
                  <a:pt x="139" y="142"/>
                </a:cubicBezTo>
                <a:cubicBezTo>
                  <a:pt x="138" y="144"/>
                  <a:pt x="137" y="145"/>
                  <a:pt x="135" y="148"/>
                </a:cubicBezTo>
                <a:cubicBezTo>
                  <a:pt x="139" y="145"/>
                  <a:pt x="143" y="141"/>
                  <a:pt x="147" y="137"/>
                </a:cubicBezTo>
                <a:cubicBezTo>
                  <a:pt x="149" y="137"/>
                  <a:pt x="147" y="138"/>
                  <a:pt x="149" y="137"/>
                </a:cubicBezTo>
                <a:cubicBezTo>
                  <a:pt x="151" y="135"/>
                  <a:pt x="151" y="135"/>
                  <a:pt x="151" y="134"/>
                </a:cubicBezTo>
                <a:cubicBezTo>
                  <a:pt x="154" y="132"/>
                  <a:pt x="152" y="134"/>
                  <a:pt x="151" y="135"/>
                </a:cubicBezTo>
                <a:cubicBezTo>
                  <a:pt x="152" y="135"/>
                  <a:pt x="154" y="133"/>
                  <a:pt x="156" y="132"/>
                </a:cubicBezTo>
                <a:cubicBezTo>
                  <a:pt x="153" y="132"/>
                  <a:pt x="159" y="128"/>
                  <a:pt x="161" y="127"/>
                </a:cubicBezTo>
                <a:cubicBezTo>
                  <a:pt x="163" y="125"/>
                  <a:pt x="159" y="129"/>
                  <a:pt x="157" y="130"/>
                </a:cubicBezTo>
                <a:cubicBezTo>
                  <a:pt x="159" y="130"/>
                  <a:pt x="156" y="132"/>
                  <a:pt x="156" y="133"/>
                </a:cubicBezTo>
                <a:cubicBezTo>
                  <a:pt x="155" y="134"/>
                  <a:pt x="150" y="138"/>
                  <a:pt x="150" y="139"/>
                </a:cubicBezTo>
                <a:cubicBezTo>
                  <a:pt x="148" y="140"/>
                  <a:pt x="146" y="141"/>
                  <a:pt x="145" y="143"/>
                </a:cubicBezTo>
                <a:cubicBezTo>
                  <a:pt x="144" y="143"/>
                  <a:pt x="145" y="143"/>
                  <a:pt x="145" y="142"/>
                </a:cubicBezTo>
                <a:cubicBezTo>
                  <a:pt x="144" y="145"/>
                  <a:pt x="143" y="144"/>
                  <a:pt x="141" y="145"/>
                </a:cubicBezTo>
                <a:cubicBezTo>
                  <a:pt x="139" y="147"/>
                  <a:pt x="142" y="145"/>
                  <a:pt x="142" y="146"/>
                </a:cubicBezTo>
                <a:cubicBezTo>
                  <a:pt x="140" y="147"/>
                  <a:pt x="141" y="147"/>
                  <a:pt x="139" y="148"/>
                </a:cubicBezTo>
                <a:cubicBezTo>
                  <a:pt x="138" y="148"/>
                  <a:pt x="138" y="147"/>
                  <a:pt x="140" y="145"/>
                </a:cubicBezTo>
                <a:cubicBezTo>
                  <a:pt x="140" y="145"/>
                  <a:pt x="139" y="145"/>
                  <a:pt x="139" y="145"/>
                </a:cubicBezTo>
                <a:cubicBezTo>
                  <a:pt x="137" y="148"/>
                  <a:pt x="135" y="150"/>
                  <a:pt x="136" y="151"/>
                </a:cubicBezTo>
                <a:cubicBezTo>
                  <a:pt x="134" y="153"/>
                  <a:pt x="135" y="151"/>
                  <a:pt x="133" y="152"/>
                </a:cubicBezTo>
                <a:cubicBezTo>
                  <a:pt x="133" y="153"/>
                  <a:pt x="134" y="153"/>
                  <a:pt x="131" y="156"/>
                </a:cubicBezTo>
                <a:cubicBezTo>
                  <a:pt x="131" y="155"/>
                  <a:pt x="131" y="155"/>
                  <a:pt x="130" y="155"/>
                </a:cubicBezTo>
                <a:cubicBezTo>
                  <a:pt x="130" y="156"/>
                  <a:pt x="129" y="157"/>
                  <a:pt x="129" y="158"/>
                </a:cubicBezTo>
                <a:cubicBezTo>
                  <a:pt x="125" y="161"/>
                  <a:pt x="122" y="164"/>
                  <a:pt x="119" y="167"/>
                </a:cubicBezTo>
                <a:cubicBezTo>
                  <a:pt x="118" y="168"/>
                  <a:pt x="118" y="168"/>
                  <a:pt x="118" y="168"/>
                </a:cubicBezTo>
                <a:cubicBezTo>
                  <a:pt x="116" y="169"/>
                  <a:pt x="117" y="169"/>
                  <a:pt x="115" y="171"/>
                </a:cubicBezTo>
                <a:cubicBezTo>
                  <a:pt x="113" y="171"/>
                  <a:pt x="111" y="174"/>
                  <a:pt x="109" y="175"/>
                </a:cubicBezTo>
                <a:cubicBezTo>
                  <a:pt x="110" y="174"/>
                  <a:pt x="110" y="174"/>
                  <a:pt x="110" y="173"/>
                </a:cubicBezTo>
                <a:cubicBezTo>
                  <a:pt x="114" y="170"/>
                  <a:pt x="118" y="163"/>
                  <a:pt x="121" y="162"/>
                </a:cubicBezTo>
                <a:cubicBezTo>
                  <a:pt x="125" y="157"/>
                  <a:pt x="129" y="153"/>
                  <a:pt x="133" y="151"/>
                </a:cubicBezTo>
                <a:cubicBezTo>
                  <a:pt x="134" y="150"/>
                  <a:pt x="134" y="149"/>
                  <a:pt x="134" y="149"/>
                </a:cubicBezTo>
                <a:cubicBezTo>
                  <a:pt x="134" y="148"/>
                  <a:pt x="130" y="152"/>
                  <a:pt x="130" y="150"/>
                </a:cubicBezTo>
                <a:cubicBezTo>
                  <a:pt x="131" y="150"/>
                  <a:pt x="131" y="150"/>
                  <a:pt x="131" y="150"/>
                </a:cubicBezTo>
                <a:cubicBezTo>
                  <a:pt x="133" y="149"/>
                  <a:pt x="133" y="148"/>
                  <a:pt x="135" y="147"/>
                </a:cubicBezTo>
                <a:cubicBezTo>
                  <a:pt x="126" y="153"/>
                  <a:pt x="125" y="155"/>
                  <a:pt x="119" y="161"/>
                </a:cubicBezTo>
                <a:cubicBezTo>
                  <a:pt x="118" y="160"/>
                  <a:pt x="122" y="157"/>
                  <a:pt x="123" y="155"/>
                </a:cubicBezTo>
                <a:cubicBezTo>
                  <a:pt x="121" y="157"/>
                  <a:pt x="123" y="155"/>
                  <a:pt x="121" y="156"/>
                </a:cubicBezTo>
                <a:cubicBezTo>
                  <a:pt x="121" y="155"/>
                  <a:pt x="123" y="153"/>
                  <a:pt x="123" y="153"/>
                </a:cubicBezTo>
                <a:cubicBezTo>
                  <a:pt x="125" y="151"/>
                  <a:pt x="125" y="153"/>
                  <a:pt x="123" y="155"/>
                </a:cubicBezTo>
                <a:cubicBezTo>
                  <a:pt x="123" y="155"/>
                  <a:pt x="127" y="151"/>
                  <a:pt x="125" y="153"/>
                </a:cubicBezTo>
                <a:cubicBezTo>
                  <a:pt x="128" y="151"/>
                  <a:pt x="128" y="151"/>
                  <a:pt x="131" y="148"/>
                </a:cubicBezTo>
                <a:cubicBezTo>
                  <a:pt x="132" y="145"/>
                  <a:pt x="130" y="145"/>
                  <a:pt x="125" y="149"/>
                </a:cubicBezTo>
                <a:cubicBezTo>
                  <a:pt x="120" y="156"/>
                  <a:pt x="111" y="162"/>
                  <a:pt x="106" y="170"/>
                </a:cubicBezTo>
                <a:cubicBezTo>
                  <a:pt x="104" y="170"/>
                  <a:pt x="103" y="171"/>
                  <a:pt x="102" y="172"/>
                </a:cubicBezTo>
                <a:cubicBezTo>
                  <a:pt x="101" y="173"/>
                  <a:pt x="100" y="174"/>
                  <a:pt x="100" y="174"/>
                </a:cubicBezTo>
                <a:cubicBezTo>
                  <a:pt x="100" y="175"/>
                  <a:pt x="100" y="175"/>
                  <a:pt x="99" y="176"/>
                </a:cubicBezTo>
                <a:cubicBezTo>
                  <a:pt x="100" y="176"/>
                  <a:pt x="100" y="176"/>
                  <a:pt x="100" y="175"/>
                </a:cubicBezTo>
                <a:cubicBezTo>
                  <a:pt x="101" y="176"/>
                  <a:pt x="99" y="176"/>
                  <a:pt x="100" y="177"/>
                </a:cubicBezTo>
                <a:cubicBezTo>
                  <a:pt x="99" y="176"/>
                  <a:pt x="98" y="175"/>
                  <a:pt x="97" y="175"/>
                </a:cubicBezTo>
                <a:cubicBezTo>
                  <a:pt x="97" y="175"/>
                  <a:pt x="97" y="176"/>
                  <a:pt x="97" y="176"/>
                </a:cubicBezTo>
                <a:cubicBezTo>
                  <a:pt x="97" y="175"/>
                  <a:pt x="96" y="177"/>
                  <a:pt x="96" y="176"/>
                </a:cubicBezTo>
                <a:cubicBezTo>
                  <a:pt x="97" y="175"/>
                  <a:pt x="97" y="174"/>
                  <a:pt x="98" y="175"/>
                </a:cubicBezTo>
                <a:cubicBezTo>
                  <a:pt x="98" y="174"/>
                  <a:pt x="97" y="174"/>
                  <a:pt x="98" y="174"/>
                </a:cubicBezTo>
                <a:cubicBezTo>
                  <a:pt x="97" y="173"/>
                  <a:pt x="96" y="175"/>
                  <a:pt x="95" y="176"/>
                </a:cubicBezTo>
                <a:cubicBezTo>
                  <a:pt x="95" y="176"/>
                  <a:pt x="95" y="177"/>
                  <a:pt x="94" y="177"/>
                </a:cubicBezTo>
                <a:cubicBezTo>
                  <a:pt x="95" y="178"/>
                  <a:pt x="95" y="177"/>
                  <a:pt x="96" y="177"/>
                </a:cubicBezTo>
                <a:cubicBezTo>
                  <a:pt x="95" y="178"/>
                  <a:pt x="95" y="178"/>
                  <a:pt x="94" y="178"/>
                </a:cubicBezTo>
                <a:cubicBezTo>
                  <a:pt x="94" y="179"/>
                  <a:pt x="95" y="179"/>
                  <a:pt x="95" y="179"/>
                </a:cubicBezTo>
                <a:cubicBezTo>
                  <a:pt x="94" y="179"/>
                  <a:pt x="92" y="179"/>
                  <a:pt x="92" y="180"/>
                </a:cubicBezTo>
                <a:cubicBezTo>
                  <a:pt x="92" y="180"/>
                  <a:pt x="92" y="180"/>
                  <a:pt x="93" y="180"/>
                </a:cubicBezTo>
                <a:cubicBezTo>
                  <a:pt x="93" y="180"/>
                  <a:pt x="93" y="181"/>
                  <a:pt x="93" y="181"/>
                </a:cubicBezTo>
                <a:cubicBezTo>
                  <a:pt x="92" y="181"/>
                  <a:pt x="92" y="180"/>
                  <a:pt x="92" y="181"/>
                </a:cubicBezTo>
                <a:cubicBezTo>
                  <a:pt x="91" y="181"/>
                  <a:pt x="92" y="181"/>
                  <a:pt x="92" y="181"/>
                </a:cubicBezTo>
                <a:cubicBezTo>
                  <a:pt x="92" y="182"/>
                  <a:pt x="91" y="181"/>
                  <a:pt x="91" y="182"/>
                </a:cubicBezTo>
                <a:cubicBezTo>
                  <a:pt x="90" y="182"/>
                  <a:pt x="90" y="183"/>
                  <a:pt x="89" y="183"/>
                </a:cubicBezTo>
                <a:cubicBezTo>
                  <a:pt x="89" y="183"/>
                  <a:pt x="90" y="182"/>
                  <a:pt x="90" y="183"/>
                </a:cubicBezTo>
                <a:cubicBezTo>
                  <a:pt x="89" y="183"/>
                  <a:pt x="89" y="183"/>
                  <a:pt x="88" y="183"/>
                </a:cubicBezTo>
                <a:cubicBezTo>
                  <a:pt x="87" y="184"/>
                  <a:pt x="88" y="184"/>
                  <a:pt x="88" y="184"/>
                </a:cubicBezTo>
                <a:cubicBezTo>
                  <a:pt x="87" y="184"/>
                  <a:pt x="87" y="186"/>
                  <a:pt x="86" y="186"/>
                </a:cubicBezTo>
                <a:cubicBezTo>
                  <a:pt x="86" y="186"/>
                  <a:pt x="86" y="186"/>
                  <a:pt x="86" y="186"/>
                </a:cubicBezTo>
                <a:cubicBezTo>
                  <a:pt x="86" y="186"/>
                  <a:pt x="86" y="186"/>
                  <a:pt x="85" y="186"/>
                </a:cubicBezTo>
                <a:cubicBezTo>
                  <a:pt x="85" y="186"/>
                  <a:pt x="86" y="186"/>
                  <a:pt x="86" y="186"/>
                </a:cubicBezTo>
                <a:cubicBezTo>
                  <a:pt x="84" y="188"/>
                  <a:pt x="83" y="190"/>
                  <a:pt x="81" y="192"/>
                </a:cubicBezTo>
                <a:cubicBezTo>
                  <a:pt x="81" y="192"/>
                  <a:pt x="81" y="192"/>
                  <a:pt x="81" y="192"/>
                </a:cubicBezTo>
                <a:cubicBezTo>
                  <a:pt x="81" y="193"/>
                  <a:pt x="82" y="192"/>
                  <a:pt x="81" y="193"/>
                </a:cubicBezTo>
                <a:cubicBezTo>
                  <a:pt x="81" y="193"/>
                  <a:pt x="81" y="193"/>
                  <a:pt x="81" y="193"/>
                </a:cubicBezTo>
                <a:cubicBezTo>
                  <a:pt x="80" y="193"/>
                  <a:pt x="80" y="194"/>
                  <a:pt x="80" y="193"/>
                </a:cubicBezTo>
                <a:cubicBezTo>
                  <a:pt x="79" y="193"/>
                  <a:pt x="81" y="192"/>
                  <a:pt x="80" y="192"/>
                </a:cubicBezTo>
                <a:cubicBezTo>
                  <a:pt x="80" y="191"/>
                  <a:pt x="80" y="192"/>
                  <a:pt x="80" y="192"/>
                </a:cubicBezTo>
                <a:cubicBezTo>
                  <a:pt x="79" y="191"/>
                  <a:pt x="80" y="191"/>
                  <a:pt x="81" y="190"/>
                </a:cubicBezTo>
                <a:cubicBezTo>
                  <a:pt x="81" y="191"/>
                  <a:pt x="80" y="191"/>
                  <a:pt x="81" y="191"/>
                </a:cubicBezTo>
                <a:cubicBezTo>
                  <a:pt x="81" y="191"/>
                  <a:pt x="82" y="191"/>
                  <a:pt x="82" y="190"/>
                </a:cubicBezTo>
                <a:cubicBezTo>
                  <a:pt x="82" y="190"/>
                  <a:pt x="81" y="191"/>
                  <a:pt x="81" y="190"/>
                </a:cubicBezTo>
                <a:cubicBezTo>
                  <a:pt x="81" y="189"/>
                  <a:pt x="82" y="190"/>
                  <a:pt x="82" y="190"/>
                </a:cubicBezTo>
                <a:cubicBezTo>
                  <a:pt x="83" y="189"/>
                  <a:pt x="82" y="189"/>
                  <a:pt x="81" y="189"/>
                </a:cubicBezTo>
                <a:cubicBezTo>
                  <a:pt x="81" y="189"/>
                  <a:pt x="81" y="190"/>
                  <a:pt x="81" y="190"/>
                </a:cubicBezTo>
                <a:cubicBezTo>
                  <a:pt x="80" y="190"/>
                  <a:pt x="82" y="188"/>
                  <a:pt x="82" y="188"/>
                </a:cubicBezTo>
                <a:cubicBezTo>
                  <a:pt x="83" y="188"/>
                  <a:pt x="82" y="189"/>
                  <a:pt x="82" y="189"/>
                </a:cubicBezTo>
                <a:cubicBezTo>
                  <a:pt x="83" y="189"/>
                  <a:pt x="83" y="188"/>
                  <a:pt x="83" y="189"/>
                </a:cubicBezTo>
                <a:cubicBezTo>
                  <a:pt x="83" y="188"/>
                  <a:pt x="83" y="188"/>
                  <a:pt x="83" y="187"/>
                </a:cubicBezTo>
                <a:cubicBezTo>
                  <a:pt x="86" y="183"/>
                  <a:pt x="86" y="183"/>
                  <a:pt x="86" y="183"/>
                </a:cubicBezTo>
                <a:cubicBezTo>
                  <a:pt x="86" y="184"/>
                  <a:pt x="86" y="183"/>
                  <a:pt x="87" y="184"/>
                </a:cubicBezTo>
                <a:cubicBezTo>
                  <a:pt x="87" y="183"/>
                  <a:pt x="87" y="183"/>
                  <a:pt x="86" y="183"/>
                </a:cubicBezTo>
                <a:cubicBezTo>
                  <a:pt x="87" y="183"/>
                  <a:pt x="86" y="182"/>
                  <a:pt x="87" y="182"/>
                </a:cubicBezTo>
                <a:cubicBezTo>
                  <a:pt x="87" y="182"/>
                  <a:pt x="87" y="182"/>
                  <a:pt x="87" y="183"/>
                </a:cubicBezTo>
                <a:cubicBezTo>
                  <a:pt x="88" y="182"/>
                  <a:pt x="87" y="182"/>
                  <a:pt x="87" y="182"/>
                </a:cubicBezTo>
                <a:cubicBezTo>
                  <a:pt x="89" y="179"/>
                  <a:pt x="92" y="175"/>
                  <a:pt x="95" y="172"/>
                </a:cubicBezTo>
                <a:cubicBezTo>
                  <a:pt x="95" y="172"/>
                  <a:pt x="95" y="172"/>
                  <a:pt x="95" y="172"/>
                </a:cubicBezTo>
                <a:cubicBezTo>
                  <a:pt x="95" y="172"/>
                  <a:pt x="95" y="171"/>
                  <a:pt x="95" y="171"/>
                </a:cubicBezTo>
                <a:cubicBezTo>
                  <a:pt x="95" y="170"/>
                  <a:pt x="95" y="171"/>
                  <a:pt x="95" y="171"/>
                </a:cubicBezTo>
                <a:cubicBezTo>
                  <a:pt x="95" y="171"/>
                  <a:pt x="95" y="171"/>
                  <a:pt x="95" y="170"/>
                </a:cubicBezTo>
                <a:cubicBezTo>
                  <a:pt x="94" y="170"/>
                  <a:pt x="94" y="170"/>
                  <a:pt x="94" y="171"/>
                </a:cubicBezTo>
                <a:cubicBezTo>
                  <a:pt x="93" y="170"/>
                  <a:pt x="94" y="169"/>
                  <a:pt x="95" y="169"/>
                </a:cubicBezTo>
                <a:cubicBezTo>
                  <a:pt x="95" y="169"/>
                  <a:pt x="94" y="169"/>
                  <a:pt x="95" y="170"/>
                </a:cubicBezTo>
                <a:cubicBezTo>
                  <a:pt x="95" y="170"/>
                  <a:pt x="95" y="169"/>
                  <a:pt x="95" y="169"/>
                </a:cubicBezTo>
                <a:cubicBezTo>
                  <a:pt x="96" y="170"/>
                  <a:pt x="95" y="170"/>
                  <a:pt x="95" y="170"/>
                </a:cubicBezTo>
                <a:cubicBezTo>
                  <a:pt x="96" y="170"/>
                  <a:pt x="96" y="170"/>
                  <a:pt x="96" y="170"/>
                </a:cubicBezTo>
                <a:cubicBezTo>
                  <a:pt x="96" y="168"/>
                  <a:pt x="103" y="164"/>
                  <a:pt x="102" y="163"/>
                </a:cubicBezTo>
                <a:cubicBezTo>
                  <a:pt x="105" y="161"/>
                  <a:pt x="102" y="163"/>
                  <a:pt x="105" y="161"/>
                </a:cubicBezTo>
                <a:cubicBezTo>
                  <a:pt x="107" y="157"/>
                  <a:pt x="113" y="152"/>
                  <a:pt x="118" y="147"/>
                </a:cubicBezTo>
                <a:cubicBezTo>
                  <a:pt x="116" y="151"/>
                  <a:pt x="121" y="145"/>
                  <a:pt x="123" y="143"/>
                </a:cubicBezTo>
                <a:cubicBezTo>
                  <a:pt x="123" y="143"/>
                  <a:pt x="123" y="143"/>
                  <a:pt x="123" y="143"/>
                </a:cubicBezTo>
                <a:cubicBezTo>
                  <a:pt x="124" y="142"/>
                  <a:pt x="124" y="143"/>
                  <a:pt x="126" y="141"/>
                </a:cubicBezTo>
                <a:cubicBezTo>
                  <a:pt x="124" y="141"/>
                  <a:pt x="130" y="137"/>
                  <a:pt x="128" y="138"/>
                </a:cubicBezTo>
                <a:cubicBezTo>
                  <a:pt x="129" y="136"/>
                  <a:pt x="131" y="136"/>
                  <a:pt x="131" y="136"/>
                </a:cubicBezTo>
                <a:cubicBezTo>
                  <a:pt x="132" y="135"/>
                  <a:pt x="131" y="135"/>
                  <a:pt x="131" y="135"/>
                </a:cubicBezTo>
                <a:cubicBezTo>
                  <a:pt x="133" y="134"/>
                  <a:pt x="133" y="133"/>
                  <a:pt x="136" y="131"/>
                </a:cubicBezTo>
                <a:cubicBezTo>
                  <a:pt x="135" y="132"/>
                  <a:pt x="136" y="132"/>
                  <a:pt x="137" y="131"/>
                </a:cubicBezTo>
                <a:cubicBezTo>
                  <a:pt x="141" y="128"/>
                  <a:pt x="136" y="130"/>
                  <a:pt x="139" y="128"/>
                </a:cubicBezTo>
                <a:cubicBezTo>
                  <a:pt x="138" y="128"/>
                  <a:pt x="136" y="130"/>
                  <a:pt x="135" y="130"/>
                </a:cubicBezTo>
                <a:cubicBezTo>
                  <a:pt x="134" y="131"/>
                  <a:pt x="134" y="132"/>
                  <a:pt x="134" y="132"/>
                </a:cubicBezTo>
                <a:cubicBezTo>
                  <a:pt x="130" y="134"/>
                  <a:pt x="128" y="137"/>
                  <a:pt x="123" y="141"/>
                </a:cubicBezTo>
                <a:cubicBezTo>
                  <a:pt x="122" y="141"/>
                  <a:pt x="121" y="143"/>
                  <a:pt x="122" y="141"/>
                </a:cubicBezTo>
                <a:cubicBezTo>
                  <a:pt x="121" y="142"/>
                  <a:pt x="120" y="143"/>
                  <a:pt x="117" y="145"/>
                </a:cubicBezTo>
                <a:cubicBezTo>
                  <a:pt x="121" y="141"/>
                  <a:pt x="127" y="135"/>
                  <a:pt x="130" y="134"/>
                </a:cubicBezTo>
                <a:cubicBezTo>
                  <a:pt x="131" y="133"/>
                  <a:pt x="130" y="132"/>
                  <a:pt x="131" y="132"/>
                </a:cubicBezTo>
                <a:cubicBezTo>
                  <a:pt x="129" y="133"/>
                  <a:pt x="130" y="133"/>
                  <a:pt x="128" y="135"/>
                </a:cubicBezTo>
                <a:cubicBezTo>
                  <a:pt x="131" y="131"/>
                  <a:pt x="126" y="134"/>
                  <a:pt x="127" y="132"/>
                </a:cubicBezTo>
                <a:cubicBezTo>
                  <a:pt x="125" y="133"/>
                  <a:pt x="125" y="133"/>
                  <a:pt x="125" y="133"/>
                </a:cubicBezTo>
                <a:cubicBezTo>
                  <a:pt x="124" y="134"/>
                  <a:pt x="127" y="133"/>
                  <a:pt x="125" y="135"/>
                </a:cubicBezTo>
                <a:cubicBezTo>
                  <a:pt x="126" y="134"/>
                  <a:pt x="126" y="134"/>
                  <a:pt x="126" y="134"/>
                </a:cubicBezTo>
                <a:cubicBezTo>
                  <a:pt x="113" y="146"/>
                  <a:pt x="113" y="146"/>
                  <a:pt x="113" y="146"/>
                </a:cubicBezTo>
                <a:cubicBezTo>
                  <a:pt x="112" y="146"/>
                  <a:pt x="112" y="146"/>
                  <a:pt x="113" y="145"/>
                </a:cubicBezTo>
                <a:cubicBezTo>
                  <a:pt x="111" y="147"/>
                  <a:pt x="111" y="147"/>
                  <a:pt x="111" y="147"/>
                </a:cubicBezTo>
                <a:cubicBezTo>
                  <a:pt x="111" y="148"/>
                  <a:pt x="112" y="146"/>
                  <a:pt x="113" y="146"/>
                </a:cubicBezTo>
                <a:cubicBezTo>
                  <a:pt x="113" y="147"/>
                  <a:pt x="111" y="147"/>
                  <a:pt x="110" y="148"/>
                </a:cubicBezTo>
                <a:cubicBezTo>
                  <a:pt x="106" y="153"/>
                  <a:pt x="106" y="153"/>
                  <a:pt x="106" y="153"/>
                </a:cubicBezTo>
                <a:cubicBezTo>
                  <a:pt x="106" y="150"/>
                  <a:pt x="103" y="155"/>
                  <a:pt x="100" y="157"/>
                </a:cubicBezTo>
                <a:cubicBezTo>
                  <a:pt x="101" y="156"/>
                  <a:pt x="104" y="154"/>
                  <a:pt x="104" y="152"/>
                </a:cubicBezTo>
                <a:cubicBezTo>
                  <a:pt x="108" y="149"/>
                  <a:pt x="109" y="148"/>
                  <a:pt x="111" y="145"/>
                </a:cubicBezTo>
                <a:cubicBezTo>
                  <a:pt x="110" y="145"/>
                  <a:pt x="109" y="147"/>
                  <a:pt x="108" y="148"/>
                </a:cubicBezTo>
                <a:cubicBezTo>
                  <a:pt x="108" y="145"/>
                  <a:pt x="106" y="148"/>
                  <a:pt x="103" y="152"/>
                </a:cubicBezTo>
                <a:cubicBezTo>
                  <a:pt x="105" y="150"/>
                  <a:pt x="103" y="150"/>
                  <a:pt x="101" y="151"/>
                </a:cubicBezTo>
                <a:cubicBezTo>
                  <a:pt x="103" y="149"/>
                  <a:pt x="103" y="149"/>
                  <a:pt x="104" y="149"/>
                </a:cubicBezTo>
                <a:cubicBezTo>
                  <a:pt x="105" y="148"/>
                  <a:pt x="105" y="147"/>
                  <a:pt x="107" y="145"/>
                </a:cubicBezTo>
                <a:cubicBezTo>
                  <a:pt x="108" y="144"/>
                  <a:pt x="108" y="146"/>
                  <a:pt x="109" y="144"/>
                </a:cubicBezTo>
                <a:cubicBezTo>
                  <a:pt x="111" y="142"/>
                  <a:pt x="109" y="141"/>
                  <a:pt x="113" y="139"/>
                </a:cubicBezTo>
                <a:cubicBezTo>
                  <a:pt x="113" y="139"/>
                  <a:pt x="111" y="141"/>
                  <a:pt x="111" y="141"/>
                </a:cubicBezTo>
                <a:cubicBezTo>
                  <a:pt x="114" y="139"/>
                  <a:pt x="114" y="138"/>
                  <a:pt x="113" y="138"/>
                </a:cubicBezTo>
                <a:cubicBezTo>
                  <a:pt x="115" y="136"/>
                  <a:pt x="115" y="137"/>
                  <a:pt x="115" y="137"/>
                </a:cubicBezTo>
                <a:cubicBezTo>
                  <a:pt x="115" y="136"/>
                  <a:pt x="118" y="134"/>
                  <a:pt x="118" y="133"/>
                </a:cubicBezTo>
                <a:cubicBezTo>
                  <a:pt x="118" y="133"/>
                  <a:pt x="116" y="134"/>
                  <a:pt x="115" y="135"/>
                </a:cubicBezTo>
                <a:cubicBezTo>
                  <a:pt x="116" y="134"/>
                  <a:pt x="116" y="134"/>
                  <a:pt x="117" y="132"/>
                </a:cubicBezTo>
                <a:cubicBezTo>
                  <a:pt x="115" y="134"/>
                  <a:pt x="115" y="134"/>
                  <a:pt x="116" y="132"/>
                </a:cubicBezTo>
                <a:cubicBezTo>
                  <a:pt x="115" y="132"/>
                  <a:pt x="115" y="132"/>
                  <a:pt x="115" y="132"/>
                </a:cubicBezTo>
                <a:cubicBezTo>
                  <a:pt x="114" y="133"/>
                  <a:pt x="113" y="134"/>
                  <a:pt x="112" y="135"/>
                </a:cubicBezTo>
                <a:cubicBezTo>
                  <a:pt x="111" y="136"/>
                  <a:pt x="112" y="134"/>
                  <a:pt x="109" y="137"/>
                </a:cubicBezTo>
                <a:cubicBezTo>
                  <a:pt x="111" y="135"/>
                  <a:pt x="109" y="136"/>
                  <a:pt x="110" y="134"/>
                </a:cubicBezTo>
                <a:cubicBezTo>
                  <a:pt x="112" y="133"/>
                  <a:pt x="110" y="133"/>
                  <a:pt x="111" y="133"/>
                </a:cubicBezTo>
                <a:cubicBezTo>
                  <a:pt x="112" y="131"/>
                  <a:pt x="115" y="128"/>
                  <a:pt x="116" y="127"/>
                </a:cubicBezTo>
                <a:cubicBezTo>
                  <a:pt x="118" y="126"/>
                  <a:pt x="119" y="125"/>
                  <a:pt x="120" y="126"/>
                </a:cubicBezTo>
                <a:cubicBezTo>
                  <a:pt x="121" y="125"/>
                  <a:pt x="121" y="124"/>
                  <a:pt x="121" y="124"/>
                </a:cubicBezTo>
                <a:cubicBezTo>
                  <a:pt x="121" y="124"/>
                  <a:pt x="119" y="125"/>
                  <a:pt x="119" y="124"/>
                </a:cubicBezTo>
                <a:cubicBezTo>
                  <a:pt x="122" y="121"/>
                  <a:pt x="125" y="119"/>
                  <a:pt x="126" y="117"/>
                </a:cubicBezTo>
                <a:cubicBezTo>
                  <a:pt x="127" y="116"/>
                  <a:pt x="127" y="116"/>
                  <a:pt x="128" y="116"/>
                </a:cubicBezTo>
                <a:cubicBezTo>
                  <a:pt x="142" y="104"/>
                  <a:pt x="148" y="99"/>
                  <a:pt x="162" y="88"/>
                </a:cubicBezTo>
                <a:cubicBezTo>
                  <a:pt x="163" y="89"/>
                  <a:pt x="163" y="89"/>
                  <a:pt x="164" y="88"/>
                </a:cubicBezTo>
                <a:cubicBezTo>
                  <a:pt x="166" y="86"/>
                  <a:pt x="163" y="88"/>
                  <a:pt x="163" y="88"/>
                </a:cubicBezTo>
                <a:cubicBezTo>
                  <a:pt x="175" y="79"/>
                  <a:pt x="184" y="73"/>
                  <a:pt x="197" y="65"/>
                </a:cubicBezTo>
                <a:cubicBezTo>
                  <a:pt x="197" y="65"/>
                  <a:pt x="196" y="65"/>
                  <a:pt x="195" y="66"/>
                </a:cubicBezTo>
                <a:cubicBezTo>
                  <a:pt x="196" y="65"/>
                  <a:pt x="197" y="65"/>
                  <a:pt x="199" y="63"/>
                </a:cubicBezTo>
                <a:cubicBezTo>
                  <a:pt x="199" y="64"/>
                  <a:pt x="199" y="64"/>
                  <a:pt x="201" y="63"/>
                </a:cubicBezTo>
                <a:cubicBezTo>
                  <a:pt x="202" y="63"/>
                  <a:pt x="201" y="62"/>
                  <a:pt x="201" y="62"/>
                </a:cubicBezTo>
                <a:cubicBezTo>
                  <a:pt x="203" y="61"/>
                  <a:pt x="203" y="61"/>
                  <a:pt x="203" y="62"/>
                </a:cubicBezTo>
                <a:cubicBezTo>
                  <a:pt x="207" y="60"/>
                  <a:pt x="211" y="58"/>
                  <a:pt x="214" y="56"/>
                </a:cubicBezTo>
                <a:cubicBezTo>
                  <a:pt x="213" y="56"/>
                  <a:pt x="212" y="57"/>
                  <a:pt x="210" y="57"/>
                </a:cubicBezTo>
                <a:cubicBezTo>
                  <a:pt x="214" y="54"/>
                  <a:pt x="214" y="57"/>
                  <a:pt x="222" y="53"/>
                </a:cubicBezTo>
                <a:cubicBezTo>
                  <a:pt x="222" y="52"/>
                  <a:pt x="218" y="54"/>
                  <a:pt x="217" y="54"/>
                </a:cubicBezTo>
                <a:cubicBezTo>
                  <a:pt x="219" y="52"/>
                  <a:pt x="216" y="54"/>
                  <a:pt x="216" y="53"/>
                </a:cubicBezTo>
                <a:cubicBezTo>
                  <a:pt x="215" y="53"/>
                  <a:pt x="214" y="54"/>
                  <a:pt x="214" y="54"/>
                </a:cubicBezTo>
                <a:cubicBezTo>
                  <a:pt x="212" y="54"/>
                  <a:pt x="215" y="53"/>
                  <a:pt x="210" y="56"/>
                </a:cubicBezTo>
                <a:cubicBezTo>
                  <a:pt x="211" y="54"/>
                  <a:pt x="217" y="52"/>
                  <a:pt x="219" y="50"/>
                </a:cubicBezTo>
                <a:cubicBezTo>
                  <a:pt x="220" y="50"/>
                  <a:pt x="219" y="51"/>
                  <a:pt x="221" y="50"/>
                </a:cubicBezTo>
                <a:cubicBezTo>
                  <a:pt x="227" y="46"/>
                  <a:pt x="237" y="41"/>
                  <a:pt x="245" y="39"/>
                </a:cubicBezTo>
                <a:cubicBezTo>
                  <a:pt x="246" y="40"/>
                  <a:pt x="242" y="40"/>
                  <a:pt x="241" y="41"/>
                </a:cubicBezTo>
                <a:cubicBezTo>
                  <a:pt x="242" y="41"/>
                  <a:pt x="244" y="40"/>
                  <a:pt x="245" y="40"/>
                </a:cubicBezTo>
                <a:cubicBezTo>
                  <a:pt x="247" y="39"/>
                  <a:pt x="249" y="39"/>
                  <a:pt x="254" y="37"/>
                </a:cubicBezTo>
                <a:cubicBezTo>
                  <a:pt x="252" y="37"/>
                  <a:pt x="247" y="38"/>
                  <a:pt x="253" y="36"/>
                </a:cubicBezTo>
                <a:cubicBezTo>
                  <a:pt x="252" y="36"/>
                  <a:pt x="250" y="37"/>
                  <a:pt x="251" y="36"/>
                </a:cubicBezTo>
                <a:cubicBezTo>
                  <a:pt x="252" y="36"/>
                  <a:pt x="254" y="35"/>
                  <a:pt x="255" y="35"/>
                </a:cubicBezTo>
                <a:cubicBezTo>
                  <a:pt x="257" y="35"/>
                  <a:pt x="255" y="34"/>
                  <a:pt x="258" y="33"/>
                </a:cubicBezTo>
                <a:cubicBezTo>
                  <a:pt x="259" y="34"/>
                  <a:pt x="259" y="34"/>
                  <a:pt x="259" y="34"/>
                </a:cubicBezTo>
                <a:cubicBezTo>
                  <a:pt x="263" y="32"/>
                  <a:pt x="265" y="32"/>
                  <a:pt x="267" y="31"/>
                </a:cubicBezTo>
                <a:cubicBezTo>
                  <a:pt x="273" y="28"/>
                  <a:pt x="273" y="30"/>
                  <a:pt x="279" y="27"/>
                </a:cubicBezTo>
                <a:cubicBezTo>
                  <a:pt x="280" y="27"/>
                  <a:pt x="279" y="27"/>
                  <a:pt x="279" y="28"/>
                </a:cubicBezTo>
                <a:cubicBezTo>
                  <a:pt x="282" y="27"/>
                  <a:pt x="285" y="26"/>
                  <a:pt x="285" y="25"/>
                </a:cubicBezTo>
                <a:cubicBezTo>
                  <a:pt x="288" y="26"/>
                  <a:pt x="294" y="23"/>
                  <a:pt x="301" y="22"/>
                </a:cubicBezTo>
                <a:cubicBezTo>
                  <a:pt x="301" y="21"/>
                  <a:pt x="301" y="21"/>
                  <a:pt x="301" y="21"/>
                </a:cubicBezTo>
                <a:cubicBezTo>
                  <a:pt x="301" y="21"/>
                  <a:pt x="297" y="22"/>
                  <a:pt x="296" y="22"/>
                </a:cubicBezTo>
                <a:cubicBezTo>
                  <a:pt x="298" y="21"/>
                  <a:pt x="297" y="22"/>
                  <a:pt x="298" y="21"/>
                </a:cubicBezTo>
                <a:cubicBezTo>
                  <a:pt x="301" y="20"/>
                  <a:pt x="301" y="20"/>
                  <a:pt x="301" y="20"/>
                </a:cubicBezTo>
                <a:cubicBezTo>
                  <a:pt x="301" y="20"/>
                  <a:pt x="297" y="21"/>
                  <a:pt x="297" y="21"/>
                </a:cubicBezTo>
                <a:cubicBezTo>
                  <a:pt x="300" y="19"/>
                  <a:pt x="301" y="19"/>
                  <a:pt x="305" y="18"/>
                </a:cubicBezTo>
                <a:cubicBezTo>
                  <a:pt x="305" y="19"/>
                  <a:pt x="307" y="18"/>
                  <a:pt x="306" y="19"/>
                </a:cubicBezTo>
                <a:cubicBezTo>
                  <a:pt x="308" y="18"/>
                  <a:pt x="309" y="17"/>
                  <a:pt x="309" y="18"/>
                </a:cubicBezTo>
                <a:cubicBezTo>
                  <a:pt x="316" y="16"/>
                  <a:pt x="316" y="16"/>
                  <a:pt x="322" y="15"/>
                </a:cubicBezTo>
                <a:cubicBezTo>
                  <a:pt x="325" y="15"/>
                  <a:pt x="325" y="14"/>
                  <a:pt x="327" y="13"/>
                </a:cubicBezTo>
                <a:cubicBezTo>
                  <a:pt x="329" y="12"/>
                  <a:pt x="329" y="13"/>
                  <a:pt x="330" y="13"/>
                </a:cubicBezTo>
                <a:cubicBezTo>
                  <a:pt x="332" y="13"/>
                  <a:pt x="332" y="12"/>
                  <a:pt x="334" y="12"/>
                </a:cubicBezTo>
                <a:cubicBezTo>
                  <a:pt x="336" y="12"/>
                  <a:pt x="338" y="11"/>
                  <a:pt x="338" y="12"/>
                </a:cubicBezTo>
                <a:cubicBezTo>
                  <a:pt x="337" y="12"/>
                  <a:pt x="338" y="12"/>
                  <a:pt x="337" y="12"/>
                </a:cubicBezTo>
                <a:cubicBezTo>
                  <a:pt x="337" y="12"/>
                  <a:pt x="336" y="12"/>
                  <a:pt x="336" y="12"/>
                </a:cubicBezTo>
                <a:cubicBezTo>
                  <a:pt x="336" y="13"/>
                  <a:pt x="340" y="11"/>
                  <a:pt x="341" y="12"/>
                </a:cubicBezTo>
                <a:cubicBezTo>
                  <a:pt x="343" y="12"/>
                  <a:pt x="337" y="12"/>
                  <a:pt x="340" y="11"/>
                </a:cubicBezTo>
                <a:cubicBezTo>
                  <a:pt x="342" y="11"/>
                  <a:pt x="342" y="11"/>
                  <a:pt x="342" y="11"/>
                </a:cubicBezTo>
                <a:cubicBezTo>
                  <a:pt x="344" y="11"/>
                  <a:pt x="344" y="11"/>
                  <a:pt x="345" y="11"/>
                </a:cubicBezTo>
                <a:cubicBezTo>
                  <a:pt x="346" y="10"/>
                  <a:pt x="340" y="11"/>
                  <a:pt x="342" y="10"/>
                </a:cubicBezTo>
                <a:cubicBezTo>
                  <a:pt x="347" y="10"/>
                  <a:pt x="347" y="10"/>
                  <a:pt x="347" y="10"/>
                </a:cubicBezTo>
                <a:cubicBezTo>
                  <a:pt x="347" y="9"/>
                  <a:pt x="347" y="9"/>
                  <a:pt x="345" y="9"/>
                </a:cubicBezTo>
                <a:cubicBezTo>
                  <a:pt x="349" y="8"/>
                  <a:pt x="350" y="10"/>
                  <a:pt x="354" y="10"/>
                </a:cubicBezTo>
                <a:cubicBezTo>
                  <a:pt x="356" y="10"/>
                  <a:pt x="358" y="9"/>
                  <a:pt x="360" y="9"/>
                </a:cubicBezTo>
                <a:cubicBezTo>
                  <a:pt x="361" y="9"/>
                  <a:pt x="359" y="9"/>
                  <a:pt x="361" y="9"/>
                </a:cubicBezTo>
                <a:cubicBezTo>
                  <a:pt x="360" y="9"/>
                  <a:pt x="359" y="9"/>
                  <a:pt x="358" y="9"/>
                </a:cubicBezTo>
                <a:cubicBezTo>
                  <a:pt x="355" y="8"/>
                  <a:pt x="363" y="8"/>
                  <a:pt x="360" y="8"/>
                </a:cubicBezTo>
                <a:cubicBezTo>
                  <a:pt x="361" y="7"/>
                  <a:pt x="362" y="9"/>
                  <a:pt x="364" y="8"/>
                </a:cubicBezTo>
                <a:cubicBezTo>
                  <a:pt x="367" y="8"/>
                  <a:pt x="362" y="8"/>
                  <a:pt x="363" y="7"/>
                </a:cubicBezTo>
                <a:cubicBezTo>
                  <a:pt x="364" y="7"/>
                  <a:pt x="365" y="7"/>
                  <a:pt x="365" y="7"/>
                </a:cubicBezTo>
                <a:cubicBezTo>
                  <a:pt x="366" y="7"/>
                  <a:pt x="367" y="8"/>
                  <a:pt x="367" y="8"/>
                </a:cubicBezTo>
                <a:cubicBezTo>
                  <a:pt x="367" y="9"/>
                  <a:pt x="370" y="8"/>
                  <a:pt x="371" y="9"/>
                </a:cubicBezTo>
                <a:cubicBezTo>
                  <a:pt x="374" y="8"/>
                  <a:pt x="371" y="8"/>
                  <a:pt x="372" y="8"/>
                </a:cubicBezTo>
                <a:cubicBezTo>
                  <a:pt x="372" y="7"/>
                  <a:pt x="371" y="8"/>
                  <a:pt x="371" y="8"/>
                </a:cubicBezTo>
                <a:cubicBezTo>
                  <a:pt x="371" y="7"/>
                  <a:pt x="379" y="9"/>
                  <a:pt x="381" y="7"/>
                </a:cubicBezTo>
                <a:cubicBezTo>
                  <a:pt x="384" y="7"/>
                  <a:pt x="386" y="8"/>
                  <a:pt x="390" y="7"/>
                </a:cubicBezTo>
                <a:cubicBezTo>
                  <a:pt x="390" y="7"/>
                  <a:pt x="389" y="7"/>
                  <a:pt x="390" y="7"/>
                </a:cubicBezTo>
                <a:cubicBezTo>
                  <a:pt x="387" y="6"/>
                  <a:pt x="389" y="6"/>
                  <a:pt x="386" y="5"/>
                </a:cubicBezTo>
                <a:cubicBezTo>
                  <a:pt x="388" y="6"/>
                  <a:pt x="389" y="7"/>
                  <a:pt x="391" y="6"/>
                </a:cubicBezTo>
                <a:cubicBezTo>
                  <a:pt x="392" y="6"/>
                  <a:pt x="392" y="7"/>
                  <a:pt x="394" y="7"/>
                </a:cubicBezTo>
                <a:cubicBezTo>
                  <a:pt x="395" y="7"/>
                  <a:pt x="395" y="6"/>
                  <a:pt x="395" y="6"/>
                </a:cubicBezTo>
                <a:cubicBezTo>
                  <a:pt x="396" y="6"/>
                  <a:pt x="399" y="6"/>
                  <a:pt x="397" y="6"/>
                </a:cubicBezTo>
                <a:cubicBezTo>
                  <a:pt x="401" y="5"/>
                  <a:pt x="402" y="7"/>
                  <a:pt x="401" y="7"/>
                </a:cubicBezTo>
                <a:cubicBezTo>
                  <a:pt x="408" y="7"/>
                  <a:pt x="400" y="5"/>
                  <a:pt x="400" y="4"/>
                </a:cubicBezTo>
                <a:cubicBezTo>
                  <a:pt x="402" y="5"/>
                  <a:pt x="404" y="4"/>
                  <a:pt x="401" y="4"/>
                </a:cubicBezTo>
                <a:cubicBezTo>
                  <a:pt x="406" y="3"/>
                  <a:pt x="402" y="5"/>
                  <a:pt x="407" y="5"/>
                </a:cubicBezTo>
                <a:cubicBezTo>
                  <a:pt x="411" y="4"/>
                  <a:pt x="406" y="3"/>
                  <a:pt x="410" y="3"/>
                </a:cubicBezTo>
                <a:cubicBezTo>
                  <a:pt x="408" y="2"/>
                  <a:pt x="400" y="3"/>
                  <a:pt x="399" y="2"/>
                </a:cubicBezTo>
                <a:cubicBezTo>
                  <a:pt x="400" y="1"/>
                  <a:pt x="404" y="2"/>
                  <a:pt x="404" y="2"/>
                </a:cubicBezTo>
                <a:cubicBezTo>
                  <a:pt x="407" y="2"/>
                  <a:pt x="407" y="1"/>
                  <a:pt x="412" y="2"/>
                </a:cubicBezTo>
                <a:cubicBezTo>
                  <a:pt x="411" y="2"/>
                  <a:pt x="413" y="2"/>
                  <a:pt x="412" y="3"/>
                </a:cubicBezTo>
                <a:cubicBezTo>
                  <a:pt x="415" y="3"/>
                  <a:pt x="415" y="1"/>
                  <a:pt x="419" y="1"/>
                </a:cubicBezTo>
                <a:cubicBezTo>
                  <a:pt x="417" y="2"/>
                  <a:pt x="416" y="2"/>
                  <a:pt x="421" y="2"/>
                </a:cubicBezTo>
                <a:cubicBezTo>
                  <a:pt x="420" y="3"/>
                  <a:pt x="417" y="3"/>
                  <a:pt x="417" y="2"/>
                </a:cubicBezTo>
                <a:cubicBezTo>
                  <a:pt x="416" y="2"/>
                  <a:pt x="416" y="3"/>
                  <a:pt x="415" y="3"/>
                </a:cubicBezTo>
                <a:cubicBezTo>
                  <a:pt x="414" y="3"/>
                  <a:pt x="417" y="3"/>
                  <a:pt x="417" y="4"/>
                </a:cubicBezTo>
                <a:cubicBezTo>
                  <a:pt x="419" y="4"/>
                  <a:pt x="418" y="3"/>
                  <a:pt x="416" y="3"/>
                </a:cubicBezTo>
                <a:cubicBezTo>
                  <a:pt x="417" y="3"/>
                  <a:pt x="421" y="3"/>
                  <a:pt x="421" y="4"/>
                </a:cubicBezTo>
                <a:cubicBezTo>
                  <a:pt x="418" y="4"/>
                  <a:pt x="427" y="5"/>
                  <a:pt x="424" y="5"/>
                </a:cubicBezTo>
                <a:cubicBezTo>
                  <a:pt x="427" y="5"/>
                  <a:pt x="427" y="6"/>
                  <a:pt x="430" y="6"/>
                </a:cubicBezTo>
                <a:cubicBezTo>
                  <a:pt x="426" y="5"/>
                  <a:pt x="427" y="5"/>
                  <a:pt x="425" y="4"/>
                </a:cubicBezTo>
                <a:cubicBezTo>
                  <a:pt x="426" y="4"/>
                  <a:pt x="428" y="4"/>
                  <a:pt x="430" y="4"/>
                </a:cubicBezTo>
                <a:cubicBezTo>
                  <a:pt x="427" y="4"/>
                  <a:pt x="430" y="4"/>
                  <a:pt x="428" y="4"/>
                </a:cubicBezTo>
                <a:cubicBezTo>
                  <a:pt x="429" y="5"/>
                  <a:pt x="432" y="5"/>
                  <a:pt x="433" y="5"/>
                </a:cubicBezTo>
                <a:cubicBezTo>
                  <a:pt x="434" y="5"/>
                  <a:pt x="431" y="5"/>
                  <a:pt x="431" y="4"/>
                </a:cubicBezTo>
                <a:cubicBezTo>
                  <a:pt x="432" y="4"/>
                  <a:pt x="438" y="5"/>
                  <a:pt x="438" y="5"/>
                </a:cubicBezTo>
                <a:cubicBezTo>
                  <a:pt x="442" y="6"/>
                  <a:pt x="445" y="6"/>
                  <a:pt x="453" y="7"/>
                </a:cubicBezTo>
                <a:cubicBezTo>
                  <a:pt x="453" y="7"/>
                  <a:pt x="452" y="7"/>
                  <a:pt x="451" y="7"/>
                </a:cubicBezTo>
                <a:cubicBezTo>
                  <a:pt x="451" y="7"/>
                  <a:pt x="453" y="7"/>
                  <a:pt x="453" y="7"/>
                </a:cubicBezTo>
                <a:cubicBezTo>
                  <a:pt x="452" y="8"/>
                  <a:pt x="450" y="7"/>
                  <a:pt x="447" y="6"/>
                </a:cubicBezTo>
                <a:cubicBezTo>
                  <a:pt x="447" y="7"/>
                  <a:pt x="447" y="7"/>
                  <a:pt x="447" y="7"/>
                </a:cubicBezTo>
                <a:cubicBezTo>
                  <a:pt x="448" y="7"/>
                  <a:pt x="453" y="8"/>
                  <a:pt x="453" y="9"/>
                </a:cubicBezTo>
                <a:cubicBezTo>
                  <a:pt x="454" y="8"/>
                  <a:pt x="456" y="7"/>
                  <a:pt x="453" y="6"/>
                </a:cubicBezTo>
                <a:cubicBezTo>
                  <a:pt x="454" y="6"/>
                  <a:pt x="457" y="7"/>
                  <a:pt x="455" y="6"/>
                </a:cubicBezTo>
                <a:cubicBezTo>
                  <a:pt x="456" y="6"/>
                  <a:pt x="458" y="7"/>
                  <a:pt x="460" y="7"/>
                </a:cubicBezTo>
                <a:cubicBezTo>
                  <a:pt x="460" y="7"/>
                  <a:pt x="459" y="7"/>
                  <a:pt x="458" y="6"/>
                </a:cubicBezTo>
                <a:cubicBezTo>
                  <a:pt x="460" y="6"/>
                  <a:pt x="465" y="7"/>
                  <a:pt x="465" y="6"/>
                </a:cubicBezTo>
                <a:cubicBezTo>
                  <a:pt x="466" y="7"/>
                  <a:pt x="466" y="7"/>
                  <a:pt x="465" y="7"/>
                </a:cubicBezTo>
                <a:cubicBezTo>
                  <a:pt x="466" y="7"/>
                  <a:pt x="469" y="8"/>
                  <a:pt x="468" y="8"/>
                </a:cubicBezTo>
                <a:cubicBezTo>
                  <a:pt x="466" y="8"/>
                  <a:pt x="466" y="8"/>
                  <a:pt x="463" y="7"/>
                </a:cubicBezTo>
                <a:cubicBezTo>
                  <a:pt x="463" y="8"/>
                  <a:pt x="464" y="8"/>
                  <a:pt x="464" y="8"/>
                </a:cubicBezTo>
                <a:cubicBezTo>
                  <a:pt x="468" y="9"/>
                  <a:pt x="467" y="8"/>
                  <a:pt x="470" y="9"/>
                </a:cubicBezTo>
                <a:cubicBezTo>
                  <a:pt x="470" y="8"/>
                  <a:pt x="473" y="8"/>
                  <a:pt x="477" y="9"/>
                </a:cubicBezTo>
                <a:cubicBezTo>
                  <a:pt x="476" y="10"/>
                  <a:pt x="474" y="9"/>
                  <a:pt x="471" y="9"/>
                </a:cubicBezTo>
                <a:cubicBezTo>
                  <a:pt x="472" y="9"/>
                  <a:pt x="472" y="10"/>
                  <a:pt x="472" y="10"/>
                </a:cubicBezTo>
                <a:cubicBezTo>
                  <a:pt x="473" y="10"/>
                  <a:pt x="475" y="10"/>
                  <a:pt x="476" y="10"/>
                </a:cubicBezTo>
                <a:cubicBezTo>
                  <a:pt x="478" y="10"/>
                  <a:pt x="478" y="11"/>
                  <a:pt x="478" y="11"/>
                </a:cubicBezTo>
                <a:cubicBezTo>
                  <a:pt x="479" y="11"/>
                  <a:pt x="481" y="11"/>
                  <a:pt x="483" y="12"/>
                </a:cubicBezTo>
                <a:cubicBezTo>
                  <a:pt x="483" y="11"/>
                  <a:pt x="484" y="11"/>
                  <a:pt x="482" y="11"/>
                </a:cubicBezTo>
                <a:cubicBezTo>
                  <a:pt x="483" y="10"/>
                  <a:pt x="485" y="11"/>
                  <a:pt x="484" y="12"/>
                </a:cubicBezTo>
                <a:cubicBezTo>
                  <a:pt x="485" y="12"/>
                  <a:pt x="486" y="11"/>
                  <a:pt x="487" y="12"/>
                </a:cubicBezTo>
                <a:cubicBezTo>
                  <a:pt x="487" y="12"/>
                  <a:pt x="485" y="10"/>
                  <a:pt x="490" y="11"/>
                </a:cubicBezTo>
                <a:cubicBezTo>
                  <a:pt x="490" y="10"/>
                  <a:pt x="485" y="10"/>
                  <a:pt x="484" y="9"/>
                </a:cubicBezTo>
                <a:cubicBezTo>
                  <a:pt x="482" y="9"/>
                  <a:pt x="481" y="9"/>
                  <a:pt x="482" y="9"/>
                </a:cubicBezTo>
                <a:cubicBezTo>
                  <a:pt x="480" y="9"/>
                  <a:pt x="481" y="9"/>
                  <a:pt x="478" y="8"/>
                </a:cubicBezTo>
                <a:cubicBezTo>
                  <a:pt x="478" y="8"/>
                  <a:pt x="482" y="9"/>
                  <a:pt x="481" y="7"/>
                </a:cubicBezTo>
                <a:cubicBezTo>
                  <a:pt x="484" y="8"/>
                  <a:pt x="482" y="8"/>
                  <a:pt x="482" y="8"/>
                </a:cubicBezTo>
                <a:cubicBezTo>
                  <a:pt x="486" y="9"/>
                  <a:pt x="486" y="9"/>
                  <a:pt x="489" y="9"/>
                </a:cubicBezTo>
                <a:cubicBezTo>
                  <a:pt x="489" y="9"/>
                  <a:pt x="487" y="9"/>
                  <a:pt x="487" y="8"/>
                </a:cubicBezTo>
                <a:cubicBezTo>
                  <a:pt x="491" y="9"/>
                  <a:pt x="493" y="10"/>
                  <a:pt x="496" y="11"/>
                </a:cubicBezTo>
                <a:cubicBezTo>
                  <a:pt x="495" y="11"/>
                  <a:pt x="495" y="10"/>
                  <a:pt x="495" y="11"/>
                </a:cubicBezTo>
                <a:cubicBezTo>
                  <a:pt x="496" y="11"/>
                  <a:pt x="499" y="12"/>
                  <a:pt x="499" y="11"/>
                </a:cubicBezTo>
                <a:cubicBezTo>
                  <a:pt x="500" y="12"/>
                  <a:pt x="500" y="12"/>
                  <a:pt x="501" y="13"/>
                </a:cubicBezTo>
                <a:cubicBezTo>
                  <a:pt x="505" y="13"/>
                  <a:pt x="510" y="15"/>
                  <a:pt x="512" y="16"/>
                </a:cubicBezTo>
                <a:cubicBezTo>
                  <a:pt x="514" y="17"/>
                  <a:pt x="512" y="15"/>
                  <a:pt x="510" y="14"/>
                </a:cubicBezTo>
                <a:cubicBezTo>
                  <a:pt x="510" y="14"/>
                  <a:pt x="516" y="16"/>
                  <a:pt x="514" y="16"/>
                </a:cubicBezTo>
                <a:cubicBezTo>
                  <a:pt x="516" y="17"/>
                  <a:pt x="519" y="18"/>
                  <a:pt x="520" y="18"/>
                </a:cubicBezTo>
                <a:cubicBezTo>
                  <a:pt x="519" y="17"/>
                  <a:pt x="518" y="17"/>
                  <a:pt x="517" y="17"/>
                </a:cubicBezTo>
                <a:cubicBezTo>
                  <a:pt x="520" y="17"/>
                  <a:pt x="527" y="19"/>
                  <a:pt x="532" y="21"/>
                </a:cubicBezTo>
                <a:cubicBezTo>
                  <a:pt x="529" y="19"/>
                  <a:pt x="537" y="22"/>
                  <a:pt x="537" y="22"/>
                </a:cubicBezTo>
                <a:cubicBezTo>
                  <a:pt x="539" y="22"/>
                  <a:pt x="538" y="23"/>
                  <a:pt x="540" y="23"/>
                </a:cubicBezTo>
                <a:cubicBezTo>
                  <a:pt x="539" y="23"/>
                  <a:pt x="538" y="23"/>
                  <a:pt x="536" y="22"/>
                </a:cubicBezTo>
                <a:cubicBezTo>
                  <a:pt x="536" y="23"/>
                  <a:pt x="543" y="25"/>
                  <a:pt x="545" y="25"/>
                </a:cubicBezTo>
                <a:cubicBezTo>
                  <a:pt x="545" y="25"/>
                  <a:pt x="542" y="25"/>
                  <a:pt x="540" y="24"/>
                </a:cubicBezTo>
                <a:cubicBezTo>
                  <a:pt x="543" y="24"/>
                  <a:pt x="547" y="25"/>
                  <a:pt x="551" y="27"/>
                </a:cubicBezTo>
                <a:cubicBezTo>
                  <a:pt x="551" y="27"/>
                  <a:pt x="550" y="27"/>
                  <a:pt x="552" y="28"/>
                </a:cubicBezTo>
                <a:cubicBezTo>
                  <a:pt x="551" y="28"/>
                  <a:pt x="549" y="26"/>
                  <a:pt x="549" y="27"/>
                </a:cubicBezTo>
                <a:cubicBezTo>
                  <a:pt x="550" y="28"/>
                  <a:pt x="552" y="28"/>
                  <a:pt x="552" y="29"/>
                </a:cubicBezTo>
                <a:cubicBezTo>
                  <a:pt x="554" y="30"/>
                  <a:pt x="550" y="28"/>
                  <a:pt x="551" y="29"/>
                </a:cubicBezTo>
                <a:cubicBezTo>
                  <a:pt x="555" y="29"/>
                  <a:pt x="555" y="30"/>
                  <a:pt x="558" y="30"/>
                </a:cubicBezTo>
                <a:cubicBezTo>
                  <a:pt x="562" y="32"/>
                  <a:pt x="569" y="34"/>
                  <a:pt x="569" y="35"/>
                </a:cubicBezTo>
                <a:cubicBezTo>
                  <a:pt x="571" y="36"/>
                  <a:pt x="570" y="35"/>
                  <a:pt x="571" y="35"/>
                </a:cubicBezTo>
                <a:cubicBezTo>
                  <a:pt x="572" y="36"/>
                  <a:pt x="575" y="37"/>
                  <a:pt x="573" y="37"/>
                </a:cubicBezTo>
                <a:cubicBezTo>
                  <a:pt x="575" y="38"/>
                  <a:pt x="575" y="38"/>
                  <a:pt x="577" y="39"/>
                </a:cubicBezTo>
                <a:cubicBezTo>
                  <a:pt x="577" y="39"/>
                  <a:pt x="575" y="39"/>
                  <a:pt x="576" y="39"/>
                </a:cubicBezTo>
                <a:cubicBezTo>
                  <a:pt x="578" y="40"/>
                  <a:pt x="578" y="39"/>
                  <a:pt x="579" y="39"/>
                </a:cubicBezTo>
                <a:cubicBezTo>
                  <a:pt x="579" y="38"/>
                  <a:pt x="576" y="38"/>
                  <a:pt x="576" y="38"/>
                </a:cubicBezTo>
                <a:cubicBezTo>
                  <a:pt x="576" y="37"/>
                  <a:pt x="580" y="39"/>
                  <a:pt x="579" y="39"/>
                </a:cubicBezTo>
                <a:cubicBezTo>
                  <a:pt x="581" y="40"/>
                  <a:pt x="581" y="40"/>
                  <a:pt x="583" y="40"/>
                </a:cubicBezTo>
                <a:cubicBezTo>
                  <a:pt x="586" y="42"/>
                  <a:pt x="586" y="42"/>
                  <a:pt x="589" y="44"/>
                </a:cubicBezTo>
                <a:cubicBezTo>
                  <a:pt x="587" y="43"/>
                  <a:pt x="587" y="42"/>
                  <a:pt x="586" y="42"/>
                </a:cubicBezTo>
                <a:cubicBezTo>
                  <a:pt x="585" y="40"/>
                  <a:pt x="593" y="44"/>
                  <a:pt x="594" y="45"/>
                </a:cubicBezTo>
                <a:cubicBezTo>
                  <a:pt x="594" y="45"/>
                  <a:pt x="591" y="43"/>
                  <a:pt x="590" y="43"/>
                </a:cubicBezTo>
                <a:cubicBezTo>
                  <a:pt x="592" y="45"/>
                  <a:pt x="596" y="46"/>
                  <a:pt x="598" y="48"/>
                </a:cubicBezTo>
                <a:cubicBezTo>
                  <a:pt x="600" y="49"/>
                  <a:pt x="597" y="46"/>
                  <a:pt x="599" y="47"/>
                </a:cubicBezTo>
                <a:cubicBezTo>
                  <a:pt x="600" y="48"/>
                  <a:pt x="601" y="49"/>
                  <a:pt x="603" y="50"/>
                </a:cubicBezTo>
                <a:cubicBezTo>
                  <a:pt x="603" y="50"/>
                  <a:pt x="606" y="52"/>
                  <a:pt x="606" y="51"/>
                </a:cubicBezTo>
                <a:cubicBezTo>
                  <a:pt x="612" y="54"/>
                  <a:pt x="615" y="56"/>
                  <a:pt x="620" y="59"/>
                </a:cubicBezTo>
                <a:cubicBezTo>
                  <a:pt x="619" y="58"/>
                  <a:pt x="619" y="59"/>
                  <a:pt x="619" y="59"/>
                </a:cubicBezTo>
                <a:cubicBezTo>
                  <a:pt x="624" y="60"/>
                  <a:pt x="634" y="67"/>
                  <a:pt x="640" y="71"/>
                </a:cubicBezTo>
                <a:cubicBezTo>
                  <a:pt x="642" y="72"/>
                  <a:pt x="641" y="71"/>
                  <a:pt x="643" y="73"/>
                </a:cubicBezTo>
                <a:cubicBezTo>
                  <a:pt x="643" y="73"/>
                  <a:pt x="643" y="73"/>
                  <a:pt x="644" y="73"/>
                </a:cubicBezTo>
                <a:cubicBezTo>
                  <a:pt x="644" y="73"/>
                  <a:pt x="643" y="72"/>
                  <a:pt x="642" y="72"/>
                </a:cubicBezTo>
                <a:cubicBezTo>
                  <a:pt x="645" y="73"/>
                  <a:pt x="651" y="78"/>
                  <a:pt x="653" y="78"/>
                </a:cubicBezTo>
                <a:cubicBezTo>
                  <a:pt x="655" y="80"/>
                  <a:pt x="658" y="83"/>
                  <a:pt x="661" y="84"/>
                </a:cubicBezTo>
                <a:cubicBezTo>
                  <a:pt x="665" y="87"/>
                  <a:pt x="675" y="94"/>
                  <a:pt x="680" y="98"/>
                </a:cubicBezTo>
                <a:cubicBezTo>
                  <a:pt x="680" y="98"/>
                  <a:pt x="679" y="97"/>
                  <a:pt x="679" y="98"/>
                </a:cubicBezTo>
                <a:cubicBezTo>
                  <a:pt x="681" y="99"/>
                  <a:pt x="682" y="100"/>
                  <a:pt x="684" y="102"/>
                </a:cubicBezTo>
                <a:cubicBezTo>
                  <a:pt x="685" y="102"/>
                  <a:pt x="683" y="101"/>
                  <a:pt x="684" y="101"/>
                </a:cubicBezTo>
                <a:cubicBezTo>
                  <a:pt x="688" y="104"/>
                  <a:pt x="693" y="109"/>
                  <a:pt x="699" y="114"/>
                </a:cubicBezTo>
                <a:cubicBezTo>
                  <a:pt x="698" y="114"/>
                  <a:pt x="698" y="114"/>
                  <a:pt x="699" y="115"/>
                </a:cubicBezTo>
                <a:cubicBezTo>
                  <a:pt x="701" y="117"/>
                  <a:pt x="702" y="118"/>
                  <a:pt x="703" y="118"/>
                </a:cubicBezTo>
                <a:cubicBezTo>
                  <a:pt x="705" y="120"/>
                  <a:pt x="704" y="119"/>
                  <a:pt x="705" y="120"/>
                </a:cubicBezTo>
                <a:cubicBezTo>
                  <a:pt x="707" y="122"/>
                  <a:pt x="704" y="119"/>
                  <a:pt x="705" y="119"/>
                </a:cubicBezTo>
                <a:cubicBezTo>
                  <a:pt x="707" y="121"/>
                  <a:pt x="707" y="121"/>
                  <a:pt x="709" y="123"/>
                </a:cubicBezTo>
                <a:cubicBezTo>
                  <a:pt x="705" y="121"/>
                  <a:pt x="715" y="129"/>
                  <a:pt x="718" y="132"/>
                </a:cubicBezTo>
                <a:cubicBezTo>
                  <a:pt x="716" y="131"/>
                  <a:pt x="717" y="131"/>
                  <a:pt x="716" y="129"/>
                </a:cubicBezTo>
                <a:cubicBezTo>
                  <a:pt x="716" y="129"/>
                  <a:pt x="717" y="130"/>
                  <a:pt x="717" y="130"/>
                </a:cubicBezTo>
                <a:cubicBezTo>
                  <a:pt x="722" y="135"/>
                  <a:pt x="722" y="134"/>
                  <a:pt x="723" y="137"/>
                </a:cubicBezTo>
                <a:cubicBezTo>
                  <a:pt x="724" y="138"/>
                  <a:pt x="723" y="136"/>
                  <a:pt x="724" y="136"/>
                </a:cubicBezTo>
                <a:cubicBezTo>
                  <a:pt x="727" y="139"/>
                  <a:pt x="727" y="140"/>
                  <a:pt x="728" y="141"/>
                </a:cubicBezTo>
                <a:cubicBezTo>
                  <a:pt x="729" y="142"/>
                  <a:pt x="732" y="144"/>
                  <a:pt x="732" y="145"/>
                </a:cubicBezTo>
                <a:cubicBezTo>
                  <a:pt x="732" y="146"/>
                  <a:pt x="735" y="148"/>
                  <a:pt x="734" y="148"/>
                </a:cubicBezTo>
                <a:cubicBezTo>
                  <a:pt x="736" y="149"/>
                  <a:pt x="736" y="149"/>
                  <a:pt x="737" y="150"/>
                </a:cubicBezTo>
                <a:cubicBezTo>
                  <a:pt x="738" y="150"/>
                  <a:pt x="735" y="148"/>
                  <a:pt x="734" y="147"/>
                </a:cubicBezTo>
                <a:cubicBezTo>
                  <a:pt x="736" y="147"/>
                  <a:pt x="734" y="144"/>
                  <a:pt x="736" y="144"/>
                </a:cubicBezTo>
                <a:cubicBezTo>
                  <a:pt x="739" y="150"/>
                  <a:pt x="741" y="155"/>
                  <a:pt x="745" y="161"/>
                </a:cubicBezTo>
                <a:cubicBezTo>
                  <a:pt x="747" y="163"/>
                  <a:pt x="742" y="157"/>
                  <a:pt x="747" y="162"/>
                </a:cubicBezTo>
                <a:cubicBezTo>
                  <a:pt x="747" y="161"/>
                  <a:pt x="745" y="159"/>
                  <a:pt x="746" y="160"/>
                </a:cubicBezTo>
                <a:cubicBezTo>
                  <a:pt x="744" y="157"/>
                  <a:pt x="744" y="158"/>
                  <a:pt x="743" y="156"/>
                </a:cubicBezTo>
                <a:cubicBezTo>
                  <a:pt x="743" y="156"/>
                  <a:pt x="745" y="158"/>
                  <a:pt x="746" y="159"/>
                </a:cubicBezTo>
                <a:cubicBezTo>
                  <a:pt x="746" y="159"/>
                  <a:pt x="745" y="156"/>
                  <a:pt x="747" y="158"/>
                </a:cubicBezTo>
                <a:cubicBezTo>
                  <a:pt x="746" y="156"/>
                  <a:pt x="744" y="153"/>
                  <a:pt x="745" y="154"/>
                </a:cubicBezTo>
                <a:cubicBezTo>
                  <a:pt x="747" y="156"/>
                  <a:pt x="748" y="158"/>
                  <a:pt x="749" y="159"/>
                </a:cubicBezTo>
                <a:cubicBezTo>
                  <a:pt x="749" y="160"/>
                  <a:pt x="752" y="165"/>
                  <a:pt x="750" y="164"/>
                </a:cubicBezTo>
                <a:cubicBezTo>
                  <a:pt x="752" y="166"/>
                  <a:pt x="751" y="167"/>
                  <a:pt x="751" y="167"/>
                </a:cubicBezTo>
                <a:cubicBezTo>
                  <a:pt x="753" y="170"/>
                  <a:pt x="756" y="173"/>
                  <a:pt x="757" y="174"/>
                </a:cubicBezTo>
                <a:cubicBezTo>
                  <a:pt x="757" y="173"/>
                  <a:pt x="755" y="172"/>
                  <a:pt x="754" y="170"/>
                </a:cubicBezTo>
                <a:cubicBezTo>
                  <a:pt x="754" y="168"/>
                  <a:pt x="759" y="172"/>
                  <a:pt x="756" y="168"/>
                </a:cubicBezTo>
                <a:cubicBezTo>
                  <a:pt x="757" y="169"/>
                  <a:pt x="757" y="170"/>
                  <a:pt x="759" y="173"/>
                </a:cubicBezTo>
                <a:cubicBezTo>
                  <a:pt x="759" y="174"/>
                  <a:pt x="757" y="173"/>
                  <a:pt x="760" y="177"/>
                </a:cubicBezTo>
                <a:cubicBezTo>
                  <a:pt x="759" y="176"/>
                  <a:pt x="759" y="175"/>
                  <a:pt x="758" y="175"/>
                </a:cubicBezTo>
                <a:cubicBezTo>
                  <a:pt x="760" y="177"/>
                  <a:pt x="760" y="179"/>
                  <a:pt x="762" y="181"/>
                </a:cubicBezTo>
                <a:cubicBezTo>
                  <a:pt x="762" y="182"/>
                  <a:pt x="762" y="181"/>
                  <a:pt x="764" y="182"/>
                </a:cubicBezTo>
                <a:cubicBezTo>
                  <a:pt x="765" y="184"/>
                  <a:pt x="766" y="187"/>
                  <a:pt x="767" y="186"/>
                </a:cubicBezTo>
                <a:cubicBezTo>
                  <a:pt x="768" y="186"/>
                  <a:pt x="765" y="183"/>
                  <a:pt x="764" y="182"/>
                </a:cubicBezTo>
                <a:cubicBezTo>
                  <a:pt x="762" y="178"/>
                  <a:pt x="767" y="183"/>
                  <a:pt x="764" y="178"/>
                </a:cubicBezTo>
                <a:cubicBezTo>
                  <a:pt x="766" y="180"/>
                  <a:pt x="766" y="181"/>
                  <a:pt x="766" y="179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70" y="185"/>
                  <a:pt x="768" y="190"/>
                  <a:pt x="774" y="194"/>
                </a:cubicBezTo>
                <a:cubicBezTo>
                  <a:pt x="773" y="192"/>
                  <a:pt x="774" y="192"/>
                  <a:pt x="776" y="194"/>
                </a:cubicBezTo>
                <a:cubicBezTo>
                  <a:pt x="775" y="192"/>
                  <a:pt x="774" y="188"/>
                  <a:pt x="776" y="190"/>
                </a:cubicBezTo>
                <a:cubicBezTo>
                  <a:pt x="782" y="200"/>
                  <a:pt x="774" y="198"/>
                  <a:pt x="781" y="209"/>
                </a:cubicBezTo>
                <a:cubicBezTo>
                  <a:pt x="782" y="211"/>
                  <a:pt x="782" y="210"/>
                  <a:pt x="784" y="211"/>
                </a:cubicBezTo>
                <a:cubicBezTo>
                  <a:pt x="782" y="207"/>
                  <a:pt x="785" y="207"/>
                  <a:pt x="785" y="203"/>
                </a:cubicBezTo>
                <a:cubicBezTo>
                  <a:pt x="789" y="210"/>
                  <a:pt x="784" y="206"/>
                  <a:pt x="788" y="212"/>
                </a:cubicBezTo>
                <a:cubicBezTo>
                  <a:pt x="786" y="212"/>
                  <a:pt x="788" y="216"/>
                  <a:pt x="786" y="217"/>
                </a:cubicBezTo>
                <a:cubicBezTo>
                  <a:pt x="787" y="218"/>
                  <a:pt x="788" y="218"/>
                  <a:pt x="789" y="220"/>
                </a:cubicBezTo>
                <a:cubicBezTo>
                  <a:pt x="788" y="220"/>
                  <a:pt x="787" y="218"/>
                  <a:pt x="787" y="219"/>
                </a:cubicBezTo>
                <a:cubicBezTo>
                  <a:pt x="788" y="221"/>
                  <a:pt x="789" y="223"/>
                  <a:pt x="791" y="226"/>
                </a:cubicBezTo>
                <a:cubicBezTo>
                  <a:pt x="793" y="227"/>
                  <a:pt x="790" y="222"/>
                  <a:pt x="793" y="224"/>
                </a:cubicBezTo>
                <a:cubicBezTo>
                  <a:pt x="792" y="220"/>
                  <a:pt x="793" y="220"/>
                  <a:pt x="795" y="221"/>
                </a:cubicBezTo>
                <a:cubicBezTo>
                  <a:pt x="798" y="227"/>
                  <a:pt x="796" y="231"/>
                  <a:pt x="795" y="230"/>
                </a:cubicBezTo>
                <a:cubicBezTo>
                  <a:pt x="795" y="231"/>
                  <a:pt x="796" y="233"/>
                  <a:pt x="796" y="234"/>
                </a:cubicBezTo>
                <a:cubicBezTo>
                  <a:pt x="793" y="231"/>
                  <a:pt x="796" y="239"/>
                  <a:pt x="792" y="235"/>
                </a:cubicBezTo>
                <a:cubicBezTo>
                  <a:pt x="794" y="238"/>
                  <a:pt x="793" y="237"/>
                  <a:pt x="792" y="236"/>
                </a:cubicBezTo>
                <a:cubicBezTo>
                  <a:pt x="794" y="240"/>
                  <a:pt x="794" y="243"/>
                  <a:pt x="797" y="248"/>
                </a:cubicBezTo>
                <a:cubicBezTo>
                  <a:pt x="797" y="246"/>
                  <a:pt x="797" y="245"/>
                  <a:pt x="799" y="248"/>
                </a:cubicBezTo>
                <a:cubicBezTo>
                  <a:pt x="799" y="247"/>
                  <a:pt x="798" y="246"/>
                  <a:pt x="798" y="245"/>
                </a:cubicBezTo>
                <a:cubicBezTo>
                  <a:pt x="798" y="244"/>
                  <a:pt x="799" y="247"/>
                  <a:pt x="800" y="247"/>
                </a:cubicBezTo>
                <a:cubicBezTo>
                  <a:pt x="800" y="246"/>
                  <a:pt x="799" y="246"/>
                  <a:pt x="798" y="244"/>
                </a:cubicBezTo>
                <a:cubicBezTo>
                  <a:pt x="799" y="244"/>
                  <a:pt x="800" y="246"/>
                  <a:pt x="800" y="246"/>
                </a:cubicBezTo>
                <a:cubicBezTo>
                  <a:pt x="802" y="250"/>
                  <a:pt x="800" y="249"/>
                  <a:pt x="801" y="252"/>
                </a:cubicBezTo>
                <a:cubicBezTo>
                  <a:pt x="799" y="250"/>
                  <a:pt x="800" y="252"/>
                  <a:pt x="799" y="251"/>
                </a:cubicBezTo>
                <a:cubicBezTo>
                  <a:pt x="800" y="252"/>
                  <a:pt x="801" y="254"/>
                  <a:pt x="802" y="256"/>
                </a:cubicBezTo>
                <a:cubicBezTo>
                  <a:pt x="800" y="254"/>
                  <a:pt x="800" y="256"/>
                  <a:pt x="799" y="255"/>
                </a:cubicBezTo>
                <a:cubicBezTo>
                  <a:pt x="799" y="256"/>
                  <a:pt x="800" y="257"/>
                  <a:pt x="800" y="258"/>
                </a:cubicBezTo>
                <a:cubicBezTo>
                  <a:pt x="798" y="257"/>
                  <a:pt x="797" y="261"/>
                  <a:pt x="794" y="257"/>
                </a:cubicBezTo>
                <a:cubicBezTo>
                  <a:pt x="794" y="258"/>
                  <a:pt x="795" y="260"/>
                  <a:pt x="794" y="260"/>
                </a:cubicBezTo>
                <a:cubicBezTo>
                  <a:pt x="792" y="255"/>
                  <a:pt x="791" y="256"/>
                  <a:pt x="790" y="256"/>
                </a:cubicBezTo>
                <a:cubicBezTo>
                  <a:pt x="792" y="259"/>
                  <a:pt x="794" y="261"/>
                  <a:pt x="795" y="265"/>
                </a:cubicBezTo>
                <a:cubicBezTo>
                  <a:pt x="793" y="262"/>
                  <a:pt x="795" y="266"/>
                  <a:pt x="793" y="262"/>
                </a:cubicBezTo>
                <a:cubicBezTo>
                  <a:pt x="792" y="267"/>
                  <a:pt x="790" y="268"/>
                  <a:pt x="787" y="266"/>
                </a:cubicBezTo>
                <a:cubicBezTo>
                  <a:pt x="786" y="263"/>
                  <a:pt x="784" y="260"/>
                  <a:pt x="784" y="259"/>
                </a:cubicBezTo>
                <a:cubicBezTo>
                  <a:pt x="784" y="258"/>
                  <a:pt x="783" y="258"/>
                  <a:pt x="783" y="257"/>
                </a:cubicBezTo>
                <a:cubicBezTo>
                  <a:pt x="783" y="257"/>
                  <a:pt x="783" y="258"/>
                  <a:pt x="784" y="259"/>
                </a:cubicBezTo>
                <a:cubicBezTo>
                  <a:pt x="783" y="258"/>
                  <a:pt x="782" y="256"/>
                  <a:pt x="782" y="255"/>
                </a:cubicBezTo>
                <a:close/>
                <a:moveTo>
                  <a:pt x="340" y="50"/>
                </a:moveTo>
                <a:cubicBezTo>
                  <a:pt x="338" y="51"/>
                  <a:pt x="336" y="51"/>
                  <a:pt x="336" y="51"/>
                </a:cubicBezTo>
                <a:cubicBezTo>
                  <a:pt x="338" y="51"/>
                  <a:pt x="340" y="51"/>
                  <a:pt x="340" y="50"/>
                </a:cubicBezTo>
                <a:close/>
                <a:moveTo>
                  <a:pt x="236" y="74"/>
                </a:moveTo>
                <a:cubicBezTo>
                  <a:pt x="236" y="74"/>
                  <a:pt x="235" y="75"/>
                  <a:pt x="235" y="74"/>
                </a:cubicBezTo>
                <a:cubicBezTo>
                  <a:pt x="234" y="75"/>
                  <a:pt x="233" y="75"/>
                  <a:pt x="233" y="76"/>
                </a:cubicBezTo>
                <a:cubicBezTo>
                  <a:pt x="236" y="75"/>
                  <a:pt x="230" y="77"/>
                  <a:pt x="232" y="77"/>
                </a:cubicBezTo>
                <a:cubicBezTo>
                  <a:pt x="234" y="76"/>
                  <a:pt x="235" y="75"/>
                  <a:pt x="236" y="74"/>
                </a:cubicBezTo>
                <a:close/>
                <a:moveTo>
                  <a:pt x="231" y="76"/>
                </a:moveTo>
                <a:cubicBezTo>
                  <a:pt x="232" y="75"/>
                  <a:pt x="233" y="76"/>
                  <a:pt x="234" y="74"/>
                </a:cubicBezTo>
                <a:cubicBezTo>
                  <a:pt x="234" y="75"/>
                  <a:pt x="236" y="72"/>
                  <a:pt x="237" y="71"/>
                </a:cubicBezTo>
                <a:cubicBezTo>
                  <a:pt x="233" y="73"/>
                  <a:pt x="233" y="74"/>
                  <a:pt x="231" y="76"/>
                </a:cubicBezTo>
                <a:close/>
                <a:moveTo>
                  <a:pt x="162" y="116"/>
                </a:moveTo>
                <a:cubicBezTo>
                  <a:pt x="164" y="115"/>
                  <a:pt x="164" y="115"/>
                  <a:pt x="164" y="115"/>
                </a:cubicBezTo>
                <a:cubicBezTo>
                  <a:pt x="162" y="115"/>
                  <a:pt x="165" y="114"/>
                  <a:pt x="167" y="112"/>
                </a:cubicBezTo>
                <a:cubicBezTo>
                  <a:pt x="165" y="113"/>
                  <a:pt x="164" y="114"/>
                  <a:pt x="164" y="114"/>
                </a:cubicBezTo>
                <a:cubicBezTo>
                  <a:pt x="167" y="111"/>
                  <a:pt x="164" y="113"/>
                  <a:pt x="165" y="111"/>
                </a:cubicBezTo>
                <a:cubicBezTo>
                  <a:pt x="164" y="112"/>
                  <a:pt x="162" y="113"/>
                  <a:pt x="162" y="114"/>
                </a:cubicBezTo>
                <a:cubicBezTo>
                  <a:pt x="168" y="110"/>
                  <a:pt x="160" y="115"/>
                  <a:pt x="162" y="114"/>
                </a:cubicBezTo>
                <a:cubicBezTo>
                  <a:pt x="166" y="112"/>
                  <a:pt x="161" y="116"/>
                  <a:pt x="162" y="116"/>
                </a:cubicBezTo>
                <a:close/>
                <a:moveTo>
                  <a:pt x="132" y="113"/>
                </a:moveTo>
                <a:cubicBezTo>
                  <a:pt x="134" y="112"/>
                  <a:pt x="135" y="111"/>
                  <a:pt x="134" y="111"/>
                </a:cubicBezTo>
                <a:cubicBezTo>
                  <a:pt x="132" y="113"/>
                  <a:pt x="132" y="113"/>
                  <a:pt x="132" y="113"/>
                </a:cubicBezTo>
                <a:close/>
                <a:moveTo>
                  <a:pt x="788" y="254"/>
                </a:moveTo>
                <a:cubicBezTo>
                  <a:pt x="788" y="256"/>
                  <a:pt x="790" y="259"/>
                  <a:pt x="791" y="260"/>
                </a:cubicBezTo>
                <a:cubicBezTo>
                  <a:pt x="790" y="258"/>
                  <a:pt x="789" y="255"/>
                  <a:pt x="788" y="254"/>
                </a:cubicBezTo>
                <a:close/>
                <a:moveTo>
                  <a:pt x="792" y="242"/>
                </a:moveTo>
                <a:cubicBezTo>
                  <a:pt x="793" y="245"/>
                  <a:pt x="794" y="247"/>
                  <a:pt x="796" y="250"/>
                </a:cubicBezTo>
                <a:cubicBezTo>
                  <a:pt x="797" y="249"/>
                  <a:pt x="792" y="240"/>
                  <a:pt x="790" y="237"/>
                </a:cubicBezTo>
                <a:cubicBezTo>
                  <a:pt x="790" y="239"/>
                  <a:pt x="794" y="244"/>
                  <a:pt x="795" y="246"/>
                </a:cubicBezTo>
                <a:cubicBezTo>
                  <a:pt x="794" y="246"/>
                  <a:pt x="793" y="243"/>
                  <a:pt x="792" y="242"/>
                </a:cubicBezTo>
                <a:close/>
                <a:moveTo>
                  <a:pt x="787" y="245"/>
                </a:moveTo>
                <a:cubicBezTo>
                  <a:pt x="787" y="245"/>
                  <a:pt x="787" y="247"/>
                  <a:pt x="786" y="246"/>
                </a:cubicBezTo>
                <a:cubicBezTo>
                  <a:pt x="788" y="248"/>
                  <a:pt x="789" y="252"/>
                  <a:pt x="790" y="253"/>
                </a:cubicBezTo>
                <a:cubicBezTo>
                  <a:pt x="789" y="250"/>
                  <a:pt x="788" y="247"/>
                  <a:pt x="787" y="245"/>
                </a:cubicBezTo>
                <a:close/>
                <a:moveTo>
                  <a:pt x="779" y="256"/>
                </a:moveTo>
                <a:cubicBezTo>
                  <a:pt x="779" y="256"/>
                  <a:pt x="776" y="252"/>
                  <a:pt x="777" y="255"/>
                </a:cubicBezTo>
                <a:cubicBezTo>
                  <a:pt x="778" y="255"/>
                  <a:pt x="778" y="255"/>
                  <a:pt x="779" y="257"/>
                </a:cubicBezTo>
                <a:cubicBezTo>
                  <a:pt x="779" y="258"/>
                  <a:pt x="779" y="258"/>
                  <a:pt x="779" y="258"/>
                </a:cubicBezTo>
                <a:cubicBezTo>
                  <a:pt x="780" y="258"/>
                  <a:pt x="780" y="258"/>
                  <a:pt x="779" y="256"/>
                </a:cubicBezTo>
                <a:close/>
                <a:moveTo>
                  <a:pt x="785" y="244"/>
                </a:moveTo>
                <a:cubicBezTo>
                  <a:pt x="787" y="249"/>
                  <a:pt x="783" y="241"/>
                  <a:pt x="784" y="244"/>
                </a:cubicBezTo>
                <a:cubicBezTo>
                  <a:pt x="786" y="246"/>
                  <a:pt x="784" y="246"/>
                  <a:pt x="785" y="247"/>
                </a:cubicBezTo>
                <a:cubicBezTo>
                  <a:pt x="785" y="246"/>
                  <a:pt x="787" y="249"/>
                  <a:pt x="787" y="249"/>
                </a:cubicBezTo>
                <a:cubicBezTo>
                  <a:pt x="786" y="247"/>
                  <a:pt x="786" y="245"/>
                  <a:pt x="785" y="244"/>
                </a:cubicBezTo>
                <a:close/>
                <a:moveTo>
                  <a:pt x="789" y="230"/>
                </a:moveTo>
                <a:cubicBezTo>
                  <a:pt x="790" y="231"/>
                  <a:pt x="791" y="232"/>
                  <a:pt x="792" y="233"/>
                </a:cubicBezTo>
                <a:cubicBezTo>
                  <a:pt x="790" y="230"/>
                  <a:pt x="789" y="228"/>
                  <a:pt x="790" y="229"/>
                </a:cubicBezTo>
                <a:cubicBezTo>
                  <a:pt x="788" y="225"/>
                  <a:pt x="789" y="224"/>
                  <a:pt x="787" y="222"/>
                </a:cubicBezTo>
                <a:cubicBezTo>
                  <a:pt x="787" y="222"/>
                  <a:pt x="787" y="224"/>
                  <a:pt x="786" y="224"/>
                </a:cubicBezTo>
                <a:cubicBezTo>
                  <a:pt x="788" y="225"/>
                  <a:pt x="788" y="226"/>
                  <a:pt x="789" y="227"/>
                </a:cubicBezTo>
                <a:cubicBezTo>
                  <a:pt x="789" y="228"/>
                  <a:pt x="789" y="229"/>
                  <a:pt x="789" y="229"/>
                </a:cubicBezTo>
                <a:cubicBezTo>
                  <a:pt x="788" y="226"/>
                  <a:pt x="787" y="226"/>
                  <a:pt x="785" y="224"/>
                </a:cubicBezTo>
                <a:cubicBezTo>
                  <a:pt x="787" y="227"/>
                  <a:pt x="786" y="227"/>
                  <a:pt x="785" y="226"/>
                </a:cubicBezTo>
                <a:cubicBezTo>
                  <a:pt x="787" y="230"/>
                  <a:pt x="786" y="228"/>
                  <a:pt x="787" y="231"/>
                </a:cubicBezTo>
                <a:cubicBezTo>
                  <a:pt x="788" y="231"/>
                  <a:pt x="789" y="234"/>
                  <a:pt x="790" y="235"/>
                </a:cubicBezTo>
                <a:cubicBezTo>
                  <a:pt x="790" y="235"/>
                  <a:pt x="792" y="237"/>
                  <a:pt x="791" y="235"/>
                </a:cubicBezTo>
                <a:cubicBezTo>
                  <a:pt x="790" y="235"/>
                  <a:pt x="790" y="233"/>
                  <a:pt x="789" y="232"/>
                </a:cubicBezTo>
                <a:cubicBezTo>
                  <a:pt x="789" y="232"/>
                  <a:pt x="790" y="235"/>
                  <a:pt x="789" y="233"/>
                </a:cubicBezTo>
                <a:cubicBezTo>
                  <a:pt x="789" y="233"/>
                  <a:pt x="787" y="230"/>
                  <a:pt x="788" y="230"/>
                </a:cubicBezTo>
                <a:cubicBezTo>
                  <a:pt x="789" y="232"/>
                  <a:pt x="790" y="234"/>
                  <a:pt x="792" y="235"/>
                </a:cubicBezTo>
                <a:cubicBezTo>
                  <a:pt x="791" y="234"/>
                  <a:pt x="789" y="231"/>
                  <a:pt x="789" y="230"/>
                </a:cubicBezTo>
                <a:close/>
                <a:moveTo>
                  <a:pt x="788" y="235"/>
                </a:moveTo>
                <a:cubicBezTo>
                  <a:pt x="788" y="233"/>
                  <a:pt x="786" y="229"/>
                  <a:pt x="785" y="229"/>
                </a:cubicBezTo>
                <a:cubicBezTo>
                  <a:pt x="787" y="231"/>
                  <a:pt x="787" y="234"/>
                  <a:pt x="788" y="235"/>
                </a:cubicBezTo>
                <a:close/>
                <a:moveTo>
                  <a:pt x="756" y="236"/>
                </a:moveTo>
                <a:cubicBezTo>
                  <a:pt x="755" y="236"/>
                  <a:pt x="757" y="239"/>
                  <a:pt x="758" y="240"/>
                </a:cubicBezTo>
                <a:cubicBezTo>
                  <a:pt x="760" y="241"/>
                  <a:pt x="759" y="242"/>
                  <a:pt x="760" y="244"/>
                </a:cubicBezTo>
                <a:cubicBezTo>
                  <a:pt x="760" y="243"/>
                  <a:pt x="762" y="245"/>
                  <a:pt x="761" y="242"/>
                </a:cubicBezTo>
                <a:cubicBezTo>
                  <a:pt x="759" y="241"/>
                  <a:pt x="759" y="241"/>
                  <a:pt x="756" y="236"/>
                </a:cubicBezTo>
                <a:close/>
                <a:moveTo>
                  <a:pt x="780" y="220"/>
                </a:moveTo>
                <a:cubicBezTo>
                  <a:pt x="781" y="222"/>
                  <a:pt x="781" y="223"/>
                  <a:pt x="782" y="225"/>
                </a:cubicBezTo>
                <a:cubicBezTo>
                  <a:pt x="783" y="226"/>
                  <a:pt x="784" y="227"/>
                  <a:pt x="785" y="228"/>
                </a:cubicBezTo>
                <a:cubicBezTo>
                  <a:pt x="783" y="225"/>
                  <a:pt x="782" y="222"/>
                  <a:pt x="780" y="220"/>
                </a:cubicBezTo>
                <a:close/>
                <a:moveTo>
                  <a:pt x="787" y="219"/>
                </a:moveTo>
                <a:cubicBezTo>
                  <a:pt x="786" y="219"/>
                  <a:pt x="786" y="220"/>
                  <a:pt x="787" y="221"/>
                </a:cubicBezTo>
                <a:cubicBezTo>
                  <a:pt x="787" y="221"/>
                  <a:pt x="789" y="225"/>
                  <a:pt x="789" y="223"/>
                </a:cubicBezTo>
                <a:cubicBezTo>
                  <a:pt x="787" y="221"/>
                  <a:pt x="787" y="220"/>
                  <a:pt x="787" y="219"/>
                </a:cubicBezTo>
                <a:close/>
                <a:moveTo>
                  <a:pt x="781" y="226"/>
                </a:moveTo>
                <a:cubicBezTo>
                  <a:pt x="781" y="227"/>
                  <a:pt x="780" y="223"/>
                  <a:pt x="779" y="224"/>
                </a:cubicBezTo>
                <a:cubicBezTo>
                  <a:pt x="780" y="224"/>
                  <a:pt x="780" y="225"/>
                  <a:pt x="779" y="225"/>
                </a:cubicBezTo>
                <a:cubicBezTo>
                  <a:pt x="781" y="228"/>
                  <a:pt x="783" y="228"/>
                  <a:pt x="781" y="226"/>
                </a:cubicBezTo>
                <a:close/>
                <a:moveTo>
                  <a:pt x="760" y="233"/>
                </a:moveTo>
                <a:cubicBezTo>
                  <a:pt x="761" y="237"/>
                  <a:pt x="756" y="230"/>
                  <a:pt x="756" y="233"/>
                </a:cubicBezTo>
                <a:cubicBezTo>
                  <a:pt x="758" y="234"/>
                  <a:pt x="760" y="235"/>
                  <a:pt x="762" y="237"/>
                </a:cubicBezTo>
                <a:cubicBezTo>
                  <a:pt x="761" y="235"/>
                  <a:pt x="761" y="233"/>
                  <a:pt x="760" y="233"/>
                </a:cubicBezTo>
                <a:close/>
                <a:moveTo>
                  <a:pt x="754" y="232"/>
                </a:moveTo>
                <a:cubicBezTo>
                  <a:pt x="755" y="231"/>
                  <a:pt x="756" y="235"/>
                  <a:pt x="757" y="236"/>
                </a:cubicBezTo>
                <a:cubicBezTo>
                  <a:pt x="757" y="234"/>
                  <a:pt x="753" y="229"/>
                  <a:pt x="754" y="232"/>
                </a:cubicBezTo>
                <a:close/>
                <a:moveTo>
                  <a:pt x="747" y="236"/>
                </a:moveTo>
                <a:cubicBezTo>
                  <a:pt x="746" y="236"/>
                  <a:pt x="748" y="238"/>
                  <a:pt x="748" y="239"/>
                </a:cubicBezTo>
                <a:cubicBezTo>
                  <a:pt x="749" y="239"/>
                  <a:pt x="749" y="240"/>
                  <a:pt x="749" y="239"/>
                </a:cubicBezTo>
                <a:cubicBezTo>
                  <a:pt x="748" y="239"/>
                  <a:pt x="748" y="237"/>
                  <a:pt x="747" y="236"/>
                </a:cubicBezTo>
                <a:close/>
                <a:moveTo>
                  <a:pt x="753" y="170"/>
                </a:moveTo>
                <a:cubicBezTo>
                  <a:pt x="752" y="170"/>
                  <a:pt x="752" y="170"/>
                  <a:pt x="753" y="172"/>
                </a:cubicBezTo>
                <a:cubicBezTo>
                  <a:pt x="754" y="172"/>
                  <a:pt x="755" y="172"/>
                  <a:pt x="756" y="173"/>
                </a:cubicBezTo>
                <a:cubicBezTo>
                  <a:pt x="754" y="172"/>
                  <a:pt x="753" y="171"/>
                  <a:pt x="753" y="170"/>
                </a:cubicBezTo>
                <a:close/>
                <a:moveTo>
                  <a:pt x="747" y="163"/>
                </a:moveTo>
                <a:cubicBezTo>
                  <a:pt x="746" y="162"/>
                  <a:pt x="745" y="163"/>
                  <a:pt x="746" y="165"/>
                </a:cubicBezTo>
                <a:cubicBezTo>
                  <a:pt x="746" y="164"/>
                  <a:pt x="749" y="168"/>
                  <a:pt x="749" y="167"/>
                </a:cubicBezTo>
                <a:cubicBezTo>
                  <a:pt x="746" y="163"/>
                  <a:pt x="748" y="165"/>
                  <a:pt x="747" y="163"/>
                </a:cubicBezTo>
                <a:close/>
                <a:moveTo>
                  <a:pt x="726" y="156"/>
                </a:moveTo>
                <a:cubicBezTo>
                  <a:pt x="725" y="156"/>
                  <a:pt x="728" y="159"/>
                  <a:pt x="729" y="160"/>
                </a:cubicBezTo>
                <a:cubicBezTo>
                  <a:pt x="730" y="160"/>
                  <a:pt x="728" y="158"/>
                  <a:pt x="726" y="156"/>
                </a:cubicBezTo>
                <a:close/>
                <a:moveTo>
                  <a:pt x="723" y="152"/>
                </a:moveTo>
                <a:cubicBezTo>
                  <a:pt x="722" y="152"/>
                  <a:pt x="721" y="151"/>
                  <a:pt x="721" y="150"/>
                </a:cubicBezTo>
                <a:cubicBezTo>
                  <a:pt x="720" y="150"/>
                  <a:pt x="720" y="151"/>
                  <a:pt x="721" y="152"/>
                </a:cubicBezTo>
                <a:cubicBezTo>
                  <a:pt x="722" y="151"/>
                  <a:pt x="725" y="155"/>
                  <a:pt x="724" y="153"/>
                </a:cubicBezTo>
                <a:cubicBezTo>
                  <a:pt x="723" y="153"/>
                  <a:pt x="723" y="153"/>
                  <a:pt x="723" y="152"/>
                </a:cubicBezTo>
                <a:close/>
                <a:moveTo>
                  <a:pt x="726" y="146"/>
                </a:moveTo>
                <a:cubicBezTo>
                  <a:pt x="727" y="147"/>
                  <a:pt x="726" y="147"/>
                  <a:pt x="728" y="149"/>
                </a:cubicBezTo>
                <a:cubicBezTo>
                  <a:pt x="729" y="150"/>
                  <a:pt x="727" y="147"/>
                  <a:pt x="726" y="146"/>
                </a:cubicBezTo>
                <a:close/>
                <a:moveTo>
                  <a:pt x="717" y="154"/>
                </a:moveTo>
                <a:cubicBezTo>
                  <a:pt x="718" y="156"/>
                  <a:pt x="715" y="152"/>
                  <a:pt x="714" y="152"/>
                </a:cubicBezTo>
                <a:cubicBezTo>
                  <a:pt x="714" y="153"/>
                  <a:pt x="716" y="154"/>
                  <a:pt x="717" y="156"/>
                </a:cubicBezTo>
                <a:cubicBezTo>
                  <a:pt x="718" y="156"/>
                  <a:pt x="718" y="155"/>
                  <a:pt x="717" y="154"/>
                </a:cubicBezTo>
                <a:close/>
                <a:moveTo>
                  <a:pt x="723" y="138"/>
                </a:moveTo>
                <a:cubicBezTo>
                  <a:pt x="726" y="140"/>
                  <a:pt x="727" y="142"/>
                  <a:pt x="728" y="143"/>
                </a:cubicBezTo>
                <a:cubicBezTo>
                  <a:pt x="727" y="141"/>
                  <a:pt x="725" y="139"/>
                  <a:pt x="723" y="138"/>
                </a:cubicBezTo>
                <a:close/>
                <a:moveTo>
                  <a:pt x="723" y="139"/>
                </a:moveTo>
                <a:cubicBezTo>
                  <a:pt x="723" y="138"/>
                  <a:pt x="722" y="137"/>
                  <a:pt x="721" y="137"/>
                </a:cubicBezTo>
                <a:cubicBezTo>
                  <a:pt x="720" y="136"/>
                  <a:pt x="720" y="136"/>
                  <a:pt x="720" y="137"/>
                </a:cubicBezTo>
                <a:cubicBezTo>
                  <a:pt x="721" y="139"/>
                  <a:pt x="722" y="140"/>
                  <a:pt x="723" y="141"/>
                </a:cubicBezTo>
                <a:cubicBezTo>
                  <a:pt x="722" y="139"/>
                  <a:pt x="720" y="138"/>
                  <a:pt x="721" y="137"/>
                </a:cubicBezTo>
                <a:cubicBezTo>
                  <a:pt x="723" y="139"/>
                  <a:pt x="724" y="140"/>
                  <a:pt x="725" y="140"/>
                </a:cubicBezTo>
                <a:cubicBezTo>
                  <a:pt x="724" y="139"/>
                  <a:pt x="724" y="139"/>
                  <a:pt x="723" y="139"/>
                </a:cubicBezTo>
                <a:close/>
                <a:moveTo>
                  <a:pt x="722" y="140"/>
                </a:moveTo>
                <a:cubicBezTo>
                  <a:pt x="719" y="137"/>
                  <a:pt x="719" y="137"/>
                  <a:pt x="719" y="137"/>
                </a:cubicBezTo>
                <a:cubicBezTo>
                  <a:pt x="718" y="137"/>
                  <a:pt x="720" y="140"/>
                  <a:pt x="721" y="141"/>
                </a:cubicBezTo>
                <a:cubicBezTo>
                  <a:pt x="722" y="141"/>
                  <a:pt x="722" y="141"/>
                  <a:pt x="722" y="140"/>
                </a:cubicBezTo>
                <a:close/>
                <a:moveTo>
                  <a:pt x="721" y="134"/>
                </a:moveTo>
                <a:cubicBezTo>
                  <a:pt x="720" y="134"/>
                  <a:pt x="719" y="134"/>
                  <a:pt x="719" y="134"/>
                </a:cubicBezTo>
                <a:cubicBezTo>
                  <a:pt x="723" y="138"/>
                  <a:pt x="724" y="137"/>
                  <a:pt x="721" y="134"/>
                </a:cubicBezTo>
                <a:close/>
                <a:moveTo>
                  <a:pt x="714" y="136"/>
                </a:moveTo>
                <a:cubicBezTo>
                  <a:pt x="715" y="135"/>
                  <a:pt x="715" y="135"/>
                  <a:pt x="714" y="134"/>
                </a:cubicBezTo>
                <a:cubicBezTo>
                  <a:pt x="713" y="133"/>
                  <a:pt x="712" y="134"/>
                  <a:pt x="714" y="136"/>
                </a:cubicBezTo>
                <a:close/>
                <a:moveTo>
                  <a:pt x="697" y="113"/>
                </a:moveTo>
                <a:cubicBezTo>
                  <a:pt x="698" y="114"/>
                  <a:pt x="698" y="113"/>
                  <a:pt x="697" y="113"/>
                </a:cubicBezTo>
                <a:cubicBezTo>
                  <a:pt x="696" y="113"/>
                  <a:pt x="694" y="110"/>
                  <a:pt x="693" y="110"/>
                </a:cubicBezTo>
                <a:cubicBezTo>
                  <a:pt x="695" y="112"/>
                  <a:pt x="698" y="116"/>
                  <a:pt x="700" y="117"/>
                </a:cubicBezTo>
                <a:cubicBezTo>
                  <a:pt x="699" y="116"/>
                  <a:pt x="696" y="113"/>
                  <a:pt x="697" y="113"/>
                </a:cubicBezTo>
                <a:close/>
                <a:moveTo>
                  <a:pt x="662" y="153"/>
                </a:moveTo>
                <a:cubicBezTo>
                  <a:pt x="663" y="154"/>
                  <a:pt x="665" y="156"/>
                  <a:pt x="666" y="156"/>
                </a:cubicBezTo>
                <a:cubicBezTo>
                  <a:pt x="665" y="155"/>
                  <a:pt x="663" y="152"/>
                  <a:pt x="662" y="153"/>
                </a:cubicBezTo>
                <a:close/>
                <a:moveTo>
                  <a:pt x="685" y="103"/>
                </a:moveTo>
                <a:cubicBezTo>
                  <a:pt x="687" y="104"/>
                  <a:pt x="686" y="104"/>
                  <a:pt x="687" y="105"/>
                </a:cubicBezTo>
                <a:cubicBezTo>
                  <a:pt x="688" y="106"/>
                  <a:pt x="689" y="106"/>
                  <a:pt x="689" y="106"/>
                </a:cubicBezTo>
                <a:cubicBezTo>
                  <a:pt x="688" y="105"/>
                  <a:pt x="687" y="103"/>
                  <a:pt x="685" y="103"/>
                </a:cubicBezTo>
                <a:close/>
                <a:moveTo>
                  <a:pt x="599" y="49"/>
                </a:moveTo>
                <a:cubicBezTo>
                  <a:pt x="600" y="50"/>
                  <a:pt x="603" y="51"/>
                  <a:pt x="603" y="50"/>
                </a:cubicBezTo>
                <a:cubicBezTo>
                  <a:pt x="600" y="49"/>
                  <a:pt x="601" y="50"/>
                  <a:pt x="599" y="49"/>
                </a:cubicBezTo>
                <a:close/>
                <a:moveTo>
                  <a:pt x="579" y="43"/>
                </a:moveTo>
                <a:cubicBezTo>
                  <a:pt x="579" y="42"/>
                  <a:pt x="584" y="44"/>
                  <a:pt x="581" y="43"/>
                </a:cubicBezTo>
                <a:cubicBezTo>
                  <a:pt x="581" y="43"/>
                  <a:pt x="576" y="41"/>
                  <a:pt x="579" y="43"/>
                </a:cubicBezTo>
                <a:close/>
                <a:moveTo>
                  <a:pt x="568" y="37"/>
                </a:moveTo>
                <a:cubicBezTo>
                  <a:pt x="568" y="36"/>
                  <a:pt x="570" y="37"/>
                  <a:pt x="571" y="38"/>
                </a:cubicBezTo>
                <a:cubicBezTo>
                  <a:pt x="573" y="38"/>
                  <a:pt x="568" y="36"/>
                  <a:pt x="567" y="36"/>
                </a:cubicBezTo>
                <a:cubicBezTo>
                  <a:pt x="570" y="37"/>
                  <a:pt x="565" y="36"/>
                  <a:pt x="568" y="37"/>
                </a:cubicBezTo>
                <a:close/>
                <a:moveTo>
                  <a:pt x="562" y="33"/>
                </a:moveTo>
                <a:cubicBezTo>
                  <a:pt x="563" y="34"/>
                  <a:pt x="563" y="33"/>
                  <a:pt x="565" y="33"/>
                </a:cubicBezTo>
                <a:cubicBezTo>
                  <a:pt x="567" y="35"/>
                  <a:pt x="567" y="35"/>
                  <a:pt x="567" y="35"/>
                </a:cubicBezTo>
                <a:cubicBezTo>
                  <a:pt x="570" y="35"/>
                  <a:pt x="558" y="30"/>
                  <a:pt x="562" y="33"/>
                </a:cubicBezTo>
                <a:close/>
                <a:moveTo>
                  <a:pt x="533" y="22"/>
                </a:moveTo>
                <a:cubicBezTo>
                  <a:pt x="531" y="22"/>
                  <a:pt x="527" y="19"/>
                  <a:pt x="523" y="19"/>
                </a:cubicBezTo>
                <a:cubicBezTo>
                  <a:pt x="524" y="20"/>
                  <a:pt x="519" y="18"/>
                  <a:pt x="519" y="19"/>
                </a:cubicBezTo>
                <a:cubicBezTo>
                  <a:pt x="522" y="20"/>
                  <a:pt x="520" y="20"/>
                  <a:pt x="524" y="21"/>
                </a:cubicBezTo>
                <a:cubicBezTo>
                  <a:pt x="522" y="19"/>
                  <a:pt x="526" y="20"/>
                  <a:pt x="528" y="20"/>
                </a:cubicBezTo>
                <a:cubicBezTo>
                  <a:pt x="529" y="21"/>
                  <a:pt x="532" y="22"/>
                  <a:pt x="535" y="23"/>
                </a:cubicBezTo>
                <a:cubicBezTo>
                  <a:pt x="534" y="23"/>
                  <a:pt x="535" y="22"/>
                  <a:pt x="533" y="22"/>
                </a:cubicBezTo>
                <a:close/>
                <a:moveTo>
                  <a:pt x="513" y="21"/>
                </a:moveTo>
                <a:cubicBezTo>
                  <a:pt x="515" y="21"/>
                  <a:pt x="520" y="24"/>
                  <a:pt x="520" y="23"/>
                </a:cubicBezTo>
                <a:cubicBezTo>
                  <a:pt x="516" y="22"/>
                  <a:pt x="514" y="21"/>
                  <a:pt x="513" y="21"/>
                </a:cubicBezTo>
                <a:close/>
                <a:moveTo>
                  <a:pt x="499" y="13"/>
                </a:moveTo>
                <a:cubicBezTo>
                  <a:pt x="501" y="14"/>
                  <a:pt x="499" y="14"/>
                  <a:pt x="502" y="15"/>
                </a:cubicBezTo>
                <a:cubicBezTo>
                  <a:pt x="501" y="14"/>
                  <a:pt x="504" y="14"/>
                  <a:pt x="502" y="14"/>
                </a:cubicBezTo>
                <a:cubicBezTo>
                  <a:pt x="502" y="14"/>
                  <a:pt x="499" y="13"/>
                  <a:pt x="499" y="13"/>
                </a:cubicBezTo>
                <a:close/>
                <a:moveTo>
                  <a:pt x="497" y="13"/>
                </a:moveTo>
                <a:cubicBezTo>
                  <a:pt x="502" y="15"/>
                  <a:pt x="497" y="14"/>
                  <a:pt x="497" y="15"/>
                </a:cubicBezTo>
                <a:cubicBezTo>
                  <a:pt x="499" y="15"/>
                  <a:pt x="500" y="16"/>
                  <a:pt x="501" y="16"/>
                </a:cubicBezTo>
                <a:cubicBezTo>
                  <a:pt x="500" y="15"/>
                  <a:pt x="499" y="13"/>
                  <a:pt x="497" y="13"/>
                </a:cubicBezTo>
                <a:close/>
                <a:moveTo>
                  <a:pt x="494" y="15"/>
                </a:moveTo>
                <a:cubicBezTo>
                  <a:pt x="494" y="14"/>
                  <a:pt x="496" y="15"/>
                  <a:pt x="496" y="14"/>
                </a:cubicBezTo>
                <a:cubicBezTo>
                  <a:pt x="492" y="13"/>
                  <a:pt x="493" y="14"/>
                  <a:pt x="494" y="15"/>
                </a:cubicBezTo>
                <a:close/>
                <a:moveTo>
                  <a:pt x="441" y="7"/>
                </a:moveTo>
                <a:cubicBezTo>
                  <a:pt x="441" y="7"/>
                  <a:pt x="443" y="7"/>
                  <a:pt x="445" y="7"/>
                </a:cubicBezTo>
                <a:cubicBezTo>
                  <a:pt x="444" y="7"/>
                  <a:pt x="445" y="7"/>
                  <a:pt x="444" y="7"/>
                </a:cubicBezTo>
                <a:cubicBezTo>
                  <a:pt x="444" y="7"/>
                  <a:pt x="439" y="7"/>
                  <a:pt x="441" y="7"/>
                </a:cubicBezTo>
                <a:close/>
                <a:moveTo>
                  <a:pt x="436" y="6"/>
                </a:moveTo>
                <a:cubicBezTo>
                  <a:pt x="433" y="6"/>
                  <a:pt x="434" y="5"/>
                  <a:pt x="431" y="6"/>
                </a:cubicBezTo>
                <a:cubicBezTo>
                  <a:pt x="431" y="6"/>
                  <a:pt x="433" y="6"/>
                  <a:pt x="432" y="7"/>
                </a:cubicBezTo>
                <a:cubicBezTo>
                  <a:pt x="434" y="7"/>
                  <a:pt x="436" y="8"/>
                  <a:pt x="437" y="7"/>
                </a:cubicBezTo>
                <a:cubicBezTo>
                  <a:pt x="432" y="7"/>
                  <a:pt x="433" y="6"/>
                  <a:pt x="436" y="6"/>
                </a:cubicBezTo>
                <a:close/>
                <a:moveTo>
                  <a:pt x="424" y="8"/>
                </a:moveTo>
                <a:cubicBezTo>
                  <a:pt x="420" y="7"/>
                  <a:pt x="426" y="6"/>
                  <a:pt x="421" y="7"/>
                </a:cubicBezTo>
                <a:cubicBezTo>
                  <a:pt x="423" y="7"/>
                  <a:pt x="420" y="8"/>
                  <a:pt x="424" y="8"/>
                </a:cubicBezTo>
                <a:close/>
                <a:moveTo>
                  <a:pt x="415" y="4"/>
                </a:moveTo>
                <a:cubicBezTo>
                  <a:pt x="415" y="4"/>
                  <a:pt x="414" y="4"/>
                  <a:pt x="413" y="4"/>
                </a:cubicBezTo>
                <a:cubicBezTo>
                  <a:pt x="415" y="4"/>
                  <a:pt x="417" y="5"/>
                  <a:pt x="420" y="5"/>
                </a:cubicBezTo>
                <a:cubicBezTo>
                  <a:pt x="420" y="4"/>
                  <a:pt x="417" y="4"/>
                  <a:pt x="415" y="4"/>
                </a:cubicBezTo>
                <a:close/>
                <a:moveTo>
                  <a:pt x="417" y="5"/>
                </a:moveTo>
                <a:cubicBezTo>
                  <a:pt x="417" y="6"/>
                  <a:pt x="414" y="6"/>
                  <a:pt x="412" y="5"/>
                </a:cubicBezTo>
                <a:cubicBezTo>
                  <a:pt x="412" y="6"/>
                  <a:pt x="415" y="6"/>
                  <a:pt x="416" y="7"/>
                </a:cubicBezTo>
                <a:cubicBezTo>
                  <a:pt x="416" y="7"/>
                  <a:pt x="417" y="7"/>
                  <a:pt x="418" y="7"/>
                </a:cubicBezTo>
                <a:cubicBezTo>
                  <a:pt x="413" y="6"/>
                  <a:pt x="418" y="6"/>
                  <a:pt x="419" y="6"/>
                </a:cubicBezTo>
                <a:cubicBezTo>
                  <a:pt x="419" y="6"/>
                  <a:pt x="419" y="5"/>
                  <a:pt x="417" y="5"/>
                </a:cubicBezTo>
                <a:close/>
                <a:moveTo>
                  <a:pt x="412" y="4"/>
                </a:moveTo>
                <a:cubicBezTo>
                  <a:pt x="409" y="4"/>
                  <a:pt x="409" y="5"/>
                  <a:pt x="410" y="5"/>
                </a:cubicBezTo>
                <a:cubicBezTo>
                  <a:pt x="409" y="4"/>
                  <a:pt x="414" y="5"/>
                  <a:pt x="413" y="5"/>
                </a:cubicBezTo>
                <a:cubicBezTo>
                  <a:pt x="410" y="4"/>
                  <a:pt x="413" y="4"/>
                  <a:pt x="412" y="4"/>
                </a:cubicBezTo>
                <a:close/>
                <a:moveTo>
                  <a:pt x="409" y="5"/>
                </a:moveTo>
                <a:cubicBezTo>
                  <a:pt x="405" y="5"/>
                  <a:pt x="405" y="5"/>
                  <a:pt x="405" y="5"/>
                </a:cubicBezTo>
                <a:cubicBezTo>
                  <a:pt x="404" y="6"/>
                  <a:pt x="408" y="6"/>
                  <a:pt x="407" y="7"/>
                </a:cubicBezTo>
                <a:cubicBezTo>
                  <a:pt x="409" y="7"/>
                  <a:pt x="409" y="7"/>
                  <a:pt x="412" y="8"/>
                </a:cubicBezTo>
                <a:cubicBezTo>
                  <a:pt x="411" y="7"/>
                  <a:pt x="404" y="6"/>
                  <a:pt x="409" y="5"/>
                </a:cubicBezTo>
                <a:close/>
                <a:moveTo>
                  <a:pt x="391" y="7"/>
                </a:moveTo>
                <a:cubicBezTo>
                  <a:pt x="393" y="7"/>
                  <a:pt x="395" y="7"/>
                  <a:pt x="397" y="7"/>
                </a:cubicBezTo>
                <a:cubicBezTo>
                  <a:pt x="397" y="7"/>
                  <a:pt x="397" y="7"/>
                  <a:pt x="397" y="7"/>
                </a:cubicBezTo>
                <a:cubicBezTo>
                  <a:pt x="395" y="7"/>
                  <a:pt x="393" y="7"/>
                  <a:pt x="391" y="7"/>
                </a:cubicBezTo>
                <a:close/>
                <a:moveTo>
                  <a:pt x="376" y="46"/>
                </a:moveTo>
                <a:cubicBezTo>
                  <a:pt x="376" y="47"/>
                  <a:pt x="379" y="47"/>
                  <a:pt x="380" y="47"/>
                </a:cubicBezTo>
                <a:cubicBezTo>
                  <a:pt x="378" y="47"/>
                  <a:pt x="378" y="46"/>
                  <a:pt x="376" y="46"/>
                </a:cubicBezTo>
                <a:close/>
                <a:moveTo>
                  <a:pt x="354" y="47"/>
                </a:moveTo>
                <a:cubicBezTo>
                  <a:pt x="353" y="48"/>
                  <a:pt x="359" y="47"/>
                  <a:pt x="359" y="47"/>
                </a:cubicBezTo>
                <a:cubicBezTo>
                  <a:pt x="357" y="47"/>
                  <a:pt x="357" y="46"/>
                  <a:pt x="354" y="47"/>
                </a:cubicBezTo>
                <a:close/>
                <a:moveTo>
                  <a:pt x="323" y="15"/>
                </a:moveTo>
                <a:cubicBezTo>
                  <a:pt x="323" y="16"/>
                  <a:pt x="322" y="16"/>
                  <a:pt x="324" y="16"/>
                </a:cubicBezTo>
                <a:cubicBezTo>
                  <a:pt x="326" y="16"/>
                  <a:pt x="326" y="15"/>
                  <a:pt x="323" y="15"/>
                </a:cubicBezTo>
                <a:close/>
                <a:moveTo>
                  <a:pt x="325" y="47"/>
                </a:moveTo>
                <a:cubicBezTo>
                  <a:pt x="324" y="48"/>
                  <a:pt x="328" y="47"/>
                  <a:pt x="329" y="46"/>
                </a:cubicBezTo>
                <a:cubicBezTo>
                  <a:pt x="327" y="47"/>
                  <a:pt x="327" y="46"/>
                  <a:pt x="325" y="47"/>
                </a:cubicBezTo>
                <a:close/>
                <a:moveTo>
                  <a:pt x="321" y="51"/>
                </a:moveTo>
                <a:cubicBezTo>
                  <a:pt x="324" y="50"/>
                  <a:pt x="323" y="50"/>
                  <a:pt x="321" y="51"/>
                </a:cubicBezTo>
                <a:cubicBezTo>
                  <a:pt x="323" y="51"/>
                  <a:pt x="325" y="50"/>
                  <a:pt x="327" y="50"/>
                </a:cubicBezTo>
                <a:cubicBezTo>
                  <a:pt x="328" y="50"/>
                  <a:pt x="328" y="49"/>
                  <a:pt x="328" y="49"/>
                </a:cubicBezTo>
                <a:cubicBezTo>
                  <a:pt x="325" y="50"/>
                  <a:pt x="321" y="49"/>
                  <a:pt x="321" y="51"/>
                </a:cubicBezTo>
                <a:close/>
                <a:moveTo>
                  <a:pt x="316" y="18"/>
                </a:moveTo>
                <a:cubicBezTo>
                  <a:pt x="319" y="17"/>
                  <a:pt x="317" y="18"/>
                  <a:pt x="320" y="18"/>
                </a:cubicBezTo>
                <a:cubicBezTo>
                  <a:pt x="319" y="17"/>
                  <a:pt x="321" y="17"/>
                  <a:pt x="321" y="16"/>
                </a:cubicBezTo>
                <a:cubicBezTo>
                  <a:pt x="318" y="17"/>
                  <a:pt x="319" y="17"/>
                  <a:pt x="317" y="17"/>
                </a:cubicBezTo>
                <a:cubicBezTo>
                  <a:pt x="317" y="17"/>
                  <a:pt x="317" y="17"/>
                  <a:pt x="316" y="18"/>
                </a:cubicBezTo>
                <a:close/>
                <a:moveTo>
                  <a:pt x="311" y="35"/>
                </a:moveTo>
                <a:cubicBezTo>
                  <a:pt x="312" y="34"/>
                  <a:pt x="316" y="34"/>
                  <a:pt x="315" y="34"/>
                </a:cubicBezTo>
                <a:cubicBezTo>
                  <a:pt x="314" y="34"/>
                  <a:pt x="308" y="35"/>
                  <a:pt x="311" y="35"/>
                </a:cubicBezTo>
                <a:close/>
                <a:moveTo>
                  <a:pt x="314" y="49"/>
                </a:moveTo>
                <a:cubicBezTo>
                  <a:pt x="314" y="50"/>
                  <a:pt x="318" y="49"/>
                  <a:pt x="318" y="49"/>
                </a:cubicBezTo>
                <a:lnTo>
                  <a:pt x="314" y="49"/>
                </a:lnTo>
                <a:close/>
                <a:moveTo>
                  <a:pt x="308" y="47"/>
                </a:moveTo>
                <a:cubicBezTo>
                  <a:pt x="308" y="48"/>
                  <a:pt x="314" y="46"/>
                  <a:pt x="315" y="46"/>
                </a:cubicBezTo>
                <a:cubicBezTo>
                  <a:pt x="315" y="46"/>
                  <a:pt x="315" y="45"/>
                  <a:pt x="316" y="45"/>
                </a:cubicBezTo>
                <a:cubicBezTo>
                  <a:pt x="313" y="46"/>
                  <a:pt x="309" y="47"/>
                  <a:pt x="308" y="47"/>
                </a:cubicBezTo>
                <a:close/>
                <a:moveTo>
                  <a:pt x="302" y="21"/>
                </a:moveTo>
                <a:cubicBezTo>
                  <a:pt x="305" y="21"/>
                  <a:pt x="305" y="20"/>
                  <a:pt x="306" y="20"/>
                </a:cubicBezTo>
                <a:cubicBezTo>
                  <a:pt x="306" y="19"/>
                  <a:pt x="307" y="19"/>
                  <a:pt x="307" y="19"/>
                </a:cubicBezTo>
                <a:cubicBezTo>
                  <a:pt x="304" y="20"/>
                  <a:pt x="303" y="20"/>
                  <a:pt x="302" y="21"/>
                </a:cubicBezTo>
                <a:close/>
                <a:moveTo>
                  <a:pt x="314" y="52"/>
                </a:moveTo>
                <a:cubicBezTo>
                  <a:pt x="313" y="52"/>
                  <a:pt x="311" y="53"/>
                  <a:pt x="311" y="53"/>
                </a:cubicBezTo>
                <a:cubicBezTo>
                  <a:pt x="314" y="52"/>
                  <a:pt x="313" y="53"/>
                  <a:pt x="315" y="52"/>
                </a:cubicBezTo>
                <a:cubicBezTo>
                  <a:pt x="315" y="52"/>
                  <a:pt x="315" y="52"/>
                  <a:pt x="314" y="52"/>
                </a:cubicBezTo>
                <a:close/>
                <a:moveTo>
                  <a:pt x="309" y="42"/>
                </a:moveTo>
                <a:cubicBezTo>
                  <a:pt x="307" y="43"/>
                  <a:pt x="305" y="43"/>
                  <a:pt x="304" y="44"/>
                </a:cubicBezTo>
                <a:cubicBezTo>
                  <a:pt x="306" y="44"/>
                  <a:pt x="309" y="43"/>
                  <a:pt x="310" y="42"/>
                </a:cubicBezTo>
                <a:cubicBezTo>
                  <a:pt x="310" y="42"/>
                  <a:pt x="310" y="41"/>
                  <a:pt x="309" y="41"/>
                </a:cubicBezTo>
                <a:lnTo>
                  <a:pt x="309" y="42"/>
                </a:lnTo>
                <a:close/>
                <a:moveTo>
                  <a:pt x="306" y="49"/>
                </a:moveTo>
                <a:cubicBezTo>
                  <a:pt x="308" y="49"/>
                  <a:pt x="309" y="49"/>
                  <a:pt x="310" y="49"/>
                </a:cubicBezTo>
                <a:cubicBezTo>
                  <a:pt x="310" y="48"/>
                  <a:pt x="310" y="48"/>
                  <a:pt x="311" y="48"/>
                </a:cubicBezTo>
                <a:cubicBezTo>
                  <a:pt x="311" y="48"/>
                  <a:pt x="311" y="48"/>
                  <a:pt x="311" y="48"/>
                </a:cubicBezTo>
                <a:cubicBezTo>
                  <a:pt x="308" y="49"/>
                  <a:pt x="307" y="48"/>
                  <a:pt x="306" y="49"/>
                </a:cubicBezTo>
                <a:close/>
                <a:moveTo>
                  <a:pt x="306" y="51"/>
                </a:moveTo>
                <a:cubicBezTo>
                  <a:pt x="307" y="51"/>
                  <a:pt x="308" y="50"/>
                  <a:pt x="309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07" y="50"/>
                  <a:pt x="304" y="51"/>
                  <a:pt x="306" y="51"/>
                </a:cubicBezTo>
                <a:close/>
                <a:moveTo>
                  <a:pt x="307" y="53"/>
                </a:moveTo>
                <a:cubicBezTo>
                  <a:pt x="309" y="53"/>
                  <a:pt x="306" y="54"/>
                  <a:pt x="306" y="54"/>
                </a:cubicBezTo>
                <a:cubicBezTo>
                  <a:pt x="309" y="54"/>
                  <a:pt x="310" y="53"/>
                  <a:pt x="311" y="52"/>
                </a:cubicBezTo>
                <a:cubicBezTo>
                  <a:pt x="310" y="52"/>
                  <a:pt x="308" y="53"/>
                  <a:pt x="307" y="53"/>
                </a:cubicBezTo>
                <a:close/>
                <a:moveTo>
                  <a:pt x="308" y="54"/>
                </a:moveTo>
                <a:cubicBezTo>
                  <a:pt x="305" y="55"/>
                  <a:pt x="306" y="55"/>
                  <a:pt x="305" y="56"/>
                </a:cubicBezTo>
                <a:cubicBezTo>
                  <a:pt x="308" y="55"/>
                  <a:pt x="309" y="56"/>
                  <a:pt x="310" y="55"/>
                </a:cubicBezTo>
                <a:cubicBezTo>
                  <a:pt x="308" y="55"/>
                  <a:pt x="308" y="55"/>
                  <a:pt x="308" y="54"/>
                </a:cubicBezTo>
                <a:close/>
                <a:moveTo>
                  <a:pt x="302" y="38"/>
                </a:moveTo>
                <a:cubicBezTo>
                  <a:pt x="300" y="39"/>
                  <a:pt x="300" y="39"/>
                  <a:pt x="300" y="40"/>
                </a:cubicBezTo>
                <a:cubicBezTo>
                  <a:pt x="303" y="39"/>
                  <a:pt x="303" y="39"/>
                  <a:pt x="302" y="38"/>
                </a:cubicBezTo>
                <a:close/>
                <a:moveTo>
                  <a:pt x="301" y="46"/>
                </a:moveTo>
                <a:cubicBezTo>
                  <a:pt x="300" y="47"/>
                  <a:pt x="300" y="47"/>
                  <a:pt x="299" y="47"/>
                </a:cubicBezTo>
                <a:cubicBezTo>
                  <a:pt x="299" y="47"/>
                  <a:pt x="297" y="48"/>
                  <a:pt x="299" y="48"/>
                </a:cubicBezTo>
                <a:cubicBezTo>
                  <a:pt x="300" y="47"/>
                  <a:pt x="305" y="45"/>
                  <a:pt x="302" y="46"/>
                </a:cubicBezTo>
                <a:cubicBezTo>
                  <a:pt x="302" y="46"/>
                  <a:pt x="301" y="46"/>
                  <a:pt x="301" y="46"/>
                </a:cubicBezTo>
                <a:close/>
                <a:moveTo>
                  <a:pt x="300" y="51"/>
                </a:moveTo>
                <a:cubicBezTo>
                  <a:pt x="300" y="51"/>
                  <a:pt x="303" y="50"/>
                  <a:pt x="303" y="50"/>
                </a:cubicBezTo>
                <a:cubicBezTo>
                  <a:pt x="301" y="50"/>
                  <a:pt x="297" y="52"/>
                  <a:pt x="300" y="51"/>
                </a:cubicBezTo>
                <a:close/>
                <a:moveTo>
                  <a:pt x="296" y="41"/>
                </a:moveTo>
                <a:cubicBezTo>
                  <a:pt x="296" y="40"/>
                  <a:pt x="297" y="40"/>
                  <a:pt x="297" y="40"/>
                </a:cubicBezTo>
                <a:cubicBezTo>
                  <a:pt x="294" y="40"/>
                  <a:pt x="293" y="42"/>
                  <a:pt x="296" y="41"/>
                </a:cubicBezTo>
                <a:close/>
                <a:moveTo>
                  <a:pt x="295" y="49"/>
                </a:moveTo>
                <a:cubicBezTo>
                  <a:pt x="293" y="50"/>
                  <a:pt x="294" y="51"/>
                  <a:pt x="297" y="51"/>
                </a:cubicBezTo>
                <a:cubicBezTo>
                  <a:pt x="298" y="50"/>
                  <a:pt x="294" y="50"/>
                  <a:pt x="297" y="49"/>
                </a:cubicBezTo>
                <a:cubicBezTo>
                  <a:pt x="296" y="49"/>
                  <a:pt x="296" y="49"/>
                  <a:pt x="295" y="49"/>
                </a:cubicBezTo>
                <a:close/>
                <a:moveTo>
                  <a:pt x="296" y="54"/>
                </a:moveTo>
                <a:cubicBezTo>
                  <a:pt x="296" y="55"/>
                  <a:pt x="294" y="55"/>
                  <a:pt x="294" y="55"/>
                </a:cubicBezTo>
                <a:cubicBezTo>
                  <a:pt x="294" y="56"/>
                  <a:pt x="294" y="56"/>
                  <a:pt x="295" y="57"/>
                </a:cubicBezTo>
                <a:cubicBezTo>
                  <a:pt x="293" y="57"/>
                  <a:pt x="293" y="57"/>
                  <a:pt x="293" y="57"/>
                </a:cubicBezTo>
                <a:cubicBezTo>
                  <a:pt x="293" y="58"/>
                  <a:pt x="293" y="58"/>
                  <a:pt x="292" y="58"/>
                </a:cubicBezTo>
                <a:cubicBezTo>
                  <a:pt x="294" y="58"/>
                  <a:pt x="294" y="58"/>
                  <a:pt x="295" y="58"/>
                </a:cubicBezTo>
                <a:cubicBezTo>
                  <a:pt x="293" y="58"/>
                  <a:pt x="293" y="57"/>
                  <a:pt x="297" y="57"/>
                </a:cubicBezTo>
                <a:cubicBezTo>
                  <a:pt x="297" y="56"/>
                  <a:pt x="295" y="56"/>
                  <a:pt x="295" y="56"/>
                </a:cubicBezTo>
                <a:cubicBezTo>
                  <a:pt x="295" y="55"/>
                  <a:pt x="299" y="54"/>
                  <a:pt x="298" y="54"/>
                </a:cubicBezTo>
                <a:cubicBezTo>
                  <a:pt x="297" y="55"/>
                  <a:pt x="297" y="54"/>
                  <a:pt x="296" y="54"/>
                </a:cubicBezTo>
                <a:close/>
                <a:moveTo>
                  <a:pt x="286" y="51"/>
                </a:moveTo>
                <a:cubicBezTo>
                  <a:pt x="286" y="52"/>
                  <a:pt x="282" y="52"/>
                  <a:pt x="282" y="53"/>
                </a:cubicBezTo>
                <a:cubicBezTo>
                  <a:pt x="285" y="52"/>
                  <a:pt x="292" y="51"/>
                  <a:pt x="293" y="49"/>
                </a:cubicBezTo>
                <a:cubicBezTo>
                  <a:pt x="289" y="50"/>
                  <a:pt x="289" y="51"/>
                  <a:pt x="286" y="51"/>
                </a:cubicBezTo>
                <a:close/>
                <a:moveTo>
                  <a:pt x="287" y="58"/>
                </a:moveTo>
                <a:cubicBezTo>
                  <a:pt x="291" y="56"/>
                  <a:pt x="292" y="55"/>
                  <a:pt x="293" y="54"/>
                </a:cubicBezTo>
                <a:cubicBezTo>
                  <a:pt x="288" y="56"/>
                  <a:pt x="290" y="56"/>
                  <a:pt x="287" y="58"/>
                </a:cubicBezTo>
                <a:close/>
                <a:moveTo>
                  <a:pt x="286" y="51"/>
                </a:moveTo>
                <a:cubicBezTo>
                  <a:pt x="288" y="50"/>
                  <a:pt x="291" y="49"/>
                  <a:pt x="291" y="48"/>
                </a:cubicBezTo>
                <a:cubicBezTo>
                  <a:pt x="289" y="49"/>
                  <a:pt x="285" y="51"/>
                  <a:pt x="286" y="51"/>
                </a:cubicBezTo>
                <a:close/>
                <a:moveTo>
                  <a:pt x="288" y="60"/>
                </a:moveTo>
                <a:cubicBezTo>
                  <a:pt x="289" y="60"/>
                  <a:pt x="294" y="59"/>
                  <a:pt x="294" y="59"/>
                </a:cubicBezTo>
                <a:cubicBezTo>
                  <a:pt x="293" y="59"/>
                  <a:pt x="289" y="59"/>
                  <a:pt x="288" y="60"/>
                </a:cubicBezTo>
                <a:close/>
                <a:moveTo>
                  <a:pt x="283" y="27"/>
                </a:moveTo>
                <a:cubicBezTo>
                  <a:pt x="276" y="29"/>
                  <a:pt x="276" y="29"/>
                  <a:pt x="276" y="29"/>
                </a:cubicBezTo>
                <a:cubicBezTo>
                  <a:pt x="277" y="30"/>
                  <a:pt x="274" y="30"/>
                  <a:pt x="274" y="31"/>
                </a:cubicBezTo>
                <a:cubicBezTo>
                  <a:pt x="278" y="29"/>
                  <a:pt x="276" y="29"/>
                  <a:pt x="281" y="28"/>
                </a:cubicBezTo>
                <a:cubicBezTo>
                  <a:pt x="281" y="28"/>
                  <a:pt x="279" y="29"/>
                  <a:pt x="280" y="29"/>
                </a:cubicBezTo>
                <a:cubicBezTo>
                  <a:pt x="282" y="28"/>
                  <a:pt x="282" y="29"/>
                  <a:pt x="284" y="28"/>
                </a:cubicBezTo>
                <a:cubicBezTo>
                  <a:pt x="285" y="27"/>
                  <a:pt x="281" y="28"/>
                  <a:pt x="283" y="27"/>
                </a:cubicBezTo>
                <a:close/>
                <a:moveTo>
                  <a:pt x="291" y="52"/>
                </a:moveTo>
                <a:cubicBezTo>
                  <a:pt x="291" y="51"/>
                  <a:pt x="289" y="52"/>
                  <a:pt x="291" y="51"/>
                </a:cubicBezTo>
                <a:cubicBezTo>
                  <a:pt x="285" y="53"/>
                  <a:pt x="289" y="53"/>
                  <a:pt x="291" y="52"/>
                </a:cubicBezTo>
                <a:close/>
                <a:moveTo>
                  <a:pt x="282" y="46"/>
                </a:moveTo>
                <a:cubicBezTo>
                  <a:pt x="282" y="46"/>
                  <a:pt x="281" y="46"/>
                  <a:pt x="281" y="47"/>
                </a:cubicBezTo>
                <a:cubicBezTo>
                  <a:pt x="283" y="46"/>
                  <a:pt x="285" y="46"/>
                  <a:pt x="286" y="45"/>
                </a:cubicBezTo>
                <a:cubicBezTo>
                  <a:pt x="284" y="45"/>
                  <a:pt x="284" y="45"/>
                  <a:pt x="282" y="46"/>
                </a:cubicBezTo>
                <a:close/>
                <a:moveTo>
                  <a:pt x="275" y="46"/>
                </a:moveTo>
                <a:cubicBezTo>
                  <a:pt x="277" y="46"/>
                  <a:pt x="280" y="44"/>
                  <a:pt x="281" y="44"/>
                </a:cubicBezTo>
                <a:cubicBezTo>
                  <a:pt x="282" y="44"/>
                  <a:pt x="286" y="42"/>
                  <a:pt x="284" y="42"/>
                </a:cubicBezTo>
                <a:cubicBezTo>
                  <a:pt x="283" y="43"/>
                  <a:pt x="276" y="45"/>
                  <a:pt x="275" y="46"/>
                </a:cubicBezTo>
                <a:close/>
                <a:moveTo>
                  <a:pt x="284" y="57"/>
                </a:moveTo>
                <a:cubicBezTo>
                  <a:pt x="285" y="56"/>
                  <a:pt x="283" y="55"/>
                  <a:pt x="287" y="54"/>
                </a:cubicBezTo>
                <a:cubicBezTo>
                  <a:pt x="288" y="53"/>
                  <a:pt x="286" y="54"/>
                  <a:pt x="285" y="54"/>
                </a:cubicBezTo>
                <a:cubicBezTo>
                  <a:pt x="284" y="55"/>
                  <a:pt x="285" y="55"/>
                  <a:pt x="283" y="56"/>
                </a:cubicBezTo>
                <a:cubicBezTo>
                  <a:pt x="282" y="56"/>
                  <a:pt x="285" y="56"/>
                  <a:pt x="281" y="57"/>
                </a:cubicBezTo>
                <a:cubicBezTo>
                  <a:pt x="281" y="58"/>
                  <a:pt x="283" y="57"/>
                  <a:pt x="284" y="57"/>
                </a:cubicBezTo>
                <a:cubicBezTo>
                  <a:pt x="283" y="57"/>
                  <a:pt x="283" y="57"/>
                  <a:pt x="284" y="57"/>
                </a:cubicBezTo>
                <a:close/>
                <a:moveTo>
                  <a:pt x="279" y="43"/>
                </a:moveTo>
                <a:cubicBezTo>
                  <a:pt x="279" y="43"/>
                  <a:pt x="279" y="43"/>
                  <a:pt x="280" y="43"/>
                </a:cubicBezTo>
                <a:cubicBezTo>
                  <a:pt x="280" y="43"/>
                  <a:pt x="283" y="42"/>
                  <a:pt x="283" y="42"/>
                </a:cubicBezTo>
                <a:cubicBezTo>
                  <a:pt x="281" y="42"/>
                  <a:pt x="281" y="42"/>
                  <a:pt x="279" y="43"/>
                </a:cubicBezTo>
                <a:close/>
                <a:moveTo>
                  <a:pt x="273" y="49"/>
                </a:moveTo>
                <a:cubicBezTo>
                  <a:pt x="277" y="47"/>
                  <a:pt x="276" y="49"/>
                  <a:pt x="277" y="48"/>
                </a:cubicBezTo>
                <a:cubicBezTo>
                  <a:pt x="278" y="48"/>
                  <a:pt x="278" y="48"/>
                  <a:pt x="278" y="47"/>
                </a:cubicBezTo>
                <a:cubicBezTo>
                  <a:pt x="276" y="48"/>
                  <a:pt x="274" y="48"/>
                  <a:pt x="273" y="49"/>
                </a:cubicBezTo>
                <a:close/>
                <a:moveTo>
                  <a:pt x="274" y="62"/>
                </a:moveTo>
                <a:cubicBezTo>
                  <a:pt x="273" y="62"/>
                  <a:pt x="272" y="63"/>
                  <a:pt x="272" y="63"/>
                </a:cubicBezTo>
                <a:cubicBezTo>
                  <a:pt x="273" y="62"/>
                  <a:pt x="274" y="63"/>
                  <a:pt x="275" y="62"/>
                </a:cubicBezTo>
                <a:cubicBezTo>
                  <a:pt x="274" y="62"/>
                  <a:pt x="281" y="60"/>
                  <a:pt x="282" y="59"/>
                </a:cubicBezTo>
                <a:cubicBezTo>
                  <a:pt x="281" y="60"/>
                  <a:pt x="280" y="60"/>
                  <a:pt x="280" y="60"/>
                </a:cubicBezTo>
                <a:cubicBezTo>
                  <a:pt x="279" y="60"/>
                  <a:pt x="280" y="59"/>
                  <a:pt x="278" y="59"/>
                </a:cubicBezTo>
                <a:cubicBezTo>
                  <a:pt x="279" y="60"/>
                  <a:pt x="277" y="60"/>
                  <a:pt x="275" y="61"/>
                </a:cubicBezTo>
                <a:cubicBezTo>
                  <a:pt x="276" y="61"/>
                  <a:pt x="275" y="61"/>
                  <a:pt x="274" y="62"/>
                </a:cubicBezTo>
                <a:close/>
                <a:moveTo>
                  <a:pt x="270" y="48"/>
                </a:moveTo>
                <a:cubicBezTo>
                  <a:pt x="270" y="49"/>
                  <a:pt x="273" y="48"/>
                  <a:pt x="276" y="47"/>
                </a:cubicBezTo>
                <a:cubicBezTo>
                  <a:pt x="273" y="47"/>
                  <a:pt x="273" y="46"/>
                  <a:pt x="271" y="47"/>
                </a:cubicBezTo>
                <a:cubicBezTo>
                  <a:pt x="272" y="47"/>
                  <a:pt x="274" y="47"/>
                  <a:pt x="270" y="48"/>
                </a:cubicBezTo>
                <a:close/>
                <a:moveTo>
                  <a:pt x="276" y="60"/>
                </a:moveTo>
                <a:cubicBezTo>
                  <a:pt x="276" y="60"/>
                  <a:pt x="277" y="59"/>
                  <a:pt x="276" y="59"/>
                </a:cubicBezTo>
                <a:cubicBezTo>
                  <a:pt x="270" y="61"/>
                  <a:pt x="269" y="62"/>
                  <a:pt x="276" y="60"/>
                </a:cubicBezTo>
                <a:close/>
                <a:moveTo>
                  <a:pt x="264" y="34"/>
                </a:moveTo>
                <a:cubicBezTo>
                  <a:pt x="262" y="34"/>
                  <a:pt x="261" y="35"/>
                  <a:pt x="261" y="35"/>
                </a:cubicBezTo>
                <a:cubicBezTo>
                  <a:pt x="263" y="35"/>
                  <a:pt x="265" y="34"/>
                  <a:pt x="265" y="34"/>
                </a:cubicBezTo>
                <a:cubicBezTo>
                  <a:pt x="264" y="34"/>
                  <a:pt x="264" y="34"/>
                  <a:pt x="264" y="34"/>
                </a:cubicBezTo>
                <a:close/>
                <a:moveTo>
                  <a:pt x="248" y="40"/>
                </a:moveTo>
                <a:cubicBezTo>
                  <a:pt x="250" y="40"/>
                  <a:pt x="247" y="41"/>
                  <a:pt x="248" y="41"/>
                </a:cubicBezTo>
                <a:cubicBezTo>
                  <a:pt x="251" y="40"/>
                  <a:pt x="250" y="40"/>
                  <a:pt x="252" y="39"/>
                </a:cubicBezTo>
                <a:cubicBezTo>
                  <a:pt x="252" y="39"/>
                  <a:pt x="252" y="40"/>
                  <a:pt x="253" y="39"/>
                </a:cubicBezTo>
                <a:cubicBezTo>
                  <a:pt x="254" y="39"/>
                  <a:pt x="253" y="39"/>
                  <a:pt x="254" y="38"/>
                </a:cubicBezTo>
                <a:cubicBezTo>
                  <a:pt x="257" y="37"/>
                  <a:pt x="256" y="38"/>
                  <a:pt x="259" y="36"/>
                </a:cubicBezTo>
                <a:cubicBezTo>
                  <a:pt x="260" y="36"/>
                  <a:pt x="260" y="36"/>
                  <a:pt x="260" y="35"/>
                </a:cubicBezTo>
                <a:cubicBezTo>
                  <a:pt x="258" y="36"/>
                  <a:pt x="258" y="36"/>
                  <a:pt x="256" y="36"/>
                </a:cubicBezTo>
                <a:cubicBezTo>
                  <a:pt x="258" y="36"/>
                  <a:pt x="253" y="38"/>
                  <a:pt x="254" y="37"/>
                </a:cubicBezTo>
                <a:cubicBezTo>
                  <a:pt x="251" y="38"/>
                  <a:pt x="252" y="39"/>
                  <a:pt x="250" y="40"/>
                </a:cubicBezTo>
                <a:cubicBezTo>
                  <a:pt x="250" y="39"/>
                  <a:pt x="251" y="39"/>
                  <a:pt x="250" y="39"/>
                </a:cubicBezTo>
                <a:cubicBezTo>
                  <a:pt x="245" y="41"/>
                  <a:pt x="242" y="42"/>
                  <a:pt x="238" y="44"/>
                </a:cubicBezTo>
                <a:cubicBezTo>
                  <a:pt x="237" y="45"/>
                  <a:pt x="241" y="44"/>
                  <a:pt x="239" y="45"/>
                </a:cubicBezTo>
                <a:cubicBezTo>
                  <a:pt x="235" y="46"/>
                  <a:pt x="238" y="43"/>
                  <a:pt x="235" y="45"/>
                </a:cubicBezTo>
                <a:cubicBezTo>
                  <a:pt x="236" y="45"/>
                  <a:pt x="236" y="46"/>
                  <a:pt x="238" y="45"/>
                </a:cubicBezTo>
                <a:cubicBezTo>
                  <a:pt x="239" y="44"/>
                  <a:pt x="241" y="44"/>
                  <a:pt x="242" y="44"/>
                </a:cubicBezTo>
                <a:cubicBezTo>
                  <a:pt x="243" y="43"/>
                  <a:pt x="241" y="44"/>
                  <a:pt x="242" y="43"/>
                </a:cubicBezTo>
                <a:cubicBezTo>
                  <a:pt x="245" y="42"/>
                  <a:pt x="246" y="41"/>
                  <a:pt x="248" y="40"/>
                </a:cubicBezTo>
                <a:close/>
                <a:moveTo>
                  <a:pt x="253" y="56"/>
                </a:moveTo>
                <a:cubicBezTo>
                  <a:pt x="253" y="57"/>
                  <a:pt x="253" y="57"/>
                  <a:pt x="254" y="57"/>
                </a:cubicBezTo>
                <a:cubicBezTo>
                  <a:pt x="257" y="55"/>
                  <a:pt x="256" y="56"/>
                  <a:pt x="258" y="55"/>
                </a:cubicBezTo>
                <a:cubicBezTo>
                  <a:pt x="258" y="55"/>
                  <a:pt x="263" y="53"/>
                  <a:pt x="264" y="52"/>
                </a:cubicBezTo>
                <a:cubicBezTo>
                  <a:pt x="260" y="53"/>
                  <a:pt x="255" y="56"/>
                  <a:pt x="253" y="56"/>
                </a:cubicBezTo>
                <a:close/>
                <a:moveTo>
                  <a:pt x="264" y="64"/>
                </a:moveTo>
                <a:cubicBezTo>
                  <a:pt x="267" y="64"/>
                  <a:pt x="264" y="65"/>
                  <a:pt x="263" y="65"/>
                </a:cubicBezTo>
                <a:cubicBezTo>
                  <a:pt x="263" y="66"/>
                  <a:pt x="263" y="66"/>
                  <a:pt x="264" y="66"/>
                </a:cubicBezTo>
                <a:cubicBezTo>
                  <a:pt x="264" y="65"/>
                  <a:pt x="265" y="66"/>
                  <a:pt x="267" y="65"/>
                </a:cubicBezTo>
                <a:cubicBezTo>
                  <a:pt x="268" y="64"/>
                  <a:pt x="268" y="64"/>
                  <a:pt x="268" y="63"/>
                </a:cubicBezTo>
                <a:cubicBezTo>
                  <a:pt x="267" y="64"/>
                  <a:pt x="265" y="63"/>
                  <a:pt x="264" y="64"/>
                </a:cubicBezTo>
                <a:close/>
                <a:moveTo>
                  <a:pt x="261" y="65"/>
                </a:moveTo>
                <a:cubicBezTo>
                  <a:pt x="261" y="65"/>
                  <a:pt x="261" y="65"/>
                  <a:pt x="261" y="65"/>
                </a:cubicBezTo>
                <a:cubicBezTo>
                  <a:pt x="263" y="65"/>
                  <a:pt x="266" y="63"/>
                  <a:pt x="264" y="63"/>
                </a:cubicBezTo>
                <a:cubicBezTo>
                  <a:pt x="264" y="64"/>
                  <a:pt x="263" y="64"/>
                  <a:pt x="261" y="65"/>
                </a:cubicBezTo>
                <a:close/>
                <a:moveTo>
                  <a:pt x="253" y="68"/>
                </a:moveTo>
                <a:cubicBezTo>
                  <a:pt x="255" y="68"/>
                  <a:pt x="258" y="67"/>
                  <a:pt x="259" y="67"/>
                </a:cubicBezTo>
                <a:cubicBezTo>
                  <a:pt x="258" y="67"/>
                  <a:pt x="261" y="66"/>
                  <a:pt x="260" y="66"/>
                </a:cubicBezTo>
                <a:cubicBezTo>
                  <a:pt x="257" y="67"/>
                  <a:pt x="256" y="67"/>
                  <a:pt x="253" y="68"/>
                </a:cubicBezTo>
                <a:close/>
                <a:moveTo>
                  <a:pt x="256" y="64"/>
                </a:moveTo>
                <a:cubicBezTo>
                  <a:pt x="258" y="64"/>
                  <a:pt x="255" y="65"/>
                  <a:pt x="257" y="65"/>
                </a:cubicBezTo>
                <a:cubicBezTo>
                  <a:pt x="258" y="64"/>
                  <a:pt x="257" y="64"/>
                  <a:pt x="258" y="63"/>
                </a:cubicBezTo>
                <a:lnTo>
                  <a:pt x="256" y="64"/>
                </a:lnTo>
                <a:close/>
                <a:moveTo>
                  <a:pt x="249" y="75"/>
                </a:moveTo>
                <a:cubicBezTo>
                  <a:pt x="249" y="75"/>
                  <a:pt x="249" y="75"/>
                  <a:pt x="248" y="75"/>
                </a:cubicBezTo>
                <a:cubicBezTo>
                  <a:pt x="247" y="75"/>
                  <a:pt x="250" y="73"/>
                  <a:pt x="247" y="74"/>
                </a:cubicBezTo>
                <a:cubicBezTo>
                  <a:pt x="250" y="74"/>
                  <a:pt x="243" y="77"/>
                  <a:pt x="246" y="77"/>
                </a:cubicBezTo>
                <a:cubicBezTo>
                  <a:pt x="246" y="77"/>
                  <a:pt x="247" y="76"/>
                  <a:pt x="247" y="76"/>
                </a:cubicBezTo>
                <a:cubicBezTo>
                  <a:pt x="246" y="77"/>
                  <a:pt x="246" y="77"/>
                  <a:pt x="247" y="77"/>
                </a:cubicBezTo>
                <a:cubicBezTo>
                  <a:pt x="249" y="75"/>
                  <a:pt x="255" y="74"/>
                  <a:pt x="257" y="72"/>
                </a:cubicBezTo>
                <a:cubicBezTo>
                  <a:pt x="255" y="72"/>
                  <a:pt x="252" y="74"/>
                  <a:pt x="249" y="75"/>
                </a:cubicBezTo>
                <a:close/>
                <a:moveTo>
                  <a:pt x="248" y="62"/>
                </a:moveTo>
                <a:cubicBezTo>
                  <a:pt x="250" y="61"/>
                  <a:pt x="251" y="61"/>
                  <a:pt x="251" y="60"/>
                </a:cubicBezTo>
                <a:cubicBezTo>
                  <a:pt x="249" y="61"/>
                  <a:pt x="248" y="62"/>
                  <a:pt x="248" y="62"/>
                </a:cubicBezTo>
                <a:close/>
                <a:moveTo>
                  <a:pt x="246" y="67"/>
                </a:moveTo>
                <a:cubicBezTo>
                  <a:pt x="243" y="68"/>
                  <a:pt x="245" y="69"/>
                  <a:pt x="248" y="68"/>
                </a:cubicBezTo>
                <a:cubicBezTo>
                  <a:pt x="248" y="67"/>
                  <a:pt x="246" y="68"/>
                  <a:pt x="246" y="67"/>
                </a:cubicBezTo>
                <a:close/>
                <a:moveTo>
                  <a:pt x="244" y="65"/>
                </a:moveTo>
                <a:cubicBezTo>
                  <a:pt x="243" y="65"/>
                  <a:pt x="245" y="64"/>
                  <a:pt x="245" y="63"/>
                </a:cubicBezTo>
                <a:cubicBezTo>
                  <a:pt x="242" y="64"/>
                  <a:pt x="242" y="66"/>
                  <a:pt x="244" y="65"/>
                </a:cubicBezTo>
                <a:close/>
                <a:moveTo>
                  <a:pt x="241" y="72"/>
                </a:moveTo>
                <a:cubicBezTo>
                  <a:pt x="241" y="72"/>
                  <a:pt x="241" y="71"/>
                  <a:pt x="240" y="71"/>
                </a:cubicBezTo>
                <a:cubicBezTo>
                  <a:pt x="240" y="72"/>
                  <a:pt x="239" y="72"/>
                  <a:pt x="239" y="72"/>
                </a:cubicBezTo>
                <a:cubicBezTo>
                  <a:pt x="239" y="72"/>
                  <a:pt x="238" y="73"/>
                  <a:pt x="238" y="73"/>
                </a:cubicBezTo>
                <a:cubicBezTo>
                  <a:pt x="242" y="71"/>
                  <a:pt x="237" y="74"/>
                  <a:pt x="239" y="74"/>
                </a:cubicBezTo>
                <a:cubicBezTo>
                  <a:pt x="243" y="71"/>
                  <a:pt x="246" y="72"/>
                  <a:pt x="248" y="70"/>
                </a:cubicBezTo>
                <a:cubicBezTo>
                  <a:pt x="245" y="70"/>
                  <a:pt x="241" y="73"/>
                  <a:pt x="239" y="73"/>
                </a:cubicBezTo>
                <a:cubicBezTo>
                  <a:pt x="239" y="73"/>
                  <a:pt x="240" y="72"/>
                  <a:pt x="241" y="72"/>
                </a:cubicBezTo>
                <a:close/>
                <a:moveTo>
                  <a:pt x="239" y="71"/>
                </a:moveTo>
                <a:cubicBezTo>
                  <a:pt x="236" y="72"/>
                  <a:pt x="237" y="73"/>
                  <a:pt x="236" y="74"/>
                </a:cubicBezTo>
                <a:cubicBezTo>
                  <a:pt x="238" y="73"/>
                  <a:pt x="239" y="72"/>
                  <a:pt x="239" y="71"/>
                </a:cubicBezTo>
                <a:close/>
                <a:moveTo>
                  <a:pt x="226" y="49"/>
                </a:moveTo>
                <a:cubicBezTo>
                  <a:pt x="226" y="48"/>
                  <a:pt x="225" y="49"/>
                  <a:pt x="227" y="47"/>
                </a:cubicBezTo>
                <a:cubicBezTo>
                  <a:pt x="225" y="49"/>
                  <a:pt x="222" y="49"/>
                  <a:pt x="221" y="51"/>
                </a:cubicBezTo>
                <a:cubicBezTo>
                  <a:pt x="225" y="49"/>
                  <a:pt x="224" y="50"/>
                  <a:pt x="226" y="50"/>
                </a:cubicBezTo>
                <a:cubicBezTo>
                  <a:pt x="224" y="51"/>
                  <a:pt x="224" y="51"/>
                  <a:pt x="222" y="51"/>
                </a:cubicBezTo>
                <a:cubicBezTo>
                  <a:pt x="223" y="52"/>
                  <a:pt x="227" y="50"/>
                  <a:pt x="230" y="49"/>
                </a:cubicBezTo>
                <a:cubicBezTo>
                  <a:pt x="230" y="48"/>
                  <a:pt x="230" y="48"/>
                  <a:pt x="231" y="47"/>
                </a:cubicBezTo>
                <a:cubicBezTo>
                  <a:pt x="231" y="47"/>
                  <a:pt x="231" y="48"/>
                  <a:pt x="233" y="47"/>
                </a:cubicBezTo>
                <a:cubicBezTo>
                  <a:pt x="233" y="46"/>
                  <a:pt x="233" y="46"/>
                  <a:pt x="233" y="46"/>
                </a:cubicBezTo>
                <a:cubicBezTo>
                  <a:pt x="229" y="48"/>
                  <a:pt x="228" y="48"/>
                  <a:pt x="226" y="49"/>
                </a:cubicBezTo>
                <a:close/>
                <a:moveTo>
                  <a:pt x="235" y="57"/>
                </a:moveTo>
                <a:cubicBezTo>
                  <a:pt x="233" y="58"/>
                  <a:pt x="231" y="59"/>
                  <a:pt x="230" y="59"/>
                </a:cubicBezTo>
                <a:cubicBezTo>
                  <a:pt x="228" y="60"/>
                  <a:pt x="231" y="59"/>
                  <a:pt x="232" y="59"/>
                </a:cubicBezTo>
                <a:cubicBezTo>
                  <a:pt x="232" y="59"/>
                  <a:pt x="231" y="59"/>
                  <a:pt x="233" y="58"/>
                </a:cubicBezTo>
                <a:cubicBezTo>
                  <a:pt x="233" y="58"/>
                  <a:pt x="233" y="59"/>
                  <a:pt x="232" y="59"/>
                </a:cubicBezTo>
                <a:cubicBezTo>
                  <a:pt x="234" y="58"/>
                  <a:pt x="236" y="58"/>
                  <a:pt x="236" y="57"/>
                </a:cubicBezTo>
                <a:cubicBezTo>
                  <a:pt x="235" y="57"/>
                  <a:pt x="235" y="57"/>
                  <a:pt x="235" y="57"/>
                </a:cubicBezTo>
                <a:close/>
                <a:moveTo>
                  <a:pt x="235" y="64"/>
                </a:moveTo>
                <a:cubicBezTo>
                  <a:pt x="237" y="63"/>
                  <a:pt x="235" y="65"/>
                  <a:pt x="235" y="65"/>
                </a:cubicBezTo>
                <a:cubicBezTo>
                  <a:pt x="238" y="64"/>
                  <a:pt x="238" y="64"/>
                  <a:pt x="238" y="63"/>
                </a:cubicBezTo>
                <a:cubicBezTo>
                  <a:pt x="237" y="64"/>
                  <a:pt x="235" y="64"/>
                  <a:pt x="235" y="64"/>
                </a:cubicBezTo>
                <a:close/>
                <a:moveTo>
                  <a:pt x="230" y="61"/>
                </a:moveTo>
                <a:cubicBezTo>
                  <a:pt x="230" y="61"/>
                  <a:pt x="228" y="63"/>
                  <a:pt x="231" y="62"/>
                </a:cubicBezTo>
                <a:cubicBezTo>
                  <a:pt x="230" y="62"/>
                  <a:pt x="232" y="60"/>
                  <a:pt x="232" y="60"/>
                </a:cubicBezTo>
                <a:cubicBezTo>
                  <a:pt x="231" y="60"/>
                  <a:pt x="230" y="61"/>
                  <a:pt x="230" y="61"/>
                </a:cubicBezTo>
                <a:close/>
                <a:moveTo>
                  <a:pt x="227" y="61"/>
                </a:moveTo>
                <a:cubicBezTo>
                  <a:pt x="227" y="62"/>
                  <a:pt x="227" y="62"/>
                  <a:pt x="227" y="62"/>
                </a:cubicBezTo>
                <a:cubicBezTo>
                  <a:pt x="228" y="61"/>
                  <a:pt x="229" y="60"/>
                  <a:pt x="230" y="60"/>
                </a:cubicBezTo>
                <a:cubicBezTo>
                  <a:pt x="230" y="60"/>
                  <a:pt x="229" y="60"/>
                  <a:pt x="227" y="61"/>
                </a:cubicBezTo>
                <a:close/>
                <a:moveTo>
                  <a:pt x="225" y="71"/>
                </a:moveTo>
                <a:cubicBezTo>
                  <a:pt x="228" y="69"/>
                  <a:pt x="229" y="68"/>
                  <a:pt x="232" y="66"/>
                </a:cubicBezTo>
                <a:cubicBezTo>
                  <a:pt x="230" y="67"/>
                  <a:pt x="232" y="66"/>
                  <a:pt x="232" y="65"/>
                </a:cubicBezTo>
                <a:cubicBezTo>
                  <a:pt x="230" y="67"/>
                  <a:pt x="226" y="67"/>
                  <a:pt x="226" y="68"/>
                </a:cubicBezTo>
                <a:cubicBezTo>
                  <a:pt x="227" y="69"/>
                  <a:pt x="228" y="67"/>
                  <a:pt x="230" y="67"/>
                </a:cubicBezTo>
                <a:cubicBezTo>
                  <a:pt x="230" y="67"/>
                  <a:pt x="231" y="67"/>
                  <a:pt x="231" y="67"/>
                </a:cubicBezTo>
                <a:cubicBezTo>
                  <a:pt x="228" y="69"/>
                  <a:pt x="225" y="70"/>
                  <a:pt x="225" y="71"/>
                </a:cubicBezTo>
                <a:close/>
                <a:moveTo>
                  <a:pt x="228" y="73"/>
                </a:moveTo>
                <a:cubicBezTo>
                  <a:pt x="228" y="73"/>
                  <a:pt x="228" y="72"/>
                  <a:pt x="226" y="73"/>
                </a:cubicBezTo>
                <a:cubicBezTo>
                  <a:pt x="227" y="74"/>
                  <a:pt x="227" y="74"/>
                  <a:pt x="227" y="74"/>
                </a:cubicBezTo>
                <a:cubicBezTo>
                  <a:pt x="228" y="73"/>
                  <a:pt x="231" y="72"/>
                  <a:pt x="230" y="72"/>
                </a:cubicBezTo>
                <a:lnTo>
                  <a:pt x="228" y="73"/>
                </a:lnTo>
                <a:close/>
                <a:moveTo>
                  <a:pt x="221" y="77"/>
                </a:moveTo>
                <a:cubicBezTo>
                  <a:pt x="221" y="77"/>
                  <a:pt x="224" y="76"/>
                  <a:pt x="225" y="76"/>
                </a:cubicBezTo>
                <a:cubicBezTo>
                  <a:pt x="224" y="77"/>
                  <a:pt x="222" y="78"/>
                  <a:pt x="221" y="79"/>
                </a:cubicBezTo>
                <a:cubicBezTo>
                  <a:pt x="223" y="78"/>
                  <a:pt x="225" y="77"/>
                  <a:pt x="227" y="76"/>
                </a:cubicBezTo>
                <a:cubicBezTo>
                  <a:pt x="228" y="75"/>
                  <a:pt x="227" y="75"/>
                  <a:pt x="226" y="74"/>
                </a:cubicBezTo>
                <a:cubicBezTo>
                  <a:pt x="224" y="75"/>
                  <a:pt x="223" y="76"/>
                  <a:pt x="222" y="77"/>
                </a:cubicBezTo>
                <a:cubicBezTo>
                  <a:pt x="222" y="76"/>
                  <a:pt x="221" y="76"/>
                  <a:pt x="221" y="77"/>
                </a:cubicBezTo>
                <a:close/>
                <a:moveTo>
                  <a:pt x="224" y="73"/>
                </a:moveTo>
                <a:cubicBezTo>
                  <a:pt x="220" y="76"/>
                  <a:pt x="220" y="76"/>
                  <a:pt x="220" y="76"/>
                </a:cubicBezTo>
                <a:cubicBezTo>
                  <a:pt x="222" y="76"/>
                  <a:pt x="221" y="76"/>
                  <a:pt x="224" y="75"/>
                </a:cubicBezTo>
                <a:cubicBezTo>
                  <a:pt x="223" y="74"/>
                  <a:pt x="226" y="73"/>
                  <a:pt x="224" y="73"/>
                </a:cubicBezTo>
                <a:close/>
                <a:moveTo>
                  <a:pt x="206" y="64"/>
                </a:moveTo>
                <a:cubicBezTo>
                  <a:pt x="207" y="65"/>
                  <a:pt x="208" y="64"/>
                  <a:pt x="207" y="65"/>
                </a:cubicBezTo>
                <a:cubicBezTo>
                  <a:pt x="212" y="62"/>
                  <a:pt x="208" y="64"/>
                  <a:pt x="209" y="63"/>
                </a:cubicBezTo>
                <a:cubicBezTo>
                  <a:pt x="210" y="62"/>
                  <a:pt x="210" y="63"/>
                  <a:pt x="212" y="62"/>
                </a:cubicBezTo>
                <a:cubicBezTo>
                  <a:pt x="212" y="61"/>
                  <a:pt x="209" y="62"/>
                  <a:pt x="206" y="64"/>
                </a:cubicBezTo>
                <a:close/>
                <a:moveTo>
                  <a:pt x="197" y="73"/>
                </a:moveTo>
                <a:cubicBezTo>
                  <a:pt x="198" y="73"/>
                  <a:pt x="198" y="72"/>
                  <a:pt x="198" y="73"/>
                </a:cubicBezTo>
                <a:cubicBezTo>
                  <a:pt x="199" y="72"/>
                  <a:pt x="200" y="71"/>
                  <a:pt x="200" y="71"/>
                </a:cubicBezTo>
                <a:cubicBezTo>
                  <a:pt x="198" y="72"/>
                  <a:pt x="201" y="70"/>
                  <a:pt x="200" y="70"/>
                </a:cubicBezTo>
                <a:cubicBezTo>
                  <a:pt x="197" y="72"/>
                  <a:pt x="200" y="72"/>
                  <a:pt x="197" y="73"/>
                </a:cubicBezTo>
                <a:close/>
                <a:moveTo>
                  <a:pt x="196" y="70"/>
                </a:moveTo>
                <a:cubicBezTo>
                  <a:pt x="196" y="71"/>
                  <a:pt x="198" y="69"/>
                  <a:pt x="197" y="71"/>
                </a:cubicBezTo>
                <a:cubicBezTo>
                  <a:pt x="200" y="69"/>
                  <a:pt x="198" y="68"/>
                  <a:pt x="196" y="70"/>
                </a:cubicBezTo>
                <a:close/>
                <a:moveTo>
                  <a:pt x="191" y="75"/>
                </a:moveTo>
                <a:cubicBezTo>
                  <a:pt x="192" y="74"/>
                  <a:pt x="194" y="72"/>
                  <a:pt x="192" y="73"/>
                </a:cubicBezTo>
                <a:cubicBezTo>
                  <a:pt x="192" y="74"/>
                  <a:pt x="189" y="75"/>
                  <a:pt x="191" y="75"/>
                </a:cubicBezTo>
                <a:close/>
                <a:moveTo>
                  <a:pt x="187" y="76"/>
                </a:moveTo>
                <a:cubicBezTo>
                  <a:pt x="186" y="77"/>
                  <a:pt x="184" y="78"/>
                  <a:pt x="185" y="79"/>
                </a:cubicBezTo>
                <a:cubicBezTo>
                  <a:pt x="185" y="78"/>
                  <a:pt x="187" y="77"/>
                  <a:pt x="187" y="78"/>
                </a:cubicBezTo>
                <a:cubicBezTo>
                  <a:pt x="186" y="78"/>
                  <a:pt x="187" y="78"/>
                  <a:pt x="188" y="77"/>
                </a:cubicBezTo>
                <a:cubicBezTo>
                  <a:pt x="189" y="76"/>
                  <a:pt x="189" y="76"/>
                  <a:pt x="187" y="76"/>
                </a:cubicBezTo>
                <a:close/>
                <a:moveTo>
                  <a:pt x="186" y="75"/>
                </a:moveTo>
                <a:cubicBezTo>
                  <a:pt x="185" y="76"/>
                  <a:pt x="184" y="77"/>
                  <a:pt x="184" y="77"/>
                </a:cubicBezTo>
                <a:cubicBezTo>
                  <a:pt x="183" y="78"/>
                  <a:pt x="188" y="76"/>
                  <a:pt x="188" y="75"/>
                </a:cubicBezTo>
                <a:cubicBezTo>
                  <a:pt x="186" y="76"/>
                  <a:pt x="187" y="75"/>
                  <a:pt x="186" y="75"/>
                </a:cubicBezTo>
                <a:close/>
                <a:moveTo>
                  <a:pt x="186" y="95"/>
                </a:moveTo>
                <a:cubicBezTo>
                  <a:pt x="187" y="94"/>
                  <a:pt x="186" y="95"/>
                  <a:pt x="186" y="95"/>
                </a:cubicBezTo>
                <a:cubicBezTo>
                  <a:pt x="191" y="92"/>
                  <a:pt x="191" y="92"/>
                  <a:pt x="191" y="92"/>
                </a:cubicBezTo>
                <a:cubicBezTo>
                  <a:pt x="192" y="92"/>
                  <a:pt x="191" y="93"/>
                  <a:pt x="193" y="92"/>
                </a:cubicBezTo>
                <a:cubicBezTo>
                  <a:pt x="192" y="92"/>
                  <a:pt x="195" y="91"/>
                  <a:pt x="195" y="90"/>
                </a:cubicBezTo>
                <a:cubicBezTo>
                  <a:pt x="194" y="91"/>
                  <a:pt x="193" y="90"/>
                  <a:pt x="192" y="91"/>
                </a:cubicBezTo>
                <a:cubicBezTo>
                  <a:pt x="190" y="93"/>
                  <a:pt x="187" y="94"/>
                  <a:pt x="186" y="95"/>
                </a:cubicBezTo>
                <a:close/>
                <a:moveTo>
                  <a:pt x="178" y="81"/>
                </a:moveTo>
                <a:cubicBezTo>
                  <a:pt x="176" y="83"/>
                  <a:pt x="179" y="82"/>
                  <a:pt x="180" y="81"/>
                </a:cubicBezTo>
                <a:cubicBezTo>
                  <a:pt x="181" y="80"/>
                  <a:pt x="183" y="79"/>
                  <a:pt x="183" y="79"/>
                </a:cubicBezTo>
                <a:cubicBezTo>
                  <a:pt x="180" y="81"/>
                  <a:pt x="183" y="78"/>
                  <a:pt x="178" y="81"/>
                </a:cubicBezTo>
                <a:close/>
                <a:moveTo>
                  <a:pt x="182" y="80"/>
                </a:moveTo>
                <a:cubicBezTo>
                  <a:pt x="182" y="81"/>
                  <a:pt x="178" y="83"/>
                  <a:pt x="179" y="83"/>
                </a:cubicBezTo>
                <a:cubicBezTo>
                  <a:pt x="181" y="82"/>
                  <a:pt x="182" y="82"/>
                  <a:pt x="183" y="81"/>
                </a:cubicBezTo>
                <a:cubicBezTo>
                  <a:pt x="180" y="82"/>
                  <a:pt x="186" y="79"/>
                  <a:pt x="182" y="80"/>
                </a:cubicBezTo>
                <a:close/>
                <a:moveTo>
                  <a:pt x="182" y="82"/>
                </a:moveTo>
                <a:cubicBezTo>
                  <a:pt x="180" y="84"/>
                  <a:pt x="178" y="86"/>
                  <a:pt x="180" y="86"/>
                </a:cubicBezTo>
                <a:cubicBezTo>
                  <a:pt x="180" y="85"/>
                  <a:pt x="183" y="83"/>
                  <a:pt x="181" y="85"/>
                </a:cubicBezTo>
                <a:cubicBezTo>
                  <a:pt x="186" y="82"/>
                  <a:pt x="180" y="85"/>
                  <a:pt x="183" y="82"/>
                </a:cubicBezTo>
                <a:cubicBezTo>
                  <a:pt x="182" y="82"/>
                  <a:pt x="182" y="83"/>
                  <a:pt x="182" y="82"/>
                </a:cubicBezTo>
                <a:close/>
                <a:moveTo>
                  <a:pt x="165" y="91"/>
                </a:moveTo>
                <a:cubicBezTo>
                  <a:pt x="163" y="92"/>
                  <a:pt x="163" y="92"/>
                  <a:pt x="163" y="93"/>
                </a:cubicBezTo>
                <a:cubicBezTo>
                  <a:pt x="163" y="92"/>
                  <a:pt x="159" y="95"/>
                  <a:pt x="158" y="95"/>
                </a:cubicBezTo>
                <a:cubicBezTo>
                  <a:pt x="159" y="96"/>
                  <a:pt x="163" y="93"/>
                  <a:pt x="166" y="91"/>
                </a:cubicBezTo>
                <a:cubicBezTo>
                  <a:pt x="165" y="91"/>
                  <a:pt x="167" y="90"/>
                  <a:pt x="165" y="91"/>
                </a:cubicBezTo>
                <a:close/>
                <a:moveTo>
                  <a:pt x="167" y="91"/>
                </a:moveTo>
                <a:cubicBezTo>
                  <a:pt x="169" y="90"/>
                  <a:pt x="169" y="90"/>
                  <a:pt x="171" y="90"/>
                </a:cubicBezTo>
                <a:cubicBezTo>
                  <a:pt x="171" y="88"/>
                  <a:pt x="176" y="85"/>
                  <a:pt x="178" y="83"/>
                </a:cubicBezTo>
                <a:cubicBezTo>
                  <a:pt x="176" y="84"/>
                  <a:pt x="176" y="82"/>
                  <a:pt x="174" y="84"/>
                </a:cubicBezTo>
                <a:cubicBezTo>
                  <a:pt x="175" y="85"/>
                  <a:pt x="170" y="87"/>
                  <a:pt x="170" y="88"/>
                </a:cubicBezTo>
                <a:cubicBezTo>
                  <a:pt x="169" y="88"/>
                  <a:pt x="169" y="88"/>
                  <a:pt x="169" y="87"/>
                </a:cubicBezTo>
                <a:cubicBezTo>
                  <a:pt x="166" y="90"/>
                  <a:pt x="167" y="90"/>
                  <a:pt x="167" y="91"/>
                </a:cubicBezTo>
                <a:close/>
                <a:moveTo>
                  <a:pt x="173" y="93"/>
                </a:moveTo>
                <a:cubicBezTo>
                  <a:pt x="174" y="92"/>
                  <a:pt x="173" y="94"/>
                  <a:pt x="176" y="92"/>
                </a:cubicBezTo>
                <a:cubicBezTo>
                  <a:pt x="176" y="91"/>
                  <a:pt x="175" y="92"/>
                  <a:pt x="176" y="91"/>
                </a:cubicBezTo>
                <a:cubicBezTo>
                  <a:pt x="174" y="92"/>
                  <a:pt x="173" y="92"/>
                  <a:pt x="173" y="93"/>
                </a:cubicBezTo>
                <a:close/>
                <a:moveTo>
                  <a:pt x="174" y="104"/>
                </a:moveTo>
                <a:cubicBezTo>
                  <a:pt x="174" y="105"/>
                  <a:pt x="181" y="100"/>
                  <a:pt x="180" y="100"/>
                </a:cubicBezTo>
                <a:cubicBezTo>
                  <a:pt x="177" y="102"/>
                  <a:pt x="177" y="103"/>
                  <a:pt x="174" y="104"/>
                </a:cubicBezTo>
                <a:close/>
                <a:moveTo>
                  <a:pt x="164" y="99"/>
                </a:moveTo>
                <a:cubicBezTo>
                  <a:pt x="166" y="98"/>
                  <a:pt x="169" y="96"/>
                  <a:pt x="170" y="95"/>
                </a:cubicBezTo>
                <a:cubicBezTo>
                  <a:pt x="167" y="97"/>
                  <a:pt x="165" y="97"/>
                  <a:pt x="164" y="99"/>
                </a:cubicBezTo>
                <a:close/>
                <a:moveTo>
                  <a:pt x="159" y="99"/>
                </a:moveTo>
                <a:cubicBezTo>
                  <a:pt x="159" y="100"/>
                  <a:pt x="158" y="100"/>
                  <a:pt x="158" y="100"/>
                </a:cubicBezTo>
                <a:cubicBezTo>
                  <a:pt x="160" y="99"/>
                  <a:pt x="160" y="98"/>
                  <a:pt x="161" y="97"/>
                </a:cubicBezTo>
                <a:cubicBezTo>
                  <a:pt x="161" y="97"/>
                  <a:pt x="161" y="98"/>
                  <a:pt x="162" y="97"/>
                </a:cubicBezTo>
                <a:cubicBezTo>
                  <a:pt x="163" y="96"/>
                  <a:pt x="162" y="97"/>
                  <a:pt x="162" y="97"/>
                </a:cubicBezTo>
                <a:cubicBezTo>
                  <a:pt x="158" y="99"/>
                  <a:pt x="158" y="99"/>
                  <a:pt x="158" y="99"/>
                </a:cubicBezTo>
                <a:cubicBezTo>
                  <a:pt x="158" y="100"/>
                  <a:pt x="157" y="102"/>
                  <a:pt x="159" y="99"/>
                </a:cubicBezTo>
                <a:close/>
                <a:moveTo>
                  <a:pt x="153" y="99"/>
                </a:moveTo>
                <a:cubicBezTo>
                  <a:pt x="153" y="99"/>
                  <a:pt x="152" y="100"/>
                  <a:pt x="153" y="101"/>
                </a:cubicBezTo>
                <a:cubicBezTo>
                  <a:pt x="151" y="101"/>
                  <a:pt x="149" y="103"/>
                  <a:pt x="150" y="103"/>
                </a:cubicBezTo>
                <a:cubicBezTo>
                  <a:pt x="154" y="100"/>
                  <a:pt x="153" y="100"/>
                  <a:pt x="156" y="98"/>
                </a:cubicBezTo>
                <a:cubicBezTo>
                  <a:pt x="155" y="98"/>
                  <a:pt x="155" y="98"/>
                  <a:pt x="154" y="98"/>
                </a:cubicBezTo>
                <a:cubicBezTo>
                  <a:pt x="154" y="100"/>
                  <a:pt x="154" y="98"/>
                  <a:pt x="153" y="99"/>
                </a:cubicBezTo>
                <a:close/>
                <a:moveTo>
                  <a:pt x="160" y="120"/>
                </a:moveTo>
                <a:cubicBezTo>
                  <a:pt x="160" y="120"/>
                  <a:pt x="160" y="121"/>
                  <a:pt x="161" y="120"/>
                </a:cubicBezTo>
                <a:cubicBezTo>
                  <a:pt x="162" y="119"/>
                  <a:pt x="165" y="116"/>
                  <a:pt x="163" y="117"/>
                </a:cubicBezTo>
                <a:cubicBezTo>
                  <a:pt x="163" y="117"/>
                  <a:pt x="162" y="119"/>
                  <a:pt x="160" y="120"/>
                </a:cubicBezTo>
                <a:close/>
                <a:moveTo>
                  <a:pt x="150" y="106"/>
                </a:moveTo>
                <a:cubicBezTo>
                  <a:pt x="148" y="108"/>
                  <a:pt x="154" y="103"/>
                  <a:pt x="151" y="106"/>
                </a:cubicBezTo>
                <a:cubicBezTo>
                  <a:pt x="154" y="104"/>
                  <a:pt x="154" y="104"/>
                  <a:pt x="154" y="104"/>
                </a:cubicBezTo>
                <a:cubicBezTo>
                  <a:pt x="154" y="103"/>
                  <a:pt x="153" y="104"/>
                  <a:pt x="154" y="103"/>
                </a:cubicBezTo>
                <a:cubicBezTo>
                  <a:pt x="151" y="105"/>
                  <a:pt x="151" y="105"/>
                  <a:pt x="150" y="106"/>
                </a:cubicBezTo>
                <a:close/>
                <a:moveTo>
                  <a:pt x="146" y="105"/>
                </a:moveTo>
                <a:cubicBezTo>
                  <a:pt x="142" y="108"/>
                  <a:pt x="147" y="106"/>
                  <a:pt x="145" y="108"/>
                </a:cubicBezTo>
                <a:cubicBezTo>
                  <a:pt x="147" y="106"/>
                  <a:pt x="146" y="106"/>
                  <a:pt x="149" y="104"/>
                </a:cubicBezTo>
                <a:cubicBezTo>
                  <a:pt x="148" y="104"/>
                  <a:pt x="149" y="103"/>
                  <a:pt x="149" y="103"/>
                </a:cubicBezTo>
                <a:cubicBezTo>
                  <a:pt x="145" y="105"/>
                  <a:pt x="149" y="103"/>
                  <a:pt x="146" y="106"/>
                </a:cubicBezTo>
                <a:cubicBezTo>
                  <a:pt x="146" y="105"/>
                  <a:pt x="147" y="104"/>
                  <a:pt x="146" y="105"/>
                </a:cubicBezTo>
                <a:close/>
                <a:moveTo>
                  <a:pt x="153" y="120"/>
                </a:moveTo>
                <a:cubicBezTo>
                  <a:pt x="156" y="118"/>
                  <a:pt x="154" y="119"/>
                  <a:pt x="157" y="116"/>
                </a:cubicBezTo>
                <a:cubicBezTo>
                  <a:pt x="156" y="117"/>
                  <a:pt x="154" y="118"/>
                  <a:pt x="152" y="119"/>
                </a:cubicBezTo>
                <a:cubicBezTo>
                  <a:pt x="154" y="119"/>
                  <a:pt x="151" y="121"/>
                  <a:pt x="149" y="122"/>
                </a:cubicBezTo>
                <a:cubicBezTo>
                  <a:pt x="148" y="124"/>
                  <a:pt x="152" y="120"/>
                  <a:pt x="151" y="122"/>
                </a:cubicBezTo>
                <a:cubicBezTo>
                  <a:pt x="153" y="120"/>
                  <a:pt x="153" y="119"/>
                  <a:pt x="154" y="119"/>
                </a:cubicBezTo>
                <a:cubicBezTo>
                  <a:pt x="154" y="119"/>
                  <a:pt x="153" y="120"/>
                  <a:pt x="153" y="120"/>
                </a:cubicBezTo>
                <a:close/>
                <a:moveTo>
                  <a:pt x="136" y="117"/>
                </a:moveTo>
                <a:cubicBezTo>
                  <a:pt x="139" y="115"/>
                  <a:pt x="135" y="118"/>
                  <a:pt x="135" y="118"/>
                </a:cubicBezTo>
                <a:cubicBezTo>
                  <a:pt x="138" y="116"/>
                  <a:pt x="140" y="115"/>
                  <a:pt x="142" y="113"/>
                </a:cubicBezTo>
                <a:cubicBezTo>
                  <a:pt x="142" y="112"/>
                  <a:pt x="147" y="109"/>
                  <a:pt x="148" y="107"/>
                </a:cubicBezTo>
                <a:cubicBezTo>
                  <a:pt x="147" y="108"/>
                  <a:pt x="146" y="108"/>
                  <a:pt x="146" y="108"/>
                </a:cubicBezTo>
                <a:cubicBezTo>
                  <a:pt x="144" y="109"/>
                  <a:pt x="144" y="110"/>
                  <a:pt x="142" y="111"/>
                </a:cubicBezTo>
                <a:cubicBezTo>
                  <a:pt x="141" y="113"/>
                  <a:pt x="142" y="113"/>
                  <a:pt x="141" y="113"/>
                </a:cubicBezTo>
                <a:cubicBezTo>
                  <a:pt x="140" y="113"/>
                  <a:pt x="136" y="116"/>
                  <a:pt x="136" y="117"/>
                </a:cubicBezTo>
                <a:close/>
                <a:moveTo>
                  <a:pt x="153" y="123"/>
                </a:moveTo>
                <a:cubicBezTo>
                  <a:pt x="154" y="123"/>
                  <a:pt x="157" y="120"/>
                  <a:pt x="156" y="120"/>
                </a:cubicBezTo>
                <a:cubicBezTo>
                  <a:pt x="155" y="121"/>
                  <a:pt x="152" y="123"/>
                  <a:pt x="153" y="123"/>
                </a:cubicBezTo>
                <a:close/>
                <a:moveTo>
                  <a:pt x="137" y="109"/>
                </a:moveTo>
                <a:cubicBezTo>
                  <a:pt x="139" y="108"/>
                  <a:pt x="141" y="106"/>
                  <a:pt x="141" y="106"/>
                </a:cubicBezTo>
                <a:cubicBezTo>
                  <a:pt x="139" y="107"/>
                  <a:pt x="137" y="109"/>
                  <a:pt x="137" y="109"/>
                </a:cubicBezTo>
                <a:close/>
                <a:moveTo>
                  <a:pt x="136" y="114"/>
                </a:moveTo>
                <a:cubicBezTo>
                  <a:pt x="138" y="114"/>
                  <a:pt x="137" y="113"/>
                  <a:pt x="137" y="115"/>
                </a:cubicBezTo>
                <a:cubicBezTo>
                  <a:pt x="138" y="114"/>
                  <a:pt x="138" y="113"/>
                  <a:pt x="141" y="111"/>
                </a:cubicBezTo>
                <a:cubicBezTo>
                  <a:pt x="142" y="110"/>
                  <a:pt x="141" y="111"/>
                  <a:pt x="140" y="111"/>
                </a:cubicBezTo>
                <a:cubicBezTo>
                  <a:pt x="141" y="110"/>
                  <a:pt x="142" y="110"/>
                  <a:pt x="143" y="109"/>
                </a:cubicBezTo>
                <a:cubicBezTo>
                  <a:pt x="143" y="109"/>
                  <a:pt x="144" y="108"/>
                  <a:pt x="143" y="108"/>
                </a:cubicBezTo>
                <a:cubicBezTo>
                  <a:pt x="141" y="111"/>
                  <a:pt x="139" y="111"/>
                  <a:pt x="136" y="114"/>
                </a:cubicBezTo>
                <a:close/>
                <a:moveTo>
                  <a:pt x="142" y="117"/>
                </a:moveTo>
                <a:cubicBezTo>
                  <a:pt x="140" y="118"/>
                  <a:pt x="142" y="116"/>
                  <a:pt x="144" y="115"/>
                </a:cubicBezTo>
                <a:cubicBezTo>
                  <a:pt x="144" y="114"/>
                  <a:pt x="142" y="115"/>
                  <a:pt x="141" y="116"/>
                </a:cubicBezTo>
                <a:cubicBezTo>
                  <a:pt x="141" y="116"/>
                  <a:pt x="141" y="117"/>
                  <a:pt x="140" y="117"/>
                </a:cubicBezTo>
                <a:cubicBezTo>
                  <a:pt x="137" y="118"/>
                  <a:pt x="139" y="119"/>
                  <a:pt x="136" y="120"/>
                </a:cubicBezTo>
                <a:cubicBezTo>
                  <a:pt x="136" y="121"/>
                  <a:pt x="133" y="123"/>
                  <a:pt x="132" y="124"/>
                </a:cubicBezTo>
                <a:cubicBezTo>
                  <a:pt x="133" y="124"/>
                  <a:pt x="131" y="125"/>
                  <a:pt x="131" y="126"/>
                </a:cubicBezTo>
                <a:cubicBezTo>
                  <a:pt x="133" y="124"/>
                  <a:pt x="135" y="122"/>
                  <a:pt x="134" y="124"/>
                </a:cubicBezTo>
                <a:cubicBezTo>
                  <a:pt x="135" y="124"/>
                  <a:pt x="139" y="121"/>
                  <a:pt x="138" y="121"/>
                </a:cubicBezTo>
                <a:cubicBezTo>
                  <a:pt x="137" y="121"/>
                  <a:pt x="135" y="124"/>
                  <a:pt x="135" y="123"/>
                </a:cubicBezTo>
                <a:cubicBezTo>
                  <a:pt x="136" y="122"/>
                  <a:pt x="135" y="122"/>
                  <a:pt x="137" y="121"/>
                </a:cubicBezTo>
                <a:cubicBezTo>
                  <a:pt x="139" y="119"/>
                  <a:pt x="142" y="117"/>
                  <a:pt x="142" y="117"/>
                </a:cubicBezTo>
                <a:close/>
                <a:moveTo>
                  <a:pt x="143" y="118"/>
                </a:moveTo>
                <a:cubicBezTo>
                  <a:pt x="141" y="119"/>
                  <a:pt x="141" y="119"/>
                  <a:pt x="141" y="119"/>
                </a:cubicBezTo>
                <a:cubicBezTo>
                  <a:pt x="140" y="120"/>
                  <a:pt x="140" y="120"/>
                  <a:pt x="141" y="121"/>
                </a:cubicBezTo>
                <a:cubicBezTo>
                  <a:pt x="143" y="119"/>
                  <a:pt x="142" y="119"/>
                  <a:pt x="143" y="118"/>
                </a:cubicBezTo>
                <a:cubicBezTo>
                  <a:pt x="143" y="119"/>
                  <a:pt x="144" y="118"/>
                  <a:pt x="145" y="117"/>
                </a:cubicBezTo>
                <a:cubicBezTo>
                  <a:pt x="143" y="118"/>
                  <a:pt x="144" y="117"/>
                  <a:pt x="143" y="118"/>
                </a:cubicBezTo>
                <a:close/>
                <a:moveTo>
                  <a:pt x="146" y="128"/>
                </a:moveTo>
                <a:cubicBezTo>
                  <a:pt x="147" y="128"/>
                  <a:pt x="145" y="129"/>
                  <a:pt x="145" y="130"/>
                </a:cubicBezTo>
                <a:cubicBezTo>
                  <a:pt x="146" y="129"/>
                  <a:pt x="146" y="129"/>
                  <a:pt x="148" y="128"/>
                </a:cubicBezTo>
                <a:cubicBezTo>
                  <a:pt x="147" y="128"/>
                  <a:pt x="147" y="127"/>
                  <a:pt x="148" y="127"/>
                </a:cubicBezTo>
                <a:cubicBezTo>
                  <a:pt x="147" y="127"/>
                  <a:pt x="146" y="128"/>
                  <a:pt x="146" y="128"/>
                </a:cubicBezTo>
                <a:close/>
                <a:moveTo>
                  <a:pt x="133" y="117"/>
                </a:moveTo>
                <a:cubicBezTo>
                  <a:pt x="133" y="118"/>
                  <a:pt x="134" y="117"/>
                  <a:pt x="135" y="117"/>
                </a:cubicBezTo>
                <a:cubicBezTo>
                  <a:pt x="136" y="116"/>
                  <a:pt x="137" y="115"/>
                  <a:pt x="137" y="115"/>
                </a:cubicBezTo>
                <a:cubicBezTo>
                  <a:pt x="136" y="116"/>
                  <a:pt x="135" y="115"/>
                  <a:pt x="133" y="117"/>
                </a:cubicBezTo>
                <a:close/>
                <a:moveTo>
                  <a:pt x="144" y="129"/>
                </a:moveTo>
                <a:cubicBezTo>
                  <a:pt x="143" y="129"/>
                  <a:pt x="141" y="129"/>
                  <a:pt x="139" y="132"/>
                </a:cubicBezTo>
                <a:cubicBezTo>
                  <a:pt x="139" y="133"/>
                  <a:pt x="145" y="129"/>
                  <a:pt x="146" y="127"/>
                </a:cubicBezTo>
                <a:cubicBezTo>
                  <a:pt x="145" y="128"/>
                  <a:pt x="144" y="128"/>
                  <a:pt x="144" y="129"/>
                </a:cubicBezTo>
                <a:close/>
                <a:moveTo>
                  <a:pt x="133" y="117"/>
                </a:moveTo>
                <a:cubicBezTo>
                  <a:pt x="132" y="118"/>
                  <a:pt x="132" y="117"/>
                  <a:pt x="131" y="118"/>
                </a:cubicBezTo>
                <a:cubicBezTo>
                  <a:pt x="131" y="119"/>
                  <a:pt x="133" y="117"/>
                  <a:pt x="135" y="116"/>
                </a:cubicBezTo>
                <a:cubicBezTo>
                  <a:pt x="134" y="116"/>
                  <a:pt x="136" y="114"/>
                  <a:pt x="134" y="115"/>
                </a:cubicBezTo>
                <a:cubicBezTo>
                  <a:pt x="134" y="116"/>
                  <a:pt x="134" y="116"/>
                  <a:pt x="133" y="117"/>
                </a:cubicBezTo>
                <a:close/>
                <a:moveTo>
                  <a:pt x="138" y="122"/>
                </a:moveTo>
                <a:cubicBezTo>
                  <a:pt x="137" y="123"/>
                  <a:pt x="137" y="123"/>
                  <a:pt x="139" y="122"/>
                </a:cubicBezTo>
                <a:cubicBezTo>
                  <a:pt x="140" y="121"/>
                  <a:pt x="140" y="120"/>
                  <a:pt x="138" y="122"/>
                </a:cubicBezTo>
                <a:close/>
                <a:moveTo>
                  <a:pt x="139" y="137"/>
                </a:moveTo>
                <a:cubicBezTo>
                  <a:pt x="141" y="135"/>
                  <a:pt x="141" y="137"/>
                  <a:pt x="139" y="138"/>
                </a:cubicBezTo>
                <a:cubicBezTo>
                  <a:pt x="140" y="137"/>
                  <a:pt x="141" y="137"/>
                  <a:pt x="142" y="136"/>
                </a:cubicBezTo>
                <a:cubicBezTo>
                  <a:pt x="142" y="135"/>
                  <a:pt x="142" y="135"/>
                  <a:pt x="142" y="135"/>
                </a:cubicBezTo>
                <a:cubicBezTo>
                  <a:pt x="142" y="135"/>
                  <a:pt x="143" y="134"/>
                  <a:pt x="144" y="134"/>
                </a:cubicBezTo>
                <a:cubicBezTo>
                  <a:pt x="142" y="136"/>
                  <a:pt x="138" y="139"/>
                  <a:pt x="138" y="140"/>
                </a:cubicBezTo>
                <a:cubicBezTo>
                  <a:pt x="138" y="140"/>
                  <a:pt x="137" y="141"/>
                  <a:pt x="136" y="141"/>
                </a:cubicBezTo>
                <a:cubicBezTo>
                  <a:pt x="138" y="140"/>
                  <a:pt x="138" y="139"/>
                  <a:pt x="139" y="138"/>
                </a:cubicBezTo>
                <a:cubicBezTo>
                  <a:pt x="139" y="137"/>
                  <a:pt x="136" y="138"/>
                  <a:pt x="133" y="141"/>
                </a:cubicBezTo>
                <a:cubicBezTo>
                  <a:pt x="134" y="141"/>
                  <a:pt x="136" y="139"/>
                  <a:pt x="137" y="139"/>
                </a:cubicBezTo>
                <a:cubicBezTo>
                  <a:pt x="137" y="139"/>
                  <a:pt x="138" y="139"/>
                  <a:pt x="138" y="139"/>
                </a:cubicBezTo>
                <a:cubicBezTo>
                  <a:pt x="135" y="142"/>
                  <a:pt x="132" y="145"/>
                  <a:pt x="132" y="146"/>
                </a:cubicBezTo>
                <a:cubicBezTo>
                  <a:pt x="133" y="145"/>
                  <a:pt x="135" y="144"/>
                  <a:pt x="135" y="143"/>
                </a:cubicBezTo>
                <a:cubicBezTo>
                  <a:pt x="134" y="144"/>
                  <a:pt x="134" y="144"/>
                  <a:pt x="134" y="144"/>
                </a:cubicBezTo>
                <a:cubicBezTo>
                  <a:pt x="135" y="144"/>
                  <a:pt x="136" y="142"/>
                  <a:pt x="136" y="142"/>
                </a:cubicBezTo>
                <a:cubicBezTo>
                  <a:pt x="137" y="142"/>
                  <a:pt x="134" y="145"/>
                  <a:pt x="137" y="143"/>
                </a:cubicBezTo>
                <a:cubicBezTo>
                  <a:pt x="136" y="142"/>
                  <a:pt x="139" y="141"/>
                  <a:pt x="140" y="141"/>
                </a:cubicBezTo>
                <a:cubicBezTo>
                  <a:pt x="139" y="140"/>
                  <a:pt x="141" y="139"/>
                  <a:pt x="141" y="139"/>
                </a:cubicBezTo>
                <a:cubicBezTo>
                  <a:pt x="140" y="139"/>
                  <a:pt x="140" y="139"/>
                  <a:pt x="141" y="138"/>
                </a:cubicBezTo>
                <a:cubicBezTo>
                  <a:pt x="144" y="136"/>
                  <a:pt x="146" y="134"/>
                  <a:pt x="148" y="133"/>
                </a:cubicBezTo>
                <a:cubicBezTo>
                  <a:pt x="147" y="133"/>
                  <a:pt x="143" y="135"/>
                  <a:pt x="146" y="132"/>
                </a:cubicBezTo>
                <a:cubicBezTo>
                  <a:pt x="143" y="133"/>
                  <a:pt x="141" y="134"/>
                  <a:pt x="139" y="137"/>
                </a:cubicBezTo>
                <a:close/>
                <a:moveTo>
                  <a:pt x="142" y="131"/>
                </a:moveTo>
                <a:cubicBezTo>
                  <a:pt x="142" y="131"/>
                  <a:pt x="143" y="132"/>
                  <a:pt x="144" y="130"/>
                </a:cubicBezTo>
                <a:cubicBezTo>
                  <a:pt x="144" y="130"/>
                  <a:pt x="144" y="130"/>
                  <a:pt x="144" y="129"/>
                </a:cubicBezTo>
                <a:cubicBezTo>
                  <a:pt x="144" y="130"/>
                  <a:pt x="143" y="130"/>
                  <a:pt x="142" y="131"/>
                </a:cubicBezTo>
                <a:close/>
                <a:moveTo>
                  <a:pt x="142" y="143"/>
                </a:moveTo>
                <a:cubicBezTo>
                  <a:pt x="142" y="143"/>
                  <a:pt x="145" y="140"/>
                  <a:pt x="145" y="142"/>
                </a:cubicBezTo>
                <a:cubicBezTo>
                  <a:pt x="147" y="140"/>
                  <a:pt x="149" y="139"/>
                  <a:pt x="150" y="138"/>
                </a:cubicBezTo>
                <a:cubicBezTo>
                  <a:pt x="148" y="139"/>
                  <a:pt x="147" y="140"/>
                  <a:pt x="146" y="140"/>
                </a:cubicBezTo>
                <a:cubicBezTo>
                  <a:pt x="147" y="139"/>
                  <a:pt x="147" y="139"/>
                  <a:pt x="148" y="138"/>
                </a:cubicBezTo>
                <a:cubicBezTo>
                  <a:pt x="147" y="139"/>
                  <a:pt x="150" y="137"/>
                  <a:pt x="150" y="137"/>
                </a:cubicBezTo>
                <a:cubicBezTo>
                  <a:pt x="148" y="138"/>
                  <a:pt x="142" y="142"/>
                  <a:pt x="142" y="143"/>
                </a:cubicBezTo>
                <a:close/>
                <a:moveTo>
                  <a:pt x="125" y="125"/>
                </a:moveTo>
                <a:cubicBezTo>
                  <a:pt x="126" y="125"/>
                  <a:pt x="128" y="123"/>
                  <a:pt x="128" y="124"/>
                </a:cubicBezTo>
                <a:cubicBezTo>
                  <a:pt x="126" y="126"/>
                  <a:pt x="124" y="127"/>
                  <a:pt x="124" y="128"/>
                </a:cubicBezTo>
                <a:cubicBezTo>
                  <a:pt x="129" y="124"/>
                  <a:pt x="129" y="124"/>
                  <a:pt x="129" y="124"/>
                </a:cubicBezTo>
                <a:cubicBezTo>
                  <a:pt x="128" y="123"/>
                  <a:pt x="132" y="121"/>
                  <a:pt x="131" y="120"/>
                </a:cubicBezTo>
                <a:cubicBezTo>
                  <a:pt x="129" y="122"/>
                  <a:pt x="127" y="123"/>
                  <a:pt x="125" y="125"/>
                </a:cubicBezTo>
                <a:close/>
                <a:moveTo>
                  <a:pt x="131" y="122"/>
                </a:moveTo>
                <a:cubicBezTo>
                  <a:pt x="132" y="122"/>
                  <a:pt x="131" y="122"/>
                  <a:pt x="131" y="123"/>
                </a:cubicBezTo>
                <a:cubicBezTo>
                  <a:pt x="132" y="122"/>
                  <a:pt x="132" y="121"/>
                  <a:pt x="133" y="120"/>
                </a:cubicBezTo>
                <a:cubicBezTo>
                  <a:pt x="134" y="120"/>
                  <a:pt x="134" y="120"/>
                  <a:pt x="134" y="120"/>
                </a:cubicBezTo>
                <a:cubicBezTo>
                  <a:pt x="133" y="120"/>
                  <a:pt x="135" y="117"/>
                  <a:pt x="131" y="119"/>
                </a:cubicBezTo>
                <a:cubicBezTo>
                  <a:pt x="131" y="120"/>
                  <a:pt x="134" y="119"/>
                  <a:pt x="131" y="122"/>
                </a:cubicBezTo>
                <a:close/>
                <a:moveTo>
                  <a:pt x="139" y="130"/>
                </a:moveTo>
                <a:cubicBezTo>
                  <a:pt x="138" y="132"/>
                  <a:pt x="142" y="129"/>
                  <a:pt x="142" y="129"/>
                </a:cubicBezTo>
                <a:lnTo>
                  <a:pt x="139" y="130"/>
                </a:lnTo>
                <a:close/>
                <a:moveTo>
                  <a:pt x="133" y="129"/>
                </a:moveTo>
                <a:cubicBezTo>
                  <a:pt x="135" y="127"/>
                  <a:pt x="136" y="126"/>
                  <a:pt x="135" y="126"/>
                </a:cubicBezTo>
                <a:cubicBezTo>
                  <a:pt x="133" y="128"/>
                  <a:pt x="132" y="129"/>
                  <a:pt x="133" y="129"/>
                </a:cubicBezTo>
                <a:close/>
                <a:moveTo>
                  <a:pt x="129" y="121"/>
                </a:moveTo>
                <a:cubicBezTo>
                  <a:pt x="128" y="120"/>
                  <a:pt x="126" y="121"/>
                  <a:pt x="124" y="124"/>
                </a:cubicBezTo>
                <a:cubicBezTo>
                  <a:pt x="125" y="123"/>
                  <a:pt x="125" y="123"/>
                  <a:pt x="124" y="124"/>
                </a:cubicBezTo>
                <a:cubicBezTo>
                  <a:pt x="123" y="124"/>
                  <a:pt x="121" y="127"/>
                  <a:pt x="120" y="128"/>
                </a:cubicBezTo>
                <a:cubicBezTo>
                  <a:pt x="121" y="128"/>
                  <a:pt x="121" y="128"/>
                  <a:pt x="120" y="130"/>
                </a:cubicBezTo>
                <a:cubicBezTo>
                  <a:pt x="121" y="129"/>
                  <a:pt x="121" y="129"/>
                  <a:pt x="121" y="129"/>
                </a:cubicBezTo>
                <a:cubicBezTo>
                  <a:pt x="125" y="126"/>
                  <a:pt x="124" y="125"/>
                  <a:pt x="128" y="123"/>
                </a:cubicBezTo>
                <a:cubicBezTo>
                  <a:pt x="127" y="122"/>
                  <a:pt x="126" y="123"/>
                  <a:pt x="129" y="121"/>
                </a:cubicBezTo>
                <a:close/>
                <a:moveTo>
                  <a:pt x="129" y="131"/>
                </a:moveTo>
                <a:cubicBezTo>
                  <a:pt x="130" y="130"/>
                  <a:pt x="133" y="127"/>
                  <a:pt x="134" y="126"/>
                </a:cubicBezTo>
                <a:cubicBezTo>
                  <a:pt x="131" y="128"/>
                  <a:pt x="130" y="130"/>
                  <a:pt x="129" y="131"/>
                </a:cubicBezTo>
                <a:close/>
                <a:moveTo>
                  <a:pt x="133" y="136"/>
                </a:moveTo>
                <a:cubicBezTo>
                  <a:pt x="135" y="136"/>
                  <a:pt x="137" y="136"/>
                  <a:pt x="139" y="133"/>
                </a:cubicBezTo>
                <a:cubicBezTo>
                  <a:pt x="136" y="135"/>
                  <a:pt x="136" y="134"/>
                  <a:pt x="133" y="136"/>
                </a:cubicBezTo>
                <a:close/>
                <a:moveTo>
                  <a:pt x="124" y="131"/>
                </a:moveTo>
                <a:cubicBezTo>
                  <a:pt x="125" y="131"/>
                  <a:pt x="125" y="131"/>
                  <a:pt x="124" y="132"/>
                </a:cubicBezTo>
                <a:cubicBezTo>
                  <a:pt x="126" y="131"/>
                  <a:pt x="131" y="127"/>
                  <a:pt x="128" y="128"/>
                </a:cubicBezTo>
                <a:cubicBezTo>
                  <a:pt x="128" y="129"/>
                  <a:pt x="126" y="130"/>
                  <a:pt x="124" y="131"/>
                </a:cubicBezTo>
                <a:close/>
                <a:moveTo>
                  <a:pt x="121" y="127"/>
                </a:moveTo>
                <a:cubicBezTo>
                  <a:pt x="121" y="126"/>
                  <a:pt x="121" y="125"/>
                  <a:pt x="123" y="124"/>
                </a:cubicBezTo>
                <a:cubicBezTo>
                  <a:pt x="120" y="126"/>
                  <a:pt x="117" y="127"/>
                  <a:pt x="117" y="128"/>
                </a:cubicBezTo>
                <a:cubicBezTo>
                  <a:pt x="118" y="128"/>
                  <a:pt x="120" y="126"/>
                  <a:pt x="121" y="126"/>
                </a:cubicBezTo>
                <a:cubicBezTo>
                  <a:pt x="120" y="126"/>
                  <a:pt x="119" y="128"/>
                  <a:pt x="121" y="127"/>
                </a:cubicBezTo>
                <a:close/>
                <a:moveTo>
                  <a:pt x="120" y="131"/>
                </a:moveTo>
                <a:cubicBezTo>
                  <a:pt x="121" y="131"/>
                  <a:pt x="122" y="131"/>
                  <a:pt x="124" y="129"/>
                </a:cubicBezTo>
                <a:cubicBezTo>
                  <a:pt x="124" y="128"/>
                  <a:pt x="121" y="130"/>
                  <a:pt x="120" y="131"/>
                </a:cubicBezTo>
                <a:close/>
                <a:moveTo>
                  <a:pt x="119" y="140"/>
                </a:moveTo>
                <a:cubicBezTo>
                  <a:pt x="121" y="139"/>
                  <a:pt x="122" y="137"/>
                  <a:pt x="124" y="135"/>
                </a:cubicBezTo>
                <a:cubicBezTo>
                  <a:pt x="124" y="134"/>
                  <a:pt x="124" y="134"/>
                  <a:pt x="124" y="134"/>
                </a:cubicBezTo>
                <a:cubicBezTo>
                  <a:pt x="121" y="137"/>
                  <a:pt x="119" y="139"/>
                  <a:pt x="119" y="140"/>
                </a:cubicBezTo>
                <a:close/>
                <a:moveTo>
                  <a:pt x="117" y="131"/>
                </a:moveTo>
                <a:cubicBezTo>
                  <a:pt x="119" y="130"/>
                  <a:pt x="117" y="130"/>
                  <a:pt x="118" y="129"/>
                </a:cubicBezTo>
                <a:cubicBezTo>
                  <a:pt x="116" y="131"/>
                  <a:pt x="116" y="131"/>
                  <a:pt x="117" y="131"/>
                </a:cubicBezTo>
                <a:close/>
                <a:moveTo>
                  <a:pt x="112" y="133"/>
                </a:moveTo>
                <a:cubicBezTo>
                  <a:pt x="112" y="134"/>
                  <a:pt x="114" y="132"/>
                  <a:pt x="113" y="133"/>
                </a:cubicBezTo>
                <a:cubicBezTo>
                  <a:pt x="117" y="130"/>
                  <a:pt x="114" y="131"/>
                  <a:pt x="112" y="133"/>
                </a:cubicBezTo>
                <a:close/>
                <a:moveTo>
                  <a:pt x="117" y="138"/>
                </a:moveTo>
                <a:cubicBezTo>
                  <a:pt x="116" y="140"/>
                  <a:pt x="113" y="143"/>
                  <a:pt x="114" y="143"/>
                </a:cubicBezTo>
                <a:cubicBezTo>
                  <a:pt x="117" y="140"/>
                  <a:pt x="116" y="140"/>
                  <a:pt x="119" y="137"/>
                </a:cubicBezTo>
                <a:cubicBezTo>
                  <a:pt x="118" y="138"/>
                  <a:pt x="118" y="137"/>
                  <a:pt x="117" y="138"/>
                </a:cubicBezTo>
                <a:close/>
                <a:moveTo>
                  <a:pt x="114" y="157"/>
                </a:moveTo>
                <a:cubicBezTo>
                  <a:pt x="112" y="158"/>
                  <a:pt x="113" y="158"/>
                  <a:pt x="111" y="158"/>
                </a:cubicBezTo>
                <a:cubicBezTo>
                  <a:pt x="113" y="158"/>
                  <a:pt x="109" y="161"/>
                  <a:pt x="109" y="161"/>
                </a:cubicBezTo>
                <a:cubicBezTo>
                  <a:pt x="111" y="159"/>
                  <a:pt x="109" y="160"/>
                  <a:pt x="108" y="161"/>
                </a:cubicBezTo>
                <a:cubicBezTo>
                  <a:pt x="108" y="162"/>
                  <a:pt x="107" y="163"/>
                  <a:pt x="107" y="164"/>
                </a:cubicBezTo>
                <a:cubicBezTo>
                  <a:pt x="105" y="166"/>
                  <a:pt x="105" y="164"/>
                  <a:pt x="102" y="167"/>
                </a:cubicBezTo>
                <a:cubicBezTo>
                  <a:pt x="102" y="169"/>
                  <a:pt x="103" y="167"/>
                  <a:pt x="104" y="167"/>
                </a:cubicBezTo>
                <a:cubicBezTo>
                  <a:pt x="103" y="168"/>
                  <a:pt x="102" y="168"/>
                  <a:pt x="101" y="169"/>
                </a:cubicBezTo>
                <a:cubicBezTo>
                  <a:pt x="103" y="169"/>
                  <a:pt x="106" y="166"/>
                  <a:pt x="107" y="164"/>
                </a:cubicBezTo>
                <a:cubicBezTo>
                  <a:pt x="106" y="167"/>
                  <a:pt x="101" y="172"/>
                  <a:pt x="99" y="173"/>
                </a:cubicBezTo>
                <a:cubicBezTo>
                  <a:pt x="99" y="173"/>
                  <a:pt x="99" y="175"/>
                  <a:pt x="98" y="175"/>
                </a:cubicBezTo>
                <a:cubicBezTo>
                  <a:pt x="98" y="175"/>
                  <a:pt x="99" y="175"/>
                  <a:pt x="98" y="175"/>
                </a:cubicBezTo>
                <a:cubicBezTo>
                  <a:pt x="99" y="175"/>
                  <a:pt x="98" y="175"/>
                  <a:pt x="99" y="175"/>
                </a:cubicBezTo>
                <a:cubicBezTo>
                  <a:pt x="99" y="175"/>
                  <a:pt x="100" y="174"/>
                  <a:pt x="100" y="174"/>
                </a:cubicBezTo>
                <a:cubicBezTo>
                  <a:pt x="100" y="174"/>
                  <a:pt x="100" y="174"/>
                  <a:pt x="100" y="174"/>
                </a:cubicBezTo>
                <a:cubicBezTo>
                  <a:pt x="101" y="172"/>
                  <a:pt x="101" y="172"/>
                  <a:pt x="101" y="172"/>
                </a:cubicBezTo>
                <a:cubicBezTo>
                  <a:pt x="102" y="172"/>
                  <a:pt x="103" y="171"/>
                  <a:pt x="104" y="170"/>
                </a:cubicBezTo>
                <a:cubicBezTo>
                  <a:pt x="103" y="170"/>
                  <a:pt x="106" y="168"/>
                  <a:pt x="106" y="167"/>
                </a:cubicBezTo>
                <a:cubicBezTo>
                  <a:pt x="108" y="166"/>
                  <a:pt x="114" y="158"/>
                  <a:pt x="117" y="157"/>
                </a:cubicBezTo>
                <a:cubicBezTo>
                  <a:pt x="117" y="157"/>
                  <a:pt x="116" y="157"/>
                  <a:pt x="117" y="156"/>
                </a:cubicBezTo>
                <a:cubicBezTo>
                  <a:pt x="119" y="155"/>
                  <a:pt x="120" y="153"/>
                  <a:pt x="123" y="151"/>
                </a:cubicBezTo>
                <a:cubicBezTo>
                  <a:pt x="122" y="150"/>
                  <a:pt x="125" y="150"/>
                  <a:pt x="126" y="148"/>
                </a:cubicBezTo>
                <a:cubicBezTo>
                  <a:pt x="126" y="148"/>
                  <a:pt x="127" y="147"/>
                  <a:pt x="126" y="147"/>
                </a:cubicBezTo>
                <a:cubicBezTo>
                  <a:pt x="123" y="150"/>
                  <a:pt x="122" y="148"/>
                  <a:pt x="120" y="151"/>
                </a:cubicBezTo>
                <a:cubicBezTo>
                  <a:pt x="121" y="150"/>
                  <a:pt x="120" y="153"/>
                  <a:pt x="119" y="153"/>
                </a:cubicBezTo>
                <a:cubicBezTo>
                  <a:pt x="119" y="152"/>
                  <a:pt x="117" y="155"/>
                  <a:pt x="116" y="155"/>
                </a:cubicBezTo>
                <a:cubicBezTo>
                  <a:pt x="117" y="154"/>
                  <a:pt x="118" y="153"/>
                  <a:pt x="118" y="152"/>
                </a:cubicBezTo>
                <a:cubicBezTo>
                  <a:pt x="117" y="154"/>
                  <a:pt x="116" y="154"/>
                  <a:pt x="116" y="154"/>
                </a:cubicBezTo>
                <a:cubicBezTo>
                  <a:pt x="116" y="154"/>
                  <a:pt x="117" y="153"/>
                  <a:pt x="117" y="153"/>
                </a:cubicBezTo>
                <a:cubicBezTo>
                  <a:pt x="115" y="155"/>
                  <a:pt x="115" y="155"/>
                  <a:pt x="114" y="157"/>
                </a:cubicBezTo>
                <a:close/>
                <a:moveTo>
                  <a:pt x="119" y="151"/>
                </a:moveTo>
                <a:cubicBezTo>
                  <a:pt x="120" y="150"/>
                  <a:pt x="121" y="149"/>
                  <a:pt x="121" y="148"/>
                </a:cubicBezTo>
                <a:cubicBezTo>
                  <a:pt x="120" y="149"/>
                  <a:pt x="119" y="149"/>
                  <a:pt x="118" y="151"/>
                </a:cubicBezTo>
                <a:cubicBezTo>
                  <a:pt x="118" y="152"/>
                  <a:pt x="119" y="150"/>
                  <a:pt x="120" y="150"/>
                </a:cubicBezTo>
                <a:cubicBezTo>
                  <a:pt x="119" y="151"/>
                  <a:pt x="118" y="152"/>
                  <a:pt x="119" y="151"/>
                </a:cubicBezTo>
                <a:close/>
                <a:moveTo>
                  <a:pt x="124" y="159"/>
                </a:moveTo>
                <a:cubicBezTo>
                  <a:pt x="125" y="159"/>
                  <a:pt x="128" y="159"/>
                  <a:pt x="128" y="157"/>
                </a:cubicBezTo>
                <a:cubicBezTo>
                  <a:pt x="125" y="160"/>
                  <a:pt x="127" y="156"/>
                  <a:pt x="124" y="159"/>
                </a:cubicBezTo>
                <a:close/>
                <a:moveTo>
                  <a:pt x="112" y="142"/>
                </a:moveTo>
                <a:cubicBezTo>
                  <a:pt x="110" y="143"/>
                  <a:pt x="109" y="144"/>
                  <a:pt x="109" y="145"/>
                </a:cubicBezTo>
                <a:cubicBezTo>
                  <a:pt x="110" y="145"/>
                  <a:pt x="111" y="143"/>
                  <a:pt x="112" y="142"/>
                </a:cubicBezTo>
                <a:cubicBezTo>
                  <a:pt x="112" y="143"/>
                  <a:pt x="112" y="143"/>
                  <a:pt x="113" y="142"/>
                </a:cubicBezTo>
                <a:cubicBezTo>
                  <a:pt x="113" y="142"/>
                  <a:pt x="112" y="142"/>
                  <a:pt x="112" y="142"/>
                </a:cubicBezTo>
                <a:close/>
                <a:moveTo>
                  <a:pt x="114" y="170"/>
                </a:moveTo>
                <a:cubicBezTo>
                  <a:pt x="115" y="170"/>
                  <a:pt x="118" y="166"/>
                  <a:pt x="117" y="166"/>
                </a:cubicBezTo>
                <a:cubicBezTo>
                  <a:pt x="115" y="168"/>
                  <a:pt x="116" y="167"/>
                  <a:pt x="114" y="170"/>
                </a:cubicBezTo>
                <a:close/>
                <a:moveTo>
                  <a:pt x="88" y="182"/>
                </a:moveTo>
                <a:cubicBezTo>
                  <a:pt x="88" y="182"/>
                  <a:pt x="89" y="182"/>
                  <a:pt x="89" y="181"/>
                </a:cubicBezTo>
                <a:cubicBezTo>
                  <a:pt x="88" y="181"/>
                  <a:pt x="88" y="182"/>
                  <a:pt x="88" y="182"/>
                </a:cubicBezTo>
                <a:close/>
                <a:moveTo>
                  <a:pt x="108" y="144"/>
                </a:moveTo>
                <a:cubicBezTo>
                  <a:pt x="106" y="144"/>
                  <a:pt x="109" y="142"/>
                  <a:pt x="108" y="142"/>
                </a:cubicBezTo>
                <a:cubicBezTo>
                  <a:pt x="107" y="142"/>
                  <a:pt x="103" y="145"/>
                  <a:pt x="103" y="145"/>
                </a:cubicBezTo>
                <a:cubicBezTo>
                  <a:pt x="105" y="144"/>
                  <a:pt x="106" y="145"/>
                  <a:pt x="107" y="144"/>
                </a:cubicBezTo>
                <a:cubicBezTo>
                  <a:pt x="109" y="143"/>
                  <a:pt x="109" y="143"/>
                  <a:pt x="110" y="141"/>
                </a:cubicBezTo>
                <a:cubicBezTo>
                  <a:pt x="110" y="141"/>
                  <a:pt x="110" y="141"/>
                  <a:pt x="110" y="141"/>
                </a:cubicBezTo>
                <a:cubicBezTo>
                  <a:pt x="107" y="143"/>
                  <a:pt x="110" y="142"/>
                  <a:pt x="108" y="144"/>
                </a:cubicBezTo>
                <a:close/>
                <a:moveTo>
                  <a:pt x="802" y="247"/>
                </a:moveTo>
                <a:cubicBezTo>
                  <a:pt x="799" y="242"/>
                  <a:pt x="799" y="242"/>
                  <a:pt x="799" y="242"/>
                </a:cubicBezTo>
                <a:cubicBezTo>
                  <a:pt x="798" y="242"/>
                  <a:pt x="801" y="247"/>
                  <a:pt x="801" y="246"/>
                </a:cubicBezTo>
                <a:cubicBezTo>
                  <a:pt x="801" y="247"/>
                  <a:pt x="801" y="247"/>
                  <a:pt x="801" y="247"/>
                </a:cubicBezTo>
                <a:cubicBezTo>
                  <a:pt x="800" y="244"/>
                  <a:pt x="802" y="246"/>
                  <a:pt x="802" y="247"/>
                </a:cubicBezTo>
                <a:close/>
                <a:moveTo>
                  <a:pt x="596" y="44"/>
                </a:moveTo>
                <a:cubicBezTo>
                  <a:pt x="592" y="42"/>
                  <a:pt x="592" y="42"/>
                  <a:pt x="592" y="42"/>
                </a:cubicBezTo>
                <a:cubicBezTo>
                  <a:pt x="592" y="43"/>
                  <a:pt x="593" y="43"/>
                  <a:pt x="594" y="44"/>
                </a:cubicBezTo>
                <a:cubicBezTo>
                  <a:pt x="591" y="43"/>
                  <a:pt x="597" y="45"/>
                  <a:pt x="596" y="44"/>
                </a:cubicBezTo>
                <a:close/>
                <a:moveTo>
                  <a:pt x="493" y="9"/>
                </a:moveTo>
                <a:cubicBezTo>
                  <a:pt x="495" y="10"/>
                  <a:pt x="500" y="11"/>
                  <a:pt x="502" y="11"/>
                </a:cubicBezTo>
                <a:cubicBezTo>
                  <a:pt x="500" y="10"/>
                  <a:pt x="492" y="9"/>
                  <a:pt x="493" y="9"/>
                </a:cubicBezTo>
                <a:close/>
                <a:moveTo>
                  <a:pt x="467" y="5"/>
                </a:moveTo>
                <a:cubicBezTo>
                  <a:pt x="469" y="5"/>
                  <a:pt x="477" y="7"/>
                  <a:pt x="475" y="6"/>
                </a:cubicBezTo>
                <a:cubicBezTo>
                  <a:pt x="473" y="6"/>
                  <a:pt x="466" y="4"/>
                  <a:pt x="466" y="5"/>
                </a:cubicBezTo>
                <a:cubicBezTo>
                  <a:pt x="467" y="6"/>
                  <a:pt x="469" y="7"/>
                  <a:pt x="470" y="6"/>
                </a:cubicBezTo>
                <a:cubicBezTo>
                  <a:pt x="469" y="6"/>
                  <a:pt x="468" y="6"/>
                  <a:pt x="467" y="5"/>
                </a:cubicBezTo>
                <a:close/>
                <a:moveTo>
                  <a:pt x="411" y="0"/>
                </a:moveTo>
                <a:cubicBezTo>
                  <a:pt x="410" y="0"/>
                  <a:pt x="406" y="0"/>
                  <a:pt x="404" y="1"/>
                </a:cubicBezTo>
                <a:cubicBezTo>
                  <a:pt x="407" y="1"/>
                  <a:pt x="411" y="1"/>
                  <a:pt x="414" y="1"/>
                </a:cubicBezTo>
                <a:cubicBezTo>
                  <a:pt x="413" y="1"/>
                  <a:pt x="411" y="1"/>
                  <a:pt x="412" y="1"/>
                </a:cubicBezTo>
                <a:cubicBezTo>
                  <a:pt x="413" y="1"/>
                  <a:pt x="417" y="0"/>
                  <a:pt x="415" y="0"/>
                </a:cubicBezTo>
                <a:cubicBezTo>
                  <a:pt x="415" y="1"/>
                  <a:pt x="413" y="0"/>
                  <a:pt x="411" y="0"/>
                </a:cubicBezTo>
                <a:close/>
                <a:moveTo>
                  <a:pt x="394" y="50"/>
                </a:moveTo>
                <a:cubicBezTo>
                  <a:pt x="394" y="49"/>
                  <a:pt x="401" y="50"/>
                  <a:pt x="399" y="50"/>
                </a:cubicBezTo>
                <a:cubicBezTo>
                  <a:pt x="399" y="49"/>
                  <a:pt x="391" y="49"/>
                  <a:pt x="394" y="50"/>
                </a:cubicBezTo>
                <a:close/>
                <a:moveTo>
                  <a:pt x="388" y="50"/>
                </a:moveTo>
                <a:cubicBezTo>
                  <a:pt x="389" y="50"/>
                  <a:pt x="391" y="51"/>
                  <a:pt x="393" y="50"/>
                </a:cubicBezTo>
                <a:cubicBezTo>
                  <a:pt x="384" y="50"/>
                  <a:pt x="379" y="50"/>
                  <a:pt x="376" y="50"/>
                </a:cubicBezTo>
                <a:cubicBezTo>
                  <a:pt x="379" y="50"/>
                  <a:pt x="373" y="51"/>
                  <a:pt x="376" y="51"/>
                </a:cubicBezTo>
                <a:cubicBezTo>
                  <a:pt x="378" y="50"/>
                  <a:pt x="383" y="51"/>
                  <a:pt x="382" y="50"/>
                </a:cubicBezTo>
                <a:cubicBezTo>
                  <a:pt x="383" y="50"/>
                  <a:pt x="386" y="50"/>
                  <a:pt x="388" y="50"/>
                </a:cubicBezTo>
                <a:close/>
                <a:moveTo>
                  <a:pt x="350" y="7"/>
                </a:moveTo>
                <a:cubicBezTo>
                  <a:pt x="351" y="6"/>
                  <a:pt x="358" y="6"/>
                  <a:pt x="359" y="6"/>
                </a:cubicBezTo>
                <a:cubicBezTo>
                  <a:pt x="355" y="6"/>
                  <a:pt x="351" y="7"/>
                  <a:pt x="349" y="7"/>
                </a:cubicBezTo>
                <a:cubicBezTo>
                  <a:pt x="350" y="7"/>
                  <a:pt x="350" y="7"/>
                  <a:pt x="350" y="7"/>
                </a:cubicBezTo>
                <a:cubicBezTo>
                  <a:pt x="350" y="7"/>
                  <a:pt x="349" y="7"/>
                  <a:pt x="350" y="7"/>
                </a:cubicBezTo>
                <a:close/>
                <a:moveTo>
                  <a:pt x="350" y="8"/>
                </a:moveTo>
                <a:cubicBezTo>
                  <a:pt x="350" y="8"/>
                  <a:pt x="350" y="8"/>
                  <a:pt x="351" y="7"/>
                </a:cubicBezTo>
                <a:cubicBezTo>
                  <a:pt x="348" y="8"/>
                  <a:pt x="348" y="7"/>
                  <a:pt x="347" y="7"/>
                </a:cubicBezTo>
                <a:cubicBezTo>
                  <a:pt x="346" y="8"/>
                  <a:pt x="345" y="8"/>
                  <a:pt x="343" y="8"/>
                </a:cubicBezTo>
                <a:cubicBezTo>
                  <a:pt x="342" y="8"/>
                  <a:pt x="336" y="8"/>
                  <a:pt x="335" y="9"/>
                </a:cubicBezTo>
                <a:cubicBezTo>
                  <a:pt x="336" y="9"/>
                  <a:pt x="337" y="9"/>
                  <a:pt x="337" y="9"/>
                </a:cubicBezTo>
                <a:cubicBezTo>
                  <a:pt x="334" y="10"/>
                  <a:pt x="330" y="9"/>
                  <a:pt x="327" y="11"/>
                </a:cubicBezTo>
                <a:cubicBezTo>
                  <a:pt x="331" y="11"/>
                  <a:pt x="333" y="10"/>
                  <a:pt x="336" y="10"/>
                </a:cubicBezTo>
                <a:cubicBezTo>
                  <a:pt x="336" y="9"/>
                  <a:pt x="337" y="9"/>
                  <a:pt x="339" y="9"/>
                </a:cubicBezTo>
                <a:cubicBezTo>
                  <a:pt x="339" y="9"/>
                  <a:pt x="336" y="9"/>
                  <a:pt x="337" y="10"/>
                </a:cubicBezTo>
                <a:cubicBezTo>
                  <a:pt x="342" y="9"/>
                  <a:pt x="350" y="9"/>
                  <a:pt x="351" y="8"/>
                </a:cubicBezTo>
                <a:cubicBezTo>
                  <a:pt x="350" y="8"/>
                  <a:pt x="350" y="8"/>
                  <a:pt x="350" y="8"/>
                </a:cubicBezTo>
                <a:close/>
                <a:moveTo>
                  <a:pt x="314" y="14"/>
                </a:moveTo>
                <a:cubicBezTo>
                  <a:pt x="315" y="14"/>
                  <a:pt x="322" y="13"/>
                  <a:pt x="320" y="13"/>
                </a:cubicBezTo>
                <a:cubicBezTo>
                  <a:pt x="317" y="14"/>
                  <a:pt x="316" y="13"/>
                  <a:pt x="314" y="14"/>
                </a:cubicBezTo>
                <a:close/>
                <a:moveTo>
                  <a:pt x="241" y="77"/>
                </a:moveTo>
                <a:cubicBezTo>
                  <a:pt x="240" y="77"/>
                  <a:pt x="241" y="75"/>
                  <a:pt x="240" y="76"/>
                </a:cubicBezTo>
                <a:cubicBezTo>
                  <a:pt x="240" y="76"/>
                  <a:pt x="238" y="77"/>
                  <a:pt x="238" y="77"/>
                </a:cubicBezTo>
                <a:cubicBezTo>
                  <a:pt x="238" y="77"/>
                  <a:pt x="238" y="77"/>
                  <a:pt x="237" y="77"/>
                </a:cubicBezTo>
                <a:cubicBezTo>
                  <a:pt x="237" y="78"/>
                  <a:pt x="238" y="77"/>
                  <a:pt x="238" y="77"/>
                </a:cubicBezTo>
                <a:cubicBezTo>
                  <a:pt x="236" y="79"/>
                  <a:pt x="236" y="78"/>
                  <a:pt x="235" y="79"/>
                </a:cubicBezTo>
                <a:cubicBezTo>
                  <a:pt x="236" y="79"/>
                  <a:pt x="240" y="77"/>
                  <a:pt x="241" y="77"/>
                </a:cubicBezTo>
                <a:close/>
                <a:moveTo>
                  <a:pt x="232" y="80"/>
                </a:moveTo>
                <a:cubicBezTo>
                  <a:pt x="232" y="81"/>
                  <a:pt x="233" y="81"/>
                  <a:pt x="228" y="83"/>
                </a:cubicBezTo>
                <a:cubicBezTo>
                  <a:pt x="231" y="83"/>
                  <a:pt x="236" y="79"/>
                  <a:pt x="241" y="77"/>
                </a:cubicBezTo>
                <a:cubicBezTo>
                  <a:pt x="238" y="78"/>
                  <a:pt x="235" y="79"/>
                  <a:pt x="232" y="80"/>
                </a:cubicBezTo>
                <a:close/>
                <a:moveTo>
                  <a:pt x="222" y="84"/>
                </a:moveTo>
                <a:cubicBezTo>
                  <a:pt x="220" y="86"/>
                  <a:pt x="220" y="87"/>
                  <a:pt x="223" y="86"/>
                </a:cubicBezTo>
                <a:cubicBezTo>
                  <a:pt x="221" y="87"/>
                  <a:pt x="219" y="89"/>
                  <a:pt x="217" y="89"/>
                </a:cubicBezTo>
                <a:cubicBezTo>
                  <a:pt x="217" y="88"/>
                  <a:pt x="219" y="88"/>
                  <a:pt x="219" y="87"/>
                </a:cubicBezTo>
                <a:cubicBezTo>
                  <a:pt x="217" y="88"/>
                  <a:pt x="213" y="90"/>
                  <a:pt x="213" y="91"/>
                </a:cubicBezTo>
                <a:cubicBezTo>
                  <a:pt x="218" y="88"/>
                  <a:pt x="214" y="91"/>
                  <a:pt x="215" y="91"/>
                </a:cubicBezTo>
                <a:cubicBezTo>
                  <a:pt x="219" y="89"/>
                  <a:pt x="219" y="89"/>
                  <a:pt x="219" y="89"/>
                </a:cubicBezTo>
                <a:cubicBezTo>
                  <a:pt x="219" y="88"/>
                  <a:pt x="224" y="86"/>
                  <a:pt x="226" y="84"/>
                </a:cubicBezTo>
                <a:cubicBezTo>
                  <a:pt x="222" y="86"/>
                  <a:pt x="223" y="85"/>
                  <a:pt x="222" y="84"/>
                </a:cubicBezTo>
                <a:close/>
                <a:moveTo>
                  <a:pt x="214" y="101"/>
                </a:moveTo>
                <a:cubicBezTo>
                  <a:pt x="214" y="103"/>
                  <a:pt x="210" y="104"/>
                  <a:pt x="207" y="106"/>
                </a:cubicBezTo>
                <a:cubicBezTo>
                  <a:pt x="211" y="104"/>
                  <a:pt x="216" y="101"/>
                  <a:pt x="220" y="99"/>
                </a:cubicBezTo>
                <a:cubicBezTo>
                  <a:pt x="219" y="99"/>
                  <a:pt x="215" y="102"/>
                  <a:pt x="215" y="101"/>
                </a:cubicBezTo>
                <a:cubicBezTo>
                  <a:pt x="219" y="99"/>
                  <a:pt x="223" y="98"/>
                  <a:pt x="226" y="95"/>
                </a:cubicBezTo>
                <a:cubicBezTo>
                  <a:pt x="223" y="97"/>
                  <a:pt x="219" y="98"/>
                  <a:pt x="214" y="101"/>
                </a:cubicBezTo>
                <a:close/>
                <a:moveTo>
                  <a:pt x="211" y="86"/>
                </a:moveTo>
                <a:cubicBezTo>
                  <a:pt x="213" y="83"/>
                  <a:pt x="216" y="83"/>
                  <a:pt x="217" y="81"/>
                </a:cubicBezTo>
                <a:cubicBezTo>
                  <a:pt x="214" y="83"/>
                  <a:pt x="214" y="82"/>
                  <a:pt x="210" y="84"/>
                </a:cubicBezTo>
                <a:cubicBezTo>
                  <a:pt x="210" y="85"/>
                  <a:pt x="208" y="86"/>
                  <a:pt x="211" y="86"/>
                </a:cubicBezTo>
                <a:close/>
                <a:moveTo>
                  <a:pt x="210" y="82"/>
                </a:moveTo>
                <a:cubicBezTo>
                  <a:pt x="211" y="82"/>
                  <a:pt x="207" y="83"/>
                  <a:pt x="208" y="84"/>
                </a:cubicBezTo>
                <a:cubicBezTo>
                  <a:pt x="211" y="83"/>
                  <a:pt x="211" y="82"/>
                  <a:pt x="213" y="80"/>
                </a:cubicBezTo>
                <a:cubicBezTo>
                  <a:pt x="214" y="80"/>
                  <a:pt x="214" y="81"/>
                  <a:pt x="215" y="80"/>
                </a:cubicBezTo>
                <a:cubicBezTo>
                  <a:pt x="216" y="79"/>
                  <a:pt x="212" y="81"/>
                  <a:pt x="210" y="82"/>
                </a:cubicBezTo>
                <a:close/>
                <a:moveTo>
                  <a:pt x="203" y="100"/>
                </a:moveTo>
                <a:cubicBezTo>
                  <a:pt x="201" y="100"/>
                  <a:pt x="199" y="102"/>
                  <a:pt x="199" y="102"/>
                </a:cubicBezTo>
                <a:cubicBezTo>
                  <a:pt x="201" y="100"/>
                  <a:pt x="205" y="97"/>
                  <a:pt x="207" y="96"/>
                </a:cubicBezTo>
                <a:cubicBezTo>
                  <a:pt x="207" y="96"/>
                  <a:pt x="213" y="92"/>
                  <a:pt x="212" y="92"/>
                </a:cubicBezTo>
                <a:cubicBezTo>
                  <a:pt x="211" y="93"/>
                  <a:pt x="207" y="95"/>
                  <a:pt x="207" y="96"/>
                </a:cubicBezTo>
                <a:cubicBezTo>
                  <a:pt x="204" y="97"/>
                  <a:pt x="201" y="100"/>
                  <a:pt x="197" y="101"/>
                </a:cubicBezTo>
                <a:cubicBezTo>
                  <a:pt x="197" y="102"/>
                  <a:pt x="198" y="101"/>
                  <a:pt x="196" y="103"/>
                </a:cubicBezTo>
                <a:cubicBezTo>
                  <a:pt x="192" y="104"/>
                  <a:pt x="183" y="110"/>
                  <a:pt x="180" y="114"/>
                </a:cubicBezTo>
                <a:cubicBezTo>
                  <a:pt x="175" y="115"/>
                  <a:pt x="167" y="123"/>
                  <a:pt x="160" y="128"/>
                </a:cubicBezTo>
                <a:cubicBezTo>
                  <a:pt x="161" y="128"/>
                  <a:pt x="163" y="127"/>
                  <a:pt x="161" y="129"/>
                </a:cubicBezTo>
                <a:cubicBezTo>
                  <a:pt x="164" y="127"/>
                  <a:pt x="163" y="126"/>
                  <a:pt x="165" y="125"/>
                </a:cubicBezTo>
                <a:cubicBezTo>
                  <a:pt x="166" y="125"/>
                  <a:pt x="167" y="124"/>
                  <a:pt x="165" y="127"/>
                </a:cubicBezTo>
                <a:cubicBezTo>
                  <a:pt x="167" y="125"/>
                  <a:pt x="166" y="126"/>
                  <a:pt x="168" y="125"/>
                </a:cubicBezTo>
                <a:cubicBezTo>
                  <a:pt x="168" y="124"/>
                  <a:pt x="169" y="122"/>
                  <a:pt x="167" y="123"/>
                </a:cubicBezTo>
                <a:cubicBezTo>
                  <a:pt x="172" y="119"/>
                  <a:pt x="174" y="119"/>
                  <a:pt x="177" y="116"/>
                </a:cubicBezTo>
                <a:cubicBezTo>
                  <a:pt x="176" y="117"/>
                  <a:pt x="178" y="116"/>
                  <a:pt x="179" y="115"/>
                </a:cubicBezTo>
                <a:cubicBezTo>
                  <a:pt x="179" y="115"/>
                  <a:pt x="178" y="115"/>
                  <a:pt x="179" y="114"/>
                </a:cubicBezTo>
                <a:cubicBezTo>
                  <a:pt x="183" y="113"/>
                  <a:pt x="189" y="107"/>
                  <a:pt x="193" y="105"/>
                </a:cubicBezTo>
                <a:cubicBezTo>
                  <a:pt x="193" y="105"/>
                  <a:pt x="192" y="105"/>
                  <a:pt x="194" y="104"/>
                </a:cubicBezTo>
                <a:cubicBezTo>
                  <a:pt x="193" y="106"/>
                  <a:pt x="196" y="103"/>
                  <a:pt x="198" y="102"/>
                </a:cubicBezTo>
                <a:cubicBezTo>
                  <a:pt x="198" y="103"/>
                  <a:pt x="189" y="108"/>
                  <a:pt x="194" y="106"/>
                </a:cubicBezTo>
                <a:cubicBezTo>
                  <a:pt x="192" y="107"/>
                  <a:pt x="190" y="108"/>
                  <a:pt x="190" y="108"/>
                </a:cubicBezTo>
                <a:cubicBezTo>
                  <a:pt x="194" y="106"/>
                  <a:pt x="190" y="109"/>
                  <a:pt x="189" y="110"/>
                </a:cubicBezTo>
                <a:cubicBezTo>
                  <a:pt x="194" y="107"/>
                  <a:pt x="196" y="106"/>
                  <a:pt x="200" y="103"/>
                </a:cubicBezTo>
                <a:cubicBezTo>
                  <a:pt x="201" y="103"/>
                  <a:pt x="200" y="103"/>
                  <a:pt x="201" y="102"/>
                </a:cubicBezTo>
                <a:cubicBezTo>
                  <a:pt x="202" y="102"/>
                  <a:pt x="205" y="100"/>
                  <a:pt x="205" y="99"/>
                </a:cubicBezTo>
                <a:cubicBezTo>
                  <a:pt x="207" y="98"/>
                  <a:pt x="210" y="96"/>
                  <a:pt x="210" y="97"/>
                </a:cubicBezTo>
                <a:cubicBezTo>
                  <a:pt x="212" y="96"/>
                  <a:pt x="213" y="96"/>
                  <a:pt x="213" y="95"/>
                </a:cubicBezTo>
                <a:cubicBezTo>
                  <a:pt x="211" y="96"/>
                  <a:pt x="215" y="94"/>
                  <a:pt x="214" y="94"/>
                </a:cubicBezTo>
                <a:cubicBezTo>
                  <a:pt x="213" y="95"/>
                  <a:pt x="213" y="94"/>
                  <a:pt x="211" y="95"/>
                </a:cubicBezTo>
                <a:cubicBezTo>
                  <a:pt x="211" y="96"/>
                  <a:pt x="207" y="98"/>
                  <a:pt x="205" y="99"/>
                </a:cubicBezTo>
                <a:cubicBezTo>
                  <a:pt x="205" y="99"/>
                  <a:pt x="202" y="101"/>
                  <a:pt x="202" y="101"/>
                </a:cubicBezTo>
                <a:cubicBezTo>
                  <a:pt x="200" y="101"/>
                  <a:pt x="205" y="99"/>
                  <a:pt x="203" y="100"/>
                </a:cubicBezTo>
                <a:close/>
                <a:moveTo>
                  <a:pt x="201" y="82"/>
                </a:moveTo>
                <a:cubicBezTo>
                  <a:pt x="203" y="81"/>
                  <a:pt x="203" y="82"/>
                  <a:pt x="205" y="81"/>
                </a:cubicBezTo>
                <a:cubicBezTo>
                  <a:pt x="205" y="80"/>
                  <a:pt x="206" y="80"/>
                  <a:pt x="205" y="79"/>
                </a:cubicBezTo>
                <a:cubicBezTo>
                  <a:pt x="203" y="80"/>
                  <a:pt x="202" y="81"/>
                  <a:pt x="201" y="82"/>
                </a:cubicBezTo>
                <a:close/>
                <a:moveTo>
                  <a:pt x="192" y="82"/>
                </a:moveTo>
                <a:cubicBezTo>
                  <a:pt x="192" y="81"/>
                  <a:pt x="194" y="80"/>
                  <a:pt x="194" y="80"/>
                </a:cubicBezTo>
                <a:cubicBezTo>
                  <a:pt x="192" y="80"/>
                  <a:pt x="187" y="84"/>
                  <a:pt x="190" y="83"/>
                </a:cubicBezTo>
                <a:cubicBezTo>
                  <a:pt x="192" y="81"/>
                  <a:pt x="191" y="83"/>
                  <a:pt x="191" y="83"/>
                </a:cubicBezTo>
                <a:cubicBezTo>
                  <a:pt x="192" y="83"/>
                  <a:pt x="194" y="82"/>
                  <a:pt x="195" y="81"/>
                </a:cubicBezTo>
                <a:cubicBezTo>
                  <a:pt x="195" y="81"/>
                  <a:pt x="195" y="82"/>
                  <a:pt x="195" y="82"/>
                </a:cubicBezTo>
                <a:cubicBezTo>
                  <a:pt x="197" y="81"/>
                  <a:pt x="197" y="81"/>
                  <a:pt x="197" y="81"/>
                </a:cubicBezTo>
                <a:cubicBezTo>
                  <a:pt x="197" y="80"/>
                  <a:pt x="197" y="80"/>
                  <a:pt x="197" y="80"/>
                </a:cubicBezTo>
                <a:cubicBezTo>
                  <a:pt x="194" y="82"/>
                  <a:pt x="193" y="81"/>
                  <a:pt x="192" y="82"/>
                </a:cubicBezTo>
                <a:close/>
                <a:moveTo>
                  <a:pt x="196" y="84"/>
                </a:moveTo>
                <a:cubicBezTo>
                  <a:pt x="193" y="86"/>
                  <a:pt x="192" y="85"/>
                  <a:pt x="192" y="85"/>
                </a:cubicBezTo>
                <a:cubicBezTo>
                  <a:pt x="192" y="86"/>
                  <a:pt x="191" y="86"/>
                  <a:pt x="191" y="87"/>
                </a:cubicBezTo>
                <a:cubicBezTo>
                  <a:pt x="193" y="86"/>
                  <a:pt x="192" y="87"/>
                  <a:pt x="194" y="87"/>
                </a:cubicBezTo>
                <a:cubicBezTo>
                  <a:pt x="196" y="86"/>
                  <a:pt x="195" y="86"/>
                  <a:pt x="197" y="85"/>
                </a:cubicBezTo>
                <a:cubicBezTo>
                  <a:pt x="198" y="84"/>
                  <a:pt x="195" y="86"/>
                  <a:pt x="195" y="85"/>
                </a:cubicBezTo>
                <a:cubicBezTo>
                  <a:pt x="195" y="85"/>
                  <a:pt x="198" y="82"/>
                  <a:pt x="196" y="83"/>
                </a:cubicBezTo>
                <a:cubicBezTo>
                  <a:pt x="196" y="83"/>
                  <a:pt x="196" y="83"/>
                  <a:pt x="196" y="84"/>
                </a:cubicBezTo>
                <a:close/>
                <a:moveTo>
                  <a:pt x="187" y="104"/>
                </a:moveTo>
                <a:cubicBezTo>
                  <a:pt x="188" y="103"/>
                  <a:pt x="188" y="105"/>
                  <a:pt x="192" y="103"/>
                </a:cubicBezTo>
                <a:cubicBezTo>
                  <a:pt x="192" y="102"/>
                  <a:pt x="190" y="103"/>
                  <a:pt x="190" y="103"/>
                </a:cubicBezTo>
                <a:cubicBezTo>
                  <a:pt x="192" y="102"/>
                  <a:pt x="193" y="101"/>
                  <a:pt x="194" y="99"/>
                </a:cubicBezTo>
                <a:cubicBezTo>
                  <a:pt x="195" y="100"/>
                  <a:pt x="195" y="100"/>
                  <a:pt x="195" y="100"/>
                </a:cubicBezTo>
                <a:cubicBezTo>
                  <a:pt x="197" y="98"/>
                  <a:pt x="198" y="98"/>
                  <a:pt x="201" y="96"/>
                </a:cubicBezTo>
                <a:cubicBezTo>
                  <a:pt x="200" y="96"/>
                  <a:pt x="201" y="94"/>
                  <a:pt x="200" y="95"/>
                </a:cubicBezTo>
                <a:cubicBezTo>
                  <a:pt x="196" y="97"/>
                  <a:pt x="191" y="101"/>
                  <a:pt x="189" y="102"/>
                </a:cubicBezTo>
                <a:cubicBezTo>
                  <a:pt x="188" y="103"/>
                  <a:pt x="191" y="102"/>
                  <a:pt x="188" y="103"/>
                </a:cubicBezTo>
                <a:cubicBezTo>
                  <a:pt x="188" y="103"/>
                  <a:pt x="187" y="104"/>
                  <a:pt x="187" y="104"/>
                </a:cubicBezTo>
                <a:close/>
                <a:moveTo>
                  <a:pt x="198" y="107"/>
                </a:moveTo>
                <a:cubicBezTo>
                  <a:pt x="200" y="106"/>
                  <a:pt x="201" y="105"/>
                  <a:pt x="202" y="105"/>
                </a:cubicBezTo>
                <a:cubicBezTo>
                  <a:pt x="201" y="105"/>
                  <a:pt x="199" y="106"/>
                  <a:pt x="198" y="106"/>
                </a:cubicBezTo>
                <a:cubicBezTo>
                  <a:pt x="200" y="105"/>
                  <a:pt x="200" y="104"/>
                  <a:pt x="202" y="103"/>
                </a:cubicBezTo>
                <a:cubicBezTo>
                  <a:pt x="201" y="104"/>
                  <a:pt x="203" y="102"/>
                  <a:pt x="205" y="102"/>
                </a:cubicBezTo>
                <a:cubicBezTo>
                  <a:pt x="204" y="101"/>
                  <a:pt x="200" y="104"/>
                  <a:pt x="197" y="105"/>
                </a:cubicBezTo>
                <a:cubicBezTo>
                  <a:pt x="199" y="105"/>
                  <a:pt x="196" y="108"/>
                  <a:pt x="198" y="107"/>
                </a:cubicBezTo>
                <a:close/>
                <a:moveTo>
                  <a:pt x="186" y="99"/>
                </a:moveTo>
                <a:cubicBezTo>
                  <a:pt x="183" y="101"/>
                  <a:pt x="173" y="108"/>
                  <a:pt x="182" y="103"/>
                </a:cubicBezTo>
                <a:cubicBezTo>
                  <a:pt x="183" y="101"/>
                  <a:pt x="187" y="99"/>
                  <a:pt x="183" y="102"/>
                </a:cubicBezTo>
                <a:cubicBezTo>
                  <a:pt x="186" y="100"/>
                  <a:pt x="187" y="99"/>
                  <a:pt x="188" y="98"/>
                </a:cubicBezTo>
                <a:cubicBezTo>
                  <a:pt x="187" y="99"/>
                  <a:pt x="187" y="98"/>
                  <a:pt x="186" y="99"/>
                </a:cubicBezTo>
                <a:close/>
                <a:moveTo>
                  <a:pt x="169" y="89"/>
                </a:moveTo>
                <a:cubicBezTo>
                  <a:pt x="171" y="89"/>
                  <a:pt x="178" y="83"/>
                  <a:pt x="174" y="85"/>
                </a:cubicBezTo>
                <a:cubicBezTo>
                  <a:pt x="174" y="86"/>
                  <a:pt x="171" y="88"/>
                  <a:pt x="169" y="89"/>
                </a:cubicBezTo>
                <a:close/>
                <a:moveTo>
                  <a:pt x="182" y="123"/>
                </a:moveTo>
                <a:cubicBezTo>
                  <a:pt x="187" y="120"/>
                  <a:pt x="189" y="118"/>
                  <a:pt x="195" y="114"/>
                </a:cubicBezTo>
                <a:cubicBezTo>
                  <a:pt x="194" y="115"/>
                  <a:pt x="195" y="113"/>
                  <a:pt x="194" y="114"/>
                </a:cubicBezTo>
                <a:cubicBezTo>
                  <a:pt x="194" y="114"/>
                  <a:pt x="191" y="117"/>
                  <a:pt x="189" y="118"/>
                </a:cubicBezTo>
                <a:cubicBezTo>
                  <a:pt x="190" y="117"/>
                  <a:pt x="190" y="117"/>
                  <a:pt x="190" y="116"/>
                </a:cubicBezTo>
                <a:cubicBezTo>
                  <a:pt x="188" y="118"/>
                  <a:pt x="186" y="120"/>
                  <a:pt x="183" y="121"/>
                </a:cubicBezTo>
                <a:cubicBezTo>
                  <a:pt x="184" y="121"/>
                  <a:pt x="184" y="120"/>
                  <a:pt x="183" y="121"/>
                </a:cubicBezTo>
                <a:cubicBezTo>
                  <a:pt x="183" y="121"/>
                  <a:pt x="182" y="123"/>
                  <a:pt x="182" y="123"/>
                </a:cubicBezTo>
                <a:close/>
                <a:moveTo>
                  <a:pt x="178" y="110"/>
                </a:moveTo>
                <a:cubicBezTo>
                  <a:pt x="180" y="109"/>
                  <a:pt x="180" y="109"/>
                  <a:pt x="180" y="109"/>
                </a:cubicBezTo>
                <a:cubicBezTo>
                  <a:pt x="178" y="111"/>
                  <a:pt x="182" y="109"/>
                  <a:pt x="182" y="108"/>
                </a:cubicBezTo>
                <a:cubicBezTo>
                  <a:pt x="181" y="108"/>
                  <a:pt x="179" y="109"/>
                  <a:pt x="178" y="110"/>
                </a:cubicBezTo>
                <a:close/>
                <a:moveTo>
                  <a:pt x="178" y="117"/>
                </a:moveTo>
                <a:cubicBezTo>
                  <a:pt x="177" y="118"/>
                  <a:pt x="176" y="118"/>
                  <a:pt x="175" y="120"/>
                </a:cubicBezTo>
                <a:cubicBezTo>
                  <a:pt x="176" y="119"/>
                  <a:pt x="176" y="119"/>
                  <a:pt x="177" y="119"/>
                </a:cubicBezTo>
                <a:cubicBezTo>
                  <a:pt x="178" y="118"/>
                  <a:pt x="182" y="116"/>
                  <a:pt x="181" y="116"/>
                </a:cubicBezTo>
                <a:cubicBezTo>
                  <a:pt x="177" y="119"/>
                  <a:pt x="181" y="114"/>
                  <a:pt x="178" y="117"/>
                </a:cubicBezTo>
                <a:close/>
                <a:moveTo>
                  <a:pt x="164" y="122"/>
                </a:moveTo>
                <a:cubicBezTo>
                  <a:pt x="169" y="117"/>
                  <a:pt x="172" y="117"/>
                  <a:pt x="177" y="112"/>
                </a:cubicBezTo>
                <a:cubicBezTo>
                  <a:pt x="174" y="114"/>
                  <a:pt x="176" y="112"/>
                  <a:pt x="174" y="113"/>
                </a:cubicBezTo>
                <a:cubicBezTo>
                  <a:pt x="171" y="116"/>
                  <a:pt x="165" y="119"/>
                  <a:pt x="164" y="122"/>
                </a:cubicBezTo>
                <a:close/>
                <a:moveTo>
                  <a:pt x="159" y="111"/>
                </a:moveTo>
                <a:cubicBezTo>
                  <a:pt x="160" y="110"/>
                  <a:pt x="164" y="108"/>
                  <a:pt x="164" y="107"/>
                </a:cubicBezTo>
                <a:cubicBezTo>
                  <a:pt x="162" y="109"/>
                  <a:pt x="158" y="112"/>
                  <a:pt x="159" y="111"/>
                </a:cubicBezTo>
                <a:close/>
                <a:moveTo>
                  <a:pt x="170" y="123"/>
                </a:moveTo>
                <a:cubicBezTo>
                  <a:pt x="172" y="122"/>
                  <a:pt x="175" y="118"/>
                  <a:pt x="172" y="121"/>
                </a:cubicBezTo>
                <a:cubicBezTo>
                  <a:pt x="172" y="121"/>
                  <a:pt x="173" y="120"/>
                  <a:pt x="173" y="121"/>
                </a:cubicBezTo>
                <a:cubicBezTo>
                  <a:pt x="172" y="121"/>
                  <a:pt x="168" y="124"/>
                  <a:pt x="170" y="123"/>
                </a:cubicBezTo>
                <a:close/>
                <a:moveTo>
                  <a:pt x="125" y="113"/>
                </a:moveTo>
                <a:cubicBezTo>
                  <a:pt x="123" y="114"/>
                  <a:pt x="123" y="114"/>
                  <a:pt x="123" y="114"/>
                </a:cubicBezTo>
                <a:cubicBezTo>
                  <a:pt x="123" y="115"/>
                  <a:pt x="122" y="116"/>
                  <a:pt x="123" y="115"/>
                </a:cubicBezTo>
                <a:cubicBezTo>
                  <a:pt x="125" y="114"/>
                  <a:pt x="125" y="114"/>
                  <a:pt x="125" y="113"/>
                </a:cubicBezTo>
                <a:cubicBezTo>
                  <a:pt x="125" y="113"/>
                  <a:pt x="126" y="113"/>
                  <a:pt x="126" y="112"/>
                </a:cubicBezTo>
                <a:cubicBezTo>
                  <a:pt x="125" y="113"/>
                  <a:pt x="125" y="113"/>
                  <a:pt x="125" y="113"/>
                </a:cubicBezTo>
                <a:close/>
                <a:moveTo>
                  <a:pt x="107" y="138"/>
                </a:moveTo>
                <a:cubicBezTo>
                  <a:pt x="106" y="138"/>
                  <a:pt x="106" y="138"/>
                  <a:pt x="105" y="139"/>
                </a:cubicBezTo>
                <a:cubicBezTo>
                  <a:pt x="105" y="138"/>
                  <a:pt x="107" y="136"/>
                  <a:pt x="107" y="136"/>
                </a:cubicBezTo>
                <a:cubicBezTo>
                  <a:pt x="105" y="138"/>
                  <a:pt x="104" y="139"/>
                  <a:pt x="102" y="141"/>
                </a:cubicBezTo>
                <a:cubicBezTo>
                  <a:pt x="104" y="141"/>
                  <a:pt x="106" y="140"/>
                  <a:pt x="108" y="139"/>
                </a:cubicBezTo>
                <a:cubicBezTo>
                  <a:pt x="104" y="141"/>
                  <a:pt x="110" y="134"/>
                  <a:pt x="107" y="137"/>
                </a:cubicBezTo>
                <a:cubicBezTo>
                  <a:pt x="107" y="137"/>
                  <a:pt x="107" y="137"/>
                  <a:pt x="107" y="138"/>
                </a:cubicBezTo>
                <a:close/>
                <a:moveTo>
                  <a:pt x="128" y="160"/>
                </a:moveTo>
                <a:cubicBezTo>
                  <a:pt x="127" y="161"/>
                  <a:pt x="126" y="161"/>
                  <a:pt x="126" y="161"/>
                </a:cubicBezTo>
                <a:cubicBezTo>
                  <a:pt x="125" y="163"/>
                  <a:pt x="128" y="160"/>
                  <a:pt x="128" y="162"/>
                </a:cubicBezTo>
                <a:cubicBezTo>
                  <a:pt x="127" y="163"/>
                  <a:pt x="126" y="164"/>
                  <a:pt x="125" y="164"/>
                </a:cubicBezTo>
                <a:cubicBezTo>
                  <a:pt x="125" y="165"/>
                  <a:pt x="128" y="162"/>
                  <a:pt x="129" y="162"/>
                </a:cubicBezTo>
                <a:cubicBezTo>
                  <a:pt x="128" y="162"/>
                  <a:pt x="127" y="163"/>
                  <a:pt x="127" y="163"/>
                </a:cubicBezTo>
                <a:cubicBezTo>
                  <a:pt x="131" y="161"/>
                  <a:pt x="128" y="162"/>
                  <a:pt x="131" y="159"/>
                </a:cubicBezTo>
                <a:cubicBezTo>
                  <a:pt x="130" y="159"/>
                  <a:pt x="127" y="162"/>
                  <a:pt x="128" y="160"/>
                </a:cubicBezTo>
                <a:close/>
                <a:moveTo>
                  <a:pt x="95" y="148"/>
                </a:moveTo>
                <a:cubicBezTo>
                  <a:pt x="95" y="148"/>
                  <a:pt x="96" y="148"/>
                  <a:pt x="96" y="148"/>
                </a:cubicBezTo>
                <a:cubicBezTo>
                  <a:pt x="94" y="149"/>
                  <a:pt x="94" y="150"/>
                  <a:pt x="94" y="150"/>
                </a:cubicBezTo>
                <a:cubicBezTo>
                  <a:pt x="98" y="147"/>
                  <a:pt x="99" y="145"/>
                  <a:pt x="101" y="143"/>
                </a:cubicBezTo>
                <a:cubicBezTo>
                  <a:pt x="102" y="143"/>
                  <a:pt x="102" y="142"/>
                  <a:pt x="102" y="141"/>
                </a:cubicBezTo>
                <a:cubicBezTo>
                  <a:pt x="100" y="143"/>
                  <a:pt x="97" y="147"/>
                  <a:pt x="95" y="148"/>
                </a:cubicBezTo>
                <a:close/>
                <a:moveTo>
                  <a:pt x="110" y="169"/>
                </a:moveTo>
                <a:cubicBezTo>
                  <a:pt x="110" y="169"/>
                  <a:pt x="111" y="169"/>
                  <a:pt x="111" y="169"/>
                </a:cubicBezTo>
                <a:cubicBezTo>
                  <a:pt x="110" y="170"/>
                  <a:pt x="109" y="171"/>
                  <a:pt x="109" y="171"/>
                </a:cubicBezTo>
                <a:cubicBezTo>
                  <a:pt x="112" y="168"/>
                  <a:pt x="113" y="166"/>
                  <a:pt x="114" y="165"/>
                </a:cubicBezTo>
                <a:cubicBezTo>
                  <a:pt x="114" y="165"/>
                  <a:pt x="114" y="165"/>
                  <a:pt x="114" y="165"/>
                </a:cubicBezTo>
                <a:cubicBezTo>
                  <a:pt x="112" y="167"/>
                  <a:pt x="111" y="169"/>
                  <a:pt x="110" y="169"/>
                </a:cubicBezTo>
                <a:close/>
                <a:moveTo>
                  <a:pt x="91" y="154"/>
                </a:moveTo>
                <a:cubicBezTo>
                  <a:pt x="92" y="155"/>
                  <a:pt x="92" y="155"/>
                  <a:pt x="92" y="155"/>
                </a:cubicBezTo>
                <a:cubicBezTo>
                  <a:pt x="94" y="153"/>
                  <a:pt x="93" y="153"/>
                  <a:pt x="94" y="152"/>
                </a:cubicBezTo>
                <a:cubicBezTo>
                  <a:pt x="94" y="152"/>
                  <a:pt x="94" y="152"/>
                  <a:pt x="95" y="152"/>
                </a:cubicBezTo>
                <a:cubicBezTo>
                  <a:pt x="95" y="152"/>
                  <a:pt x="95" y="151"/>
                  <a:pt x="95" y="151"/>
                </a:cubicBezTo>
                <a:cubicBezTo>
                  <a:pt x="94" y="151"/>
                  <a:pt x="94" y="151"/>
                  <a:pt x="94" y="152"/>
                </a:cubicBezTo>
                <a:cubicBezTo>
                  <a:pt x="93" y="153"/>
                  <a:pt x="93" y="153"/>
                  <a:pt x="91" y="154"/>
                </a:cubicBezTo>
                <a:close/>
                <a:moveTo>
                  <a:pt x="92" y="162"/>
                </a:moveTo>
                <a:cubicBezTo>
                  <a:pt x="94" y="162"/>
                  <a:pt x="97" y="157"/>
                  <a:pt x="99" y="155"/>
                </a:cubicBezTo>
                <a:cubicBezTo>
                  <a:pt x="96" y="158"/>
                  <a:pt x="95" y="159"/>
                  <a:pt x="92" y="162"/>
                </a:cubicBezTo>
                <a:close/>
                <a:moveTo>
                  <a:pt x="88" y="161"/>
                </a:moveTo>
                <a:cubicBezTo>
                  <a:pt x="87" y="161"/>
                  <a:pt x="87" y="161"/>
                  <a:pt x="87" y="161"/>
                </a:cubicBezTo>
                <a:cubicBezTo>
                  <a:pt x="87" y="161"/>
                  <a:pt x="87" y="161"/>
                  <a:pt x="87" y="161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3"/>
                  <a:pt x="87" y="163"/>
                </a:cubicBezTo>
                <a:cubicBezTo>
                  <a:pt x="87" y="163"/>
                  <a:pt x="87" y="162"/>
                  <a:pt x="87" y="162"/>
                </a:cubicBezTo>
                <a:cubicBezTo>
                  <a:pt x="87" y="162"/>
                  <a:pt x="87" y="162"/>
                  <a:pt x="88" y="161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8" y="162"/>
                  <a:pt x="90" y="159"/>
                  <a:pt x="91" y="158"/>
                </a:cubicBezTo>
                <a:cubicBezTo>
                  <a:pt x="91" y="157"/>
                  <a:pt x="93" y="157"/>
                  <a:pt x="94" y="156"/>
                </a:cubicBezTo>
                <a:cubicBezTo>
                  <a:pt x="92" y="156"/>
                  <a:pt x="90" y="158"/>
                  <a:pt x="88" y="161"/>
                </a:cubicBezTo>
                <a:close/>
                <a:moveTo>
                  <a:pt x="106" y="176"/>
                </a:moveTo>
                <a:cubicBezTo>
                  <a:pt x="106" y="177"/>
                  <a:pt x="105" y="177"/>
                  <a:pt x="105" y="178"/>
                </a:cubicBezTo>
                <a:cubicBezTo>
                  <a:pt x="104" y="178"/>
                  <a:pt x="104" y="178"/>
                  <a:pt x="104" y="178"/>
                </a:cubicBezTo>
                <a:cubicBezTo>
                  <a:pt x="104" y="179"/>
                  <a:pt x="103" y="179"/>
                  <a:pt x="103" y="180"/>
                </a:cubicBezTo>
                <a:cubicBezTo>
                  <a:pt x="104" y="179"/>
                  <a:pt x="104" y="180"/>
                  <a:pt x="104" y="179"/>
                </a:cubicBezTo>
                <a:cubicBezTo>
                  <a:pt x="105" y="179"/>
                  <a:pt x="105" y="180"/>
                  <a:pt x="106" y="179"/>
                </a:cubicBezTo>
                <a:cubicBezTo>
                  <a:pt x="105" y="179"/>
                  <a:pt x="105" y="179"/>
                  <a:pt x="105" y="179"/>
                </a:cubicBezTo>
                <a:cubicBezTo>
                  <a:pt x="105" y="178"/>
                  <a:pt x="105" y="179"/>
                  <a:pt x="106" y="178"/>
                </a:cubicBezTo>
                <a:cubicBezTo>
                  <a:pt x="105" y="179"/>
                  <a:pt x="108" y="175"/>
                  <a:pt x="108" y="175"/>
                </a:cubicBezTo>
                <a:cubicBezTo>
                  <a:pt x="108" y="175"/>
                  <a:pt x="108" y="175"/>
                  <a:pt x="109" y="175"/>
                </a:cubicBezTo>
                <a:cubicBezTo>
                  <a:pt x="108" y="175"/>
                  <a:pt x="107" y="175"/>
                  <a:pt x="106" y="176"/>
                </a:cubicBezTo>
                <a:close/>
                <a:moveTo>
                  <a:pt x="109" y="180"/>
                </a:moveTo>
                <a:cubicBezTo>
                  <a:pt x="108" y="180"/>
                  <a:pt x="108" y="180"/>
                  <a:pt x="108" y="180"/>
                </a:cubicBezTo>
                <a:cubicBezTo>
                  <a:pt x="108" y="181"/>
                  <a:pt x="108" y="181"/>
                  <a:pt x="108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6" y="182"/>
                  <a:pt x="106" y="183"/>
                  <a:pt x="105" y="184"/>
                </a:cubicBezTo>
                <a:cubicBezTo>
                  <a:pt x="106" y="184"/>
                  <a:pt x="107" y="183"/>
                  <a:pt x="107" y="182"/>
                </a:cubicBezTo>
                <a:cubicBezTo>
                  <a:pt x="108" y="182"/>
                  <a:pt x="108" y="182"/>
                  <a:pt x="108" y="182"/>
                </a:cubicBezTo>
                <a:cubicBezTo>
                  <a:pt x="108" y="182"/>
                  <a:pt x="108" y="182"/>
                  <a:pt x="110" y="180"/>
                </a:cubicBezTo>
                <a:cubicBezTo>
                  <a:pt x="110" y="180"/>
                  <a:pt x="109" y="180"/>
                  <a:pt x="109" y="180"/>
                </a:cubicBezTo>
                <a:close/>
                <a:moveTo>
                  <a:pt x="88" y="171"/>
                </a:moveTo>
                <a:cubicBezTo>
                  <a:pt x="89" y="170"/>
                  <a:pt x="88" y="170"/>
                  <a:pt x="88" y="170"/>
                </a:cubicBezTo>
                <a:cubicBezTo>
                  <a:pt x="89" y="171"/>
                  <a:pt x="90" y="169"/>
                  <a:pt x="90" y="169"/>
                </a:cubicBezTo>
                <a:cubicBezTo>
                  <a:pt x="90" y="169"/>
                  <a:pt x="90" y="168"/>
                  <a:pt x="89" y="169"/>
                </a:cubicBezTo>
                <a:cubicBezTo>
                  <a:pt x="89" y="169"/>
                  <a:pt x="88" y="170"/>
                  <a:pt x="88" y="171"/>
                </a:cubicBezTo>
                <a:close/>
                <a:moveTo>
                  <a:pt x="98" y="180"/>
                </a:moveTo>
                <a:cubicBezTo>
                  <a:pt x="99" y="179"/>
                  <a:pt x="99" y="180"/>
                  <a:pt x="100" y="180"/>
                </a:cubicBezTo>
                <a:cubicBezTo>
                  <a:pt x="99" y="179"/>
                  <a:pt x="98" y="179"/>
                  <a:pt x="98" y="180"/>
                </a:cubicBezTo>
                <a:close/>
                <a:moveTo>
                  <a:pt x="102" y="183"/>
                </a:moveTo>
                <a:cubicBezTo>
                  <a:pt x="102" y="182"/>
                  <a:pt x="101" y="182"/>
                  <a:pt x="102" y="182"/>
                </a:cubicBezTo>
                <a:cubicBezTo>
                  <a:pt x="102" y="182"/>
                  <a:pt x="102" y="183"/>
                  <a:pt x="102" y="182"/>
                </a:cubicBezTo>
                <a:cubicBezTo>
                  <a:pt x="102" y="182"/>
                  <a:pt x="101" y="182"/>
                  <a:pt x="101" y="182"/>
                </a:cubicBezTo>
                <a:cubicBezTo>
                  <a:pt x="102" y="182"/>
                  <a:pt x="101" y="183"/>
                  <a:pt x="102" y="183"/>
                </a:cubicBezTo>
                <a:close/>
                <a:moveTo>
                  <a:pt x="102" y="191"/>
                </a:moveTo>
                <a:cubicBezTo>
                  <a:pt x="102" y="191"/>
                  <a:pt x="104" y="189"/>
                  <a:pt x="104" y="188"/>
                </a:cubicBezTo>
                <a:cubicBezTo>
                  <a:pt x="103" y="187"/>
                  <a:pt x="103" y="186"/>
                  <a:pt x="102" y="187"/>
                </a:cubicBezTo>
                <a:cubicBezTo>
                  <a:pt x="104" y="188"/>
                  <a:pt x="101" y="190"/>
                  <a:pt x="102" y="191"/>
                </a:cubicBezTo>
                <a:close/>
                <a:moveTo>
                  <a:pt x="100" y="187"/>
                </a:moveTo>
                <a:cubicBezTo>
                  <a:pt x="100" y="187"/>
                  <a:pt x="99" y="187"/>
                  <a:pt x="100" y="187"/>
                </a:cubicBezTo>
                <a:cubicBezTo>
                  <a:pt x="100" y="187"/>
                  <a:pt x="101" y="187"/>
                  <a:pt x="101" y="187"/>
                </a:cubicBezTo>
                <a:cubicBezTo>
                  <a:pt x="100" y="187"/>
                  <a:pt x="100" y="187"/>
                  <a:pt x="100" y="187"/>
                </a:cubicBezTo>
                <a:close/>
                <a:moveTo>
                  <a:pt x="99" y="192"/>
                </a:moveTo>
                <a:cubicBezTo>
                  <a:pt x="97" y="193"/>
                  <a:pt x="94" y="197"/>
                  <a:pt x="94" y="198"/>
                </a:cubicBezTo>
                <a:cubicBezTo>
                  <a:pt x="95" y="197"/>
                  <a:pt x="96" y="196"/>
                  <a:pt x="97" y="194"/>
                </a:cubicBezTo>
                <a:cubicBezTo>
                  <a:pt x="97" y="195"/>
                  <a:pt x="97" y="195"/>
                  <a:pt x="97" y="194"/>
                </a:cubicBezTo>
                <a:cubicBezTo>
                  <a:pt x="98" y="192"/>
                  <a:pt x="101" y="192"/>
                  <a:pt x="102" y="189"/>
                </a:cubicBezTo>
                <a:cubicBezTo>
                  <a:pt x="101" y="189"/>
                  <a:pt x="101" y="190"/>
                  <a:pt x="101" y="190"/>
                </a:cubicBezTo>
                <a:cubicBezTo>
                  <a:pt x="100" y="189"/>
                  <a:pt x="102" y="189"/>
                  <a:pt x="102" y="188"/>
                </a:cubicBezTo>
                <a:cubicBezTo>
                  <a:pt x="100" y="189"/>
                  <a:pt x="100" y="191"/>
                  <a:pt x="98" y="191"/>
                </a:cubicBezTo>
                <a:cubicBezTo>
                  <a:pt x="99" y="191"/>
                  <a:pt x="99" y="192"/>
                  <a:pt x="99" y="192"/>
                </a:cubicBezTo>
                <a:close/>
                <a:moveTo>
                  <a:pt x="95" y="191"/>
                </a:moveTo>
                <a:cubicBezTo>
                  <a:pt x="96" y="191"/>
                  <a:pt x="95" y="192"/>
                  <a:pt x="96" y="192"/>
                </a:cubicBezTo>
                <a:cubicBezTo>
                  <a:pt x="96" y="191"/>
                  <a:pt x="98" y="191"/>
                  <a:pt x="97" y="190"/>
                </a:cubicBezTo>
                <a:cubicBezTo>
                  <a:pt x="98" y="190"/>
                  <a:pt x="98" y="189"/>
                  <a:pt x="98" y="189"/>
                </a:cubicBezTo>
                <a:cubicBezTo>
                  <a:pt x="98" y="189"/>
                  <a:pt x="97" y="189"/>
                  <a:pt x="98" y="189"/>
                </a:cubicBezTo>
                <a:cubicBezTo>
                  <a:pt x="98" y="189"/>
                  <a:pt x="99" y="189"/>
                  <a:pt x="100" y="188"/>
                </a:cubicBezTo>
                <a:cubicBezTo>
                  <a:pt x="99" y="187"/>
                  <a:pt x="99" y="187"/>
                  <a:pt x="99" y="187"/>
                </a:cubicBezTo>
                <a:cubicBezTo>
                  <a:pt x="98" y="187"/>
                  <a:pt x="99" y="188"/>
                  <a:pt x="98" y="188"/>
                </a:cubicBezTo>
                <a:cubicBezTo>
                  <a:pt x="98" y="187"/>
                  <a:pt x="96" y="189"/>
                  <a:pt x="97" y="190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0"/>
                  <a:pt x="97" y="190"/>
                  <a:pt x="96" y="191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1"/>
                  <a:pt x="96" y="191"/>
                  <a:pt x="95" y="191"/>
                </a:cubicBezTo>
                <a:close/>
                <a:moveTo>
                  <a:pt x="85" y="191"/>
                </a:moveTo>
                <a:cubicBezTo>
                  <a:pt x="85" y="194"/>
                  <a:pt x="82" y="195"/>
                  <a:pt x="81" y="197"/>
                </a:cubicBezTo>
                <a:cubicBezTo>
                  <a:pt x="82" y="198"/>
                  <a:pt x="82" y="197"/>
                  <a:pt x="82" y="197"/>
                </a:cubicBezTo>
                <a:cubicBezTo>
                  <a:pt x="84" y="195"/>
                  <a:pt x="85" y="193"/>
                  <a:pt x="87" y="192"/>
                </a:cubicBezTo>
                <a:cubicBezTo>
                  <a:pt x="87" y="192"/>
                  <a:pt x="87" y="193"/>
                  <a:pt x="88" y="193"/>
                </a:cubicBezTo>
                <a:cubicBezTo>
                  <a:pt x="88" y="193"/>
                  <a:pt x="89" y="191"/>
                  <a:pt x="90" y="191"/>
                </a:cubicBezTo>
                <a:cubicBezTo>
                  <a:pt x="89" y="190"/>
                  <a:pt x="89" y="190"/>
                  <a:pt x="89" y="190"/>
                </a:cubicBezTo>
                <a:cubicBezTo>
                  <a:pt x="89" y="191"/>
                  <a:pt x="88" y="193"/>
                  <a:pt x="87" y="192"/>
                </a:cubicBezTo>
                <a:cubicBezTo>
                  <a:pt x="87" y="191"/>
                  <a:pt x="88" y="190"/>
                  <a:pt x="89" y="189"/>
                </a:cubicBezTo>
                <a:cubicBezTo>
                  <a:pt x="88" y="189"/>
                  <a:pt x="88" y="188"/>
                  <a:pt x="87" y="189"/>
                </a:cubicBezTo>
                <a:cubicBezTo>
                  <a:pt x="88" y="189"/>
                  <a:pt x="87" y="190"/>
                  <a:pt x="88" y="190"/>
                </a:cubicBezTo>
                <a:cubicBezTo>
                  <a:pt x="87" y="190"/>
                  <a:pt x="88" y="190"/>
                  <a:pt x="87" y="190"/>
                </a:cubicBezTo>
                <a:cubicBezTo>
                  <a:pt x="86" y="190"/>
                  <a:pt x="86" y="192"/>
                  <a:pt x="85" y="191"/>
                </a:cubicBezTo>
                <a:cubicBezTo>
                  <a:pt x="86" y="191"/>
                  <a:pt x="86" y="191"/>
                  <a:pt x="86" y="191"/>
                </a:cubicBezTo>
                <a:cubicBezTo>
                  <a:pt x="85" y="191"/>
                  <a:pt x="86" y="191"/>
                  <a:pt x="85" y="191"/>
                </a:cubicBezTo>
                <a:close/>
                <a:moveTo>
                  <a:pt x="94" y="201"/>
                </a:moveTo>
                <a:cubicBezTo>
                  <a:pt x="95" y="200"/>
                  <a:pt x="94" y="199"/>
                  <a:pt x="95" y="200"/>
                </a:cubicBezTo>
                <a:cubicBezTo>
                  <a:pt x="95" y="199"/>
                  <a:pt x="95" y="199"/>
                  <a:pt x="96" y="199"/>
                </a:cubicBezTo>
                <a:cubicBezTo>
                  <a:pt x="94" y="198"/>
                  <a:pt x="94" y="200"/>
                  <a:pt x="94" y="201"/>
                </a:cubicBezTo>
                <a:close/>
                <a:moveTo>
                  <a:pt x="93" y="198"/>
                </a:moveTo>
                <a:cubicBezTo>
                  <a:pt x="93" y="199"/>
                  <a:pt x="93" y="199"/>
                  <a:pt x="92" y="199"/>
                </a:cubicBezTo>
                <a:cubicBezTo>
                  <a:pt x="93" y="200"/>
                  <a:pt x="91" y="200"/>
                  <a:pt x="92" y="200"/>
                </a:cubicBezTo>
                <a:cubicBezTo>
                  <a:pt x="92" y="199"/>
                  <a:pt x="94" y="199"/>
                  <a:pt x="93" y="198"/>
                </a:cubicBezTo>
                <a:close/>
                <a:moveTo>
                  <a:pt x="91" y="201"/>
                </a:moveTo>
                <a:cubicBezTo>
                  <a:pt x="91" y="202"/>
                  <a:pt x="91" y="201"/>
                  <a:pt x="90" y="201"/>
                </a:cubicBezTo>
                <a:cubicBezTo>
                  <a:pt x="90" y="202"/>
                  <a:pt x="91" y="202"/>
                  <a:pt x="91" y="202"/>
                </a:cubicBezTo>
                <a:cubicBezTo>
                  <a:pt x="91" y="202"/>
                  <a:pt x="91" y="202"/>
                  <a:pt x="91" y="203"/>
                </a:cubicBezTo>
                <a:cubicBezTo>
                  <a:pt x="91" y="202"/>
                  <a:pt x="92" y="202"/>
                  <a:pt x="91" y="202"/>
                </a:cubicBezTo>
                <a:cubicBezTo>
                  <a:pt x="92" y="201"/>
                  <a:pt x="92" y="202"/>
                  <a:pt x="92" y="201"/>
                </a:cubicBezTo>
                <a:cubicBezTo>
                  <a:pt x="92" y="201"/>
                  <a:pt x="92" y="201"/>
                  <a:pt x="92" y="201"/>
                </a:cubicBezTo>
                <a:cubicBezTo>
                  <a:pt x="92" y="200"/>
                  <a:pt x="92" y="201"/>
                  <a:pt x="93" y="201"/>
                </a:cubicBezTo>
                <a:cubicBezTo>
                  <a:pt x="93" y="200"/>
                  <a:pt x="93" y="200"/>
                  <a:pt x="93" y="200"/>
                </a:cubicBezTo>
                <a:cubicBezTo>
                  <a:pt x="92" y="199"/>
                  <a:pt x="92" y="201"/>
                  <a:pt x="91" y="201"/>
                </a:cubicBezTo>
                <a:close/>
                <a:moveTo>
                  <a:pt x="87" y="202"/>
                </a:moveTo>
                <a:cubicBezTo>
                  <a:pt x="87" y="203"/>
                  <a:pt x="86" y="204"/>
                  <a:pt x="86" y="205"/>
                </a:cubicBezTo>
                <a:cubicBezTo>
                  <a:pt x="88" y="203"/>
                  <a:pt x="89" y="204"/>
                  <a:pt x="90" y="205"/>
                </a:cubicBezTo>
                <a:cubicBezTo>
                  <a:pt x="89" y="204"/>
                  <a:pt x="90" y="204"/>
                  <a:pt x="90" y="204"/>
                </a:cubicBezTo>
                <a:cubicBezTo>
                  <a:pt x="90" y="204"/>
                  <a:pt x="89" y="204"/>
                  <a:pt x="89" y="203"/>
                </a:cubicBezTo>
                <a:cubicBezTo>
                  <a:pt x="89" y="204"/>
                  <a:pt x="89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2"/>
                  <a:pt x="89" y="202"/>
                </a:cubicBezTo>
                <a:cubicBezTo>
                  <a:pt x="87" y="202"/>
                  <a:pt x="88" y="201"/>
                  <a:pt x="87" y="202"/>
                </a:cubicBezTo>
                <a:close/>
                <a:moveTo>
                  <a:pt x="64" y="186"/>
                </a:move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4" y="186"/>
                  <a:pt x="64" y="186"/>
                </a:cubicBezTo>
                <a:close/>
                <a:moveTo>
                  <a:pt x="86" y="208"/>
                </a:moveTo>
                <a:cubicBezTo>
                  <a:pt x="86" y="208"/>
                  <a:pt x="86" y="207"/>
                  <a:pt x="86" y="207"/>
                </a:cubicBezTo>
                <a:cubicBezTo>
                  <a:pt x="85" y="207"/>
                  <a:pt x="87" y="207"/>
                  <a:pt x="87" y="206"/>
                </a:cubicBezTo>
                <a:cubicBezTo>
                  <a:pt x="86" y="206"/>
                  <a:pt x="85" y="208"/>
                  <a:pt x="86" y="208"/>
                </a:cubicBezTo>
                <a:close/>
                <a:moveTo>
                  <a:pt x="84" y="206"/>
                </a:moveTo>
                <a:cubicBezTo>
                  <a:pt x="84" y="206"/>
                  <a:pt x="84" y="207"/>
                  <a:pt x="85" y="206"/>
                </a:cubicBezTo>
                <a:cubicBezTo>
                  <a:pt x="84" y="206"/>
                  <a:pt x="84" y="205"/>
                  <a:pt x="84" y="206"/>
                </a:cubicBezTo>
                <a:cubicBezTo>
                  <a:pt x="84" y="206"/>
                  <a:pt x="83" y="205"/>
                  <a:pt x="84" y="206"/>
                </a:cubicBezTo>
                <a:close/>
                <a:moveTo>
                  <a:pt x="79" y="215"/>
                </a:moveTo>
                <a:cubicBezTo>
                  <a:pt x="79" y="215"/>
                  <a:pt x="79" y="215"/>
                  <a:pt x="80" y="215"/>
                </a:cubicBezTo>
                <a:cubicBezTo>
                  <a:pt x="80" y="214"/>
                  <a:pt x="82" y="213"/>
                  <a:pt x="81" y="212"/>
                </a:cubicBezTo>
                <a:cubicBezTo>
                  <a:pt x="81" y="212"/>
                  <a:pt x="81" y="212"/>
                  <a:pt x="81" y="212"/>
                </a:cubicBezTo>
                <a:cubicBezTo>
                  <a:pt x="81" y="212"/>
                  <a:pt x="80" y="212"/>
                  <a:pt x="80" y="212"/>
                </a:cubicBezTo>
                <a:cubicBezTo>
                  <a:pt x="81" y="212"/>
                  <a:pt x="81" y="212"/>
                  <a:pt x="81" y="213"/>
                </a:cubicBezTo>
                <a:cubicBezTo>
                  <a:pt x="80" y="212"/>
                  <a:pt x="80" y="213"/>
                  <a:pt x="80" y="212"/>
                </a:cubicBezTo>
                <a:cubicBezTo>
                  <a:pt x="79" y="212"/>
                  <a:pt x="79" y="212"/>
                  <a:pt x="79" y="213"/>
                </a:cubicBezTo>
                <a:cubicBezTo>
                  <a:pt x="79" y="214"/>
                  <a:pt x="77" y="216"/>
                  <a:pt x="76" y="217"/>
                </a:cubicBezTo>
                <a:cubicBezTo>
                  <a:pt x="77" y="217"/>
                  <a:pt x="77" y="216"/>
                  <a:pt x="77" y="217"/>
                </a:cubicBezTo>
                <a:cubicBezTo>
                  <a:pt x="77" y="217"/>
                  <a:pt x="77" y="217"/>
                  <a:pt x="77" y="217"/>
                </a:cubicBezTo>
                <a:cubicBezTo>
                  <a:pt x="77" y="217"/>
                  <a:pt x="78" y="216"/>
                  <a:pt x="79" y="216"/>
                </a:cubicBezTo>
                <a:cubicBezTo>
                  <a:pt x="78" y="216"/>
                  <a:pt x="78" y="215"/>
                  <a:pt x="78" y="215"/>
                </a:cubicBezTo>
                <a:cubicBezTo>
                  <a:pt x="79" y="215"/>
                  <a:pt x="78" y="215"/>
                  <a:pt x="79" y="215"/>
                </a:cubicBezTo>
                <a:cubicBezTo>
                  <a:pt x="79" y="215"/>
                  <a:pt x="79" y="215"/>
                  <a:pt x="79" y="215"/>
                </a:cubicBezTo>
                <a:close/>
                <a:moveTo>
                  <a:pt x="74" y="207"/>
                </a:moveTo>
                <a:cubicBezTo>
                  <a:pt x="73" y="207"/>
                  <a:pt x="73" y="208"/>
                  <a:pt x="72" y="207"/>
                </a:cubicBezTo>
                <a:cubicBezTo>
                  <a:pt x="71" y="209"/>
                  <a:pt x="70" y="210"/>
                  <a:pt x="69" y="210"/>
                </a:cubicBezTo>
                <a:cubicBezTo>
                  <a:pt x="68" y="211"/>
                  <a:pt x="69" y="210"/>
                  <a:pt x="69" y="211"/>
                </a:cubicBezTo>
                <a:cubicBezTo>
                  <a:pt x="68" y="211"/>
                  <a:pt x="69" y="212"/>
                  <a:pt x="68" y="212"/>
                </a:cubicBezTo>
                <a:cubicBezTo>
                  <a:pt x="69" y="212"/>
                  <a:pt x="69" y="211"/>
                  <a:pt x="68" y="211"/>
                </a:cubicBezTo>
                <a:cubicBezTo>
                  <a:pt x="68" y="212"/>
                  <a:pt x="67" y="212"/>
                  <a:pt x="68" y="213"/>
                </a:cubicBezTo>
                <a:cubicBezTo>
                  <a:pt x="68" y="213"/>
                  <a:pt x="68" y="213"/>
                  <a:pt x="68" y="213"/>
                </a:cubicBezTo>
                <a:cubicBezTo>
                  <a:pt x="69" y="212"/>
                  <a:pt x="69" y="213"/>
                  <a:pt x="69" y="214"/>
                </a:cubicBezTo>
                <a:cubicBezTo>
                  <a:pt x="70" y="213"/>
                  <a:pt x="70" y="211"/>
                  <a:pt x="71" y="211"/>
                </a:cubicBezTo>
                <a:cubicBezTo>
                  <a:pt x="70" y="211"/>
                  <a:pt x="70" y="212"/>
                  <a:pt x="70" y="212"/>
                </a:cubicBezTo>
                <a:cubicBezTo>
                  <a:pt x="71" y="212"/>
                  <a:pt x="71" y="212"/>
                  <a:pt x="71" y="212"/>
                </a:cubicBezTo>
                <a:cubicBezTo>
                  <a:pt x="71" y="213"/>
                  <a:pt x="70" y="213"/>
                  <a:pt x="71" y="214"/>
                </a:cubicBezTo>
                <a:cubicBezTo>
                  <a:pt x="69" y="213"/>
                  <a:pt x="70" y="215"/>
                  <a:pt x="69" y="216"/>
                </a:cubicBezTo>
                <a:cubicBezTo>
                  <a:pt x="68" y="217"/>
                  <a:pt x="66" y="218"/>
                  <a:pt x="67" y="219"/>
                </a:cubicBezTo>
                <a:cubicBezTo>
                  <a:pt x="65" y="219"/>
                  <a:pt x="64" y="222"/>
                  <a:pt x="62" y="223"/>
                </a:cubicBezTo>
                <a:cubicBezTo>
                  <a:pt x="63" y="223"/>
                  <a:pt x="62" y="223"/>
                  <a:pt x="63" y="223"/>
                </a:cubicBezTo>
                <a:cubicBezTo>
                  <a:pt x="63" y="223"/>
                  <a:pt x="62" y="225"/>
                  <a:pt x="63" y="225"/>
                </a:cubicBezTo>
                <a:cubicBezTo>
                  <a:pt x="63" y="224"/>
                  <a:pt x="63" y="223"/>
                  <a:pt x="64" y="223"/>
                </a:cubicBezTo>
                <a:cubicBezTo>
                  <a:pt x="64" y="221"/>
                  <a:pt x="67" y="221"/>
                  <a:pt x="67" y="219"/>
                </a:cubicBezTo>
                <a:cubicBezTo>
                  <a:pt x="68" y="218"/>
                  <a:pt x="68" y="218"/>
                  <a:pt x="69" y="217"/>
                </a:cubicBezTo>
                <a:cubicBezTo>
                  <a:pt x="69" y="217"/>
                  <a:pt x="68" y="217"/>
                  <a:pt x="69" y="216"/>
                </a:cubicBezTo>
                <a:cubicBezTo>
                  <a:pt x="70" y="217"/>
                  <a:pt x="69" y="216"/>
                  <a:pt x="69" y="216"/>
                </a:cubicBezTo>
                <a:cubicBezTo>
                  <a:pt x="70" y="216"/>
                  <a:pt x="73" y="213"/>
                  <a:pt x="72" y="212"/>
                </a:cubicBezTo>
                <a:cubicBezTo>
                  <a:pt x="73" y="212"/>
                  <a:pt x="73" y="212"/>
                  <a:pt x="73" y="212"/>
                </a:cubicBezTo>
                <a:cubicBezTo>
                  <a:pt x="73" y="211"/>
                  <a:pt x="73" y="210"/>
                  <a:pt x="72" y="210"/>
                </a:cubicBezTo>
                <a:cubicBezTo>
                  <a:pt x="73" y="210"/>
                  <a:pt x="73" y="210"/>
                  <a:pt x="73" y="211"/>
                </a:cubicBezTo>
                <a:cubicBezTo>
                  <a:pt x="72" y="210"/>
                  <a:pt x="72" y="211"/>
                  <a:pt x="72" y="211"/>
                </a:cubicBezTo>
                <a:cubicBezTo>
                  <a:pt x="72" y="210"/>
                  <a:pt x="72" y="209"/>
                  <a:pt x="72" y="209"/>
                </a:cubicBezTo>
                <a:cubicBezTo>
                  <a:pt x="72" y="210"/>
                  <a:pt x="71" y="210"/>
                  <a:pt x="71" y="210"/>
                </a:cubicBezTo>
                <a:cubicBezTo>
                  <a:pt x="72" y="210"/>
                  <a:pt x="71" y="209"/>
                  <a:pt x="72" y="209"/>
                </a:cubicBezTo>
                <a:cubicBezTo>
                  <a:pt x="73" y="209"/>
                  <a:pt x="72" y="207"/>
                  <a:pt x="74" y="208"/>
                </a:cubicBezTo>
                <a:cubicBezTo>
                  <a:pt x="74" y="208"/>
                  <a:pt x="74" y="207"/>
                  <a:pt x="74" y="207"/>
                </a:cubicBezTo>
                <a:close/>
                <a:moveTo>
                  <a:pt x="64" y="211"/>
                </a:moveTo>
                <a:cubicBezTo>
                  <a:pt x="66" y="211"/>
                  <a:pt x="67" y="206"/>
                  <a:pt x="68" y="207"/>
                </a:cubicBezTo>
                <a:cubicBezTo>
                  <a:pt x="68" y="206"/>
                  <a:pt x="70" y="205"/>
                  <a:pt x="69" y="204"/>
                </a:cubicBezTo>
                <a:cubicBezTo>
                  <a:pt x="68" y="206"/>
                  <a:pt x="66" y="208"/>
                  <a:pt x="64" y="211"/>
                </a:cubicBezTo>
                <a:close/>
                <a:moveTo>
                  <a:pt x="73" y="215"/>
                </a:moveTo>
                <a:cubicBezTo>
                  <a:pt x="73" y="215"/>
                  <a:pt x="74" y="214"/>
                  <a:pt x="73" y="214"/>
                </a:cubicBezTo>
                <a:cubicBezTo>
                  <a:pt x="73" y="215"/>
                  <a:pt x="72" y="214"/>
                  <a:pt x="72" y="215"/>
                </a:cubicBezTo>
                <a:cubicBezTo>
                  <a:pt x="72" y="215"/>
                  <a:pt x="71" y="215"/>
                  <a:pt x="71" y="217"/>
                </a:cubicBezTo>
                <a:cubicBezTo>
                  <a:pt x="71" y="217"/>
                  <a:pt x="71" y="217"/>
                  <a:pt x="71" y="217"/>
                </a:cubicBezTo>
                <a:cubicBezTo>
                  <a:pt x="72" y="217"/>
                  <a:pt x="73" y="215"/>
                  <a:pt x="74" y="216"/>
                </a:cubicBezTo>
                <a:cubicBezTo>
                  <a:pt x="74" y="216"/>
                  <a:pt x="74" y="215"/>
                  <a:pt x="75" y="215"/>
                </a:cubicBezTo>
                <a:cubicBezTo>
                  <a:pt x="74" y="214"/>
                  <a:pt x="74" y="214"/>
                  <a:pt x="74" y="213"/>
                </a:cubicBezTo>
                <a:cubicBezTo>
                  <a:pt x="75" y="213"/>
                  <a:pt x="75" y="212"/>
                  <a:pt x="76" y="212"/>
                </a:cubicBezTo>
                <a:cubicBezTo>
                  <a:pt x="75" y="212"/>
                  <a:pt x="76" y="211"/>
                  <a:pt x="76" y="211"/>
                </a:cubicBezTo>
                <a:cubicBezTo>
                  <a:pt x="75" y="211"/>
                  <a:pt x="74" y="213"/>
                  <a:pt x="73" y="214"/>
                </a:cubicBezTo>
                <a:cubicBezTo>
                  <a:pt x="74" y="214"/>
                  <a:pt x="74" y="215"/>
                  <a:pt x="73" y="215"/>
                </a:cubicBezTo>
                <a:close/>
                <a:moveTo>
                  <a:pt x="74" y="210"/>
                </a:moveTo>
                <a:cubicBezTo>
                  <a:pt x="74" y="210"/>
                  <a:pt x="74" y="210"/>
                  <a:pt x="74" y="210"/>
                </a:cubicBezTo>
                <a:cubicBezTo>
                  <a:pt x="75" y="211"/>
                  <a:pt x="75" y="211"/>
                  <a:pt x="75" y="211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4" y="210"/>
                  <a:pt x="74" y="210"/>
                </a:cubicBezTo>
                <a:close/>
                <a:moveTo>
                  <a:pt x="48" y="194"/>
                </a:moveTo>
                <a:cubicBezTo>
                  <a:pt x="47" y="194"/>
                  <a:pt x="49" y="193"/>
                  <a:pt x="48" y="193"/>
                </a:cubicBezTo>
                <a:cubicBezTo>
                  <a:pt x="47" y="193"/>
                  <a:pt x="47" y="195"/>
                  <a:pt x="48" y="194"/>
                </a:cubicBezTo>
                <a:close/>
                <a:moveTo>
                  <a:pt x="75" y="220"/>
                </a:moveTo>
                <a:cubicBezTo>
                  <a:pt x="76" y="219"/>
                  <a:pt x="77" y="219"/>
                  <a:pt x="77" y="217"/>
                </a:cubicBezTo>
                <a:cubicBezTo>
                  <a:pt x="76" y="218"/>
                  <a:pt x="75" y="219"/>
                  <a:pt x="75" y="220"/>
                </a:cubicBezTo>
                <a:close/>
                <a:moveTo>
                  <a:pt x="39" y="198"/>
                </a:moveTo>
                <a:cubicBezTo>
                  <a:pt x="39" y="199"/>
                  <a:pt x="39" y="198"/>
                  <a:pt x="39" y="199"/>
                </a:cubicBezTo>
                <a:cubicBezTo>
                  <a:pt x="40" y="199"/>
                  <a:pt x="40" y="198"/>
                  <a:pt x="40" y="198"/>
                </a:cubicBezTo>
                <a:cubicBezTo>
                  <a:pt x="40" y="198"/>
                  <a:pt x="39" y="198"/>
                  <a:pt x="39" y="198"/>
                </a:cubicBezTo>
                <a:close/>
                <a:moveTo>
                  <a:pt x="67" y="230"/>
                </a:moveTo>
                <a:cubicBezTo>
                  <a:pt x="68" y="230"/>
                  <a:pt x="68" y="229"/>
                  <a:pt x="67" y="229"/>
                </a:cubicBezTo>
                <a:cubicBezTo>
                  <a:pt x="67" y="229"/>
                  <a:pt x="66" y="229"/>
                  <a:pt x="67" y="230"/>
                </a:cubicBezTo>
                <a:cubicBezTo>
                  <a:pt x="67" y="230"/>
                  <a:pt x="67" y="230"/>
                  <a:pt x="67" y="230"/>
                </a:cubicBezTo>
                <a:cubicBezTo>
                  <a:pt x="68" y="230"/>
                  <a:pt x="71" y="228"/>
                  <a:pt x="70" y="227"/>
                </a:cubicBezTo>
                <a:cubicBezTo>
                  <a:pt x="70" y="228"/>
                  <a:pt x="69" y="228"/>
                  <a:pt x="68" y="228"/>
                </a:cubicBezTo>
                <a:cubicBezTo>
                  <a:pt x="68" y="228"/>
                  <a:pt x="67" y="228"/>
                  <a:pt x="68" y="227"/>
                </a:cubicBezTo>
                <a:cubicBezTo>
                  <a:pt x="67" y="228"/>
                  <a:pt x="67" y="229"/>
                  <a:pt x="68" y="229"/>
                </a:cubicBezTo>
                <a:cubicBezTo>
                  <a:pt x="68" y="229"/>
                  <a:pt x="68" y="229"/>
                  <a:pt x="68" y="230"/>
                </a:cubicBezTo>
                <a:cubicBezTo>
                  <a:pt x="68" y="229"/>
                  <a:pt x="67" y="230"/>
                  <a:pt x="67" y="230"/>
                </a:cubicBezTo>
                <a:close/>
                <a:moveTo>
                  <a:pt x="57" y="232"/>
                </a:moveTo>
                <a:cubicBezTo>
                  <a:pt x="56" y="231"/>
                  <a:pt x="57" y="233"/>
                  <a:pt x="56" y="233"/>
                </a:cubicBezTo>
                <a:cubicBezTo>
                  <a:pt x="56" y="233"/>
                  <a:pt x="57" y="233"/>
                  <a:pt x="57" y="232"/>
                </a:cubicBezTo>
                <a:cubicBezTo>
                  <a:pt x="57" y="231"/>
                  <a:pt x="60" y="229"/>
                  <a:pt x="61" y="228"/>
                </a:cubicBezTo>
                <a:cubicBezTo>
                  <a:pt x="60" y="228"/>
                  <a:pt x="60" y="227"/>
                  <a:pt x="60" y="227"/>
                </a:cubicBezTo>
                <a:cubicBezTo>
                  <a:pt x="61" y="227"/>
                  <a:pt x="62" y="226"/>
                  <a:pt x="62" y="226"/>
                </a:cubicBezTo>
                <a:cubicBezTo>
                  <a:pt x="61" y="226"/>
                  <a:pt x="61" y="226"/>
                  <a:pt x="60" y="226"/>
                </a:cubicBezTo>
                <a:cubicBezTo>
                  <a:pt x="61" y="226"/>
                  <a:pt x="61" y="227"/>
                  <a:pt x="61" y="227"/>
                </a:cubicBezTo>
                <a:cubicBezTo>
                  <a:pt x="59" y="228"/>
                  <a:pt x="58" y="230"/>
                  <a:pt x="57" y="232"/>
                </a:cubicBezTo>
                <a:close/>
                <a:moveTo>
                  <a:pt x="66" y="232"/>
                </a:moveTo>
                <a:cubicBezTo>
                  <a:pt x="67" y="232"/>
                  <a:pt x="65" y="232"/>
                  <a:pt x="65" y="231"/>
                </a:cubicBezTo>
                <a:cubicBezTo>
                  <a:pt x="66" y="232"/>
                  <a:pt x="64" y="232"/>
                  <a:pt x="64" y="233"/>
                </a:cubicBezTo>
                <a:cubicBezTo>
                  <a:pt x="65" y="233"/>
                  <a:pt x="65" y="233"/>
                  <a:pt x="66" y="233"/>
                </a:cubicBezTo>
                <a:cubicBezTo>
                  <a:pt x="65" y="232"/>
                  <a:pt x="65" y="233"/>
                  <a:pt x="65" y="233"/>
                </a:cubicBezTo>
                <a:cubicBezTo>
                  <a:pt x="65" y="232"/>
                  <a:pt x="65" y="232"/>
                  <a:pt x="66" y="232"/>
                </a:cubicBezTo>
                <a:cubicBezTo>
                  <a:pt x="66" y="232"/>
                  <a:pt x="66" y="232"/>
                  <a:pt x="66" y="233"/>
                </a:cubicBezTo>
                <a:cubicBezTo>
                  <a:pt x="67" y="232"/>
                  <a:pt x="68" y="232"/>
                  <a:pt x="67" y="231"/>
                </a:cubicBezTo>
                <a:cubicBezTo>
                  <a:pt x="67" y="231"/>
                  <a:pt x="67" y="232"/>
                  <a:pt x="66" y="232"/>
                </a:cubicBezTo>
                <a:close/>
                <a:moveTo>
                  <a:pt x="50" y="233"/>
                </a:moveTo>
                <a:cubicBezTo>
                  <a:pt x="50" y="232"/>
                  <a:pt x="50" y="232"/>
                  <a:pt x="50" y="232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8" y="233"/>
                  <a:pt x="48" y="234"/>
                  <a:pt x="47" y="235"/>
                </a:cubicBezTo>
                <a:cubicBezTo>
                  <a:pt x="48" y="233"/>
                  <a:pt x="49" y="231"/>
                  <a:pt x="50" y="229"/>
                </a:cubicBezTo>
                <a:cubicBezTo>
                  <a:pt x="52" y="228"/>
                  <a:pt x="53" y="226"/>
                  <a:pt x="55" y="224"/>
                </a:cubicBezTo>
                <a:cubicBezTo>
                  <a:pt x="55" y="225"/>
                  <a:pt x="54" y="226"/>
                  <a:pt x="53" y="227"/>
                </a:cubicBezTo>
                <a:cubicBezTo>
                  <a:pt x="52" y="228"/>
                  <a:pt x="53" y="228"/>
                  <a:pt x="52" y="229"/>
                </a:cubicBezTo>
                <a:cubicBezTo>
                  <a:pt x="52" y="229"/>
                  <a:pt x="52" y="230"/>
                  <a:pt x="52" y="229"/>
                </a:cubicBezTo>
                <a:cubicBezTo>
                  <a:pt x="52" y="231"/>
                  <a:pt x="50" y="232"/>
                  <a:pt x="50" y="233"/>
                </a:cubicBezTo>
                <a:close/>
                <a:moveTo>
                  <a:pt x="51" y="231"/>
                </a:moveTo>
                <a:cubicBezTo>
                  <a:pt x="51" y="231"/>
                  <a:pt x="50" y="231"/>
                  <a:pt x="50" y="231"/>
                </a:cubicBezTo>
                <a:cubicBezTo>
                  <a:pt x="50" y="232"/>
                  <a:pt x="50" y="232"/>
                  <a:pt x="51" y="231"/>
                </a:cubicBezTo>
                <a:close/>
                <a:moveTo>
                  <a:pt x="47" y="227"/>
                </a:moveTo>
                <a:cubicBezTo>
                  <a:pt x="47" y="226"/>
                  <a:pt x="48" y="225"/>
                  <a:pt x="48" y="225"/>
                </a:cubicBezTo>
                <a:cubicBezTo>
                  <a:pt x="47" y="225"/>
                  <a:pt x="47" y="225"/>
                  <a:pt x="47" y="225"/>
                </a:cubicBezTo>
                <a:cubicBezTo>
                  <a:pt x="48" y="226"/>
                  <a:pt x="46" y="226"/>
                  <a:pt x="47" y="227"/>
                </a:cubicBezTo>
                <a:close/>
                <a:moveTo>
                  <a:pt x="64" y="239"/>
                </a:moveTo>
                <a:cubicBezTo>
                  <a:pt x="64" y="238"/>
                  <a:pt x="65" y="238"/>
                  <a:pt x="64" y="238"/>
                </a:cubicBezTo>
                <a:cubicBezTo>
                  <a:pt x="64" y="238"/>
                  <a:pt x="64" y="238"/>
                  <a:pt x="64" y="238"/>
                </a:cubicBezTo>
                <a:cubicBezTo>
                  <a:pt x="65" y="238"/>
                  <a:pt x="63" y="239"/>
                  <a:pt x="64" y="239"/>
                </a:cubicBezTo>
                <a:close/>
                <a:moveTo>
                  <a:pt x="54" y="231"/>
                </a:moveTo>
                <a:cubicBezTo>
                  <a:pt x="53" y="232"/>
                  <a:pt x="53" y="232"/>
                  <a:pt x="53" y="232"/>
                </a:cubicBezTo>
                <a:cubicBezTo>
                  <a:pt x="53" y="231"/>
                  <a:pt x="53" y="231"/>
                  <a:pt x="53" y="231"/>
                </a:cubicBezTo>
                <a:cubicBezTo>
                  <a:pt x="53" y="231"/>
                  <a:pt x="52" y="231"/>
                  <a:pt x="52" y="231"/>
                </a:cubicBezTo>
                <a:cubicBezTo>
                  <a:pt x="52" y="232"/>
                  <a:pt x="53" y="232"/>
                  <a:pt x="52" y="232"/>
                </a:cubicBezTo>
                <a:cubicBezTo>
                  <a:pt x="51" y="232"/>
                  <a:pt x="51" y="234"/>
                  <a:pt x="50" y="235"/>
                </a:cubicBezTo>
                <a:cubicBezTo>
                  <a:pt x="50" y="235"/>
                  <a:pt x="51" y="236"/>
                  <a:pt x="51" y="235"/>
                </a:cubicBezTo>
                <a:cubicBezTo>
                  <a:pt x="52" y="235"/>
                  <a:pt x="50" y="235"/>
                  <a:pt x="51" y="235"/>
                </a:cubicBezTo>
                <a:cubicBezTo>
                  <a:pt x="51" y="235"/>
                  <a:pt x="52" y="235"/>
                  <a:pt x="52" y="234"/>
                </a:cubicBezTo>
                <a:cubicBezTo>
                  <a:pt x="51" y="234"/>
                  <a:pt x="51" y="234"/>
                  <a:pt x="51" y="233"/>
                </a:cubicBezTo>
                <a:cubicBezTo>
                  <a:pt x="52" y="233"/>
                  <a:pt x="52" y="232"/>
                  <a:pt x="53" y="232"/>
                </a:cubicBezTo>
                <a:cubicBezTo>
                  <a:pt x="53" y="232"/>
                  <a:pt x="53" y="233"/>
                  <a:pt x="53" y="233"/>
                </a:cubicBezTo>
                <a:cubicBezTo>
                  <a:pt x="54" y="232"/>
                  <a:pt x="54" y="231"/>
                  <a:pt x="53" y="231"/>
                </a:cubicBezTo>
                <a:cubicBezTo>
                  <a:pt x="53" y="231"/>
                  <a:pt x="54" y="231"/>
                  <a:pt x="54" y="231"/>
                </a:cubicBezTo>
                <a:close/>
                <a:moveTo>
                  <a:pt x="53" y="236"/>
                </a:moveTo>
                <a:cubicBezTo>
                  <a:pt x="54" y="237"/>
                  <a:pt x="51" y="238"/>
                  <a:pt x="52" y="239"/>
                </a:cubicBezTo>
                <a:cubicBezTo>
                  <a:pt x="53" y="237"/>
                  <a:pt x="55" y="235"/>
                  <a:pt x="56" y="233"/>
                </a:cubicBezTo>
                <a:cubicBezTo>
                  <a:pt x="55" y="234"/>
                  <a:pt x="55" y="235"/>
                  <a:pt x="54" y="235"/>
                </a:cubicBezTo>
                <a:cubicBezTo>
                  <a:pt x="54" y="236"/>
                  <a:pt x="54" y="236"/>
                  <a:pt x="54" y="235"/>
                </a:cubicBezTo>
                <a:cubicBezTo>
                  <a:pt x="54" y="236"/>
                  <a:pt x="53" y="237"/>
                  <a:pt x="53" y="236"/>
                </a:cubicBezTo>
                <a:close/>
                <a:moveTo>
                  <a:pt x="59" y="240"/>
                </a:moveTo>
                <a:cubicBezTo>
                  <a:pt x="59" y="240"/>
                  <a:pt x="60" y="240"/>
                  <a:pt x="60" y="240"/>
                </a:cubicBezTo>
                <a:cubicBezTo>
                  <a:pt x="60" y="239"/>
                  <a:pt x="60" y="240"/>
                  <a:pt x="59" y="239"/>
                </a:cubicBezTo>
                <a:cubicBezTo>
                  <a:pt x="60" y="239"/>
                  <a:pt x="59" y="239"/>
                  <a:pt x="59" y="239"/>
                </a:cubicBezTo>
                <a:cubicBezTo>
                  <a:pt x="60" y="240"/>
                  <a:pt x="59" y="240"/>
                  <a:pt x="59" y="240"/>
                </a:cubicBezTo>
                <a:close/>
                <a:moveTo>
                  <a:pt x="46" y="234"/>
                </a:moveTo>
                <a:cubicBezTo>
                  <a:pt x="47" y="234"/>
                  <a:pt x="47" y="233"/>
                  <a:pt x="47" y="233"/>
                </a:cubicBezTo>
                <a:cubicBezTo>
                  <a:pt x="46" y="234"/>
                  <a:pt x="46" y="232"/>
                  <a:pt x="46" y="233"/>
                </a:cubicBezTo>
                <a:cubicBezTo>
                  <a:pt x="46" y="233"/>
                  <a:pt x="46" y="233"/>
                  <a:pt x="46" y="233"/>
                </a:cubicBezTo>
                <a:cubicBezTo>
                  <a:pt x="46" y="233"/>
                  <a:pt x="46" y="234"/>
                  <a:pt x="46" y="234"/>
                </a:cubicBezTo>
                <a:close/>
                <a:moveTo>
                  <a:pt x="48" y="236"/>
                </a:moveTo>
                <a:cubicBezTo>
                  <a:pt x="48" y="237"/>
                  <a:pt x="49" y="237"/>
                  <a:pt x="49" y="238"/>
                </a:cubicBezTo>
                <a:cubicBezTo>
                  <a:pt x="49" y="237"/>
                  <a:pt x="51" y="237"/>
                  <a:pt x="51" y="236"/>
                </a:cubicBezTo>
                <a:cubicBezTo>
                  <a:pt x="50" y="236"/>
                  <a:pt x="50" y="236"/>
                  <a:pt x="49" y="237"/>
                </a:cubicBezTo>
                <a:cubicBezTo>
                  <a:pt x="49" y="236"/>
                  <a:pt x="50" y="236"/>
                  <a:pt x="49" y="235"/>
                </a:cubicBezTo>
                <a:cubicBezTo>
                  <a:pt x="49" y="236"/>
                  <a:pt x="49" y="236"/>
                  <a:pt x="48" y="236"/>
                </a:cubicBezTo>
                <a:close/>
                <a:moveTo>
                  <a:pt x="24" y="224"/>
                </a:moveTo>
                <a:cubicBezTo>
                  <a:pt x="24" y="223"/>
                  <a:pt x="24" y="224"/>
                  <a:pt x="25" y="223"/>
                </a:cubicBezTo>
                <a:cubicBezTo>
                  <a:pt x="24" y="223"/>
                  <a:pt x="24" y="223"/>
                  <a:pt x="23" y="223"/>
                </a:cubicBezTo>
                <a:cubicBezTo>
                  <a:pt x="24" y="224"/>
                  <a:pt x="24" y="223"/>
                  <a:pt x="24" y="224"/>
                </a:cubicBezTo>
                <a:cubicBezTo>
                  <a:pt x="24" y="224"/>
                  <a:pt x="24" y="224"/>
                  <a:pt x="24" y="224"/>
                </a:cubicBezTo>
                <a:close/>
                <a:moveTo>
                  <a:pt x="17" y="230"/>
                </a:moveTo>
                <a:cubicBezTo>
                  <a:pt x="18" y="228"/>
                  <a:pt x="19" y="228"/>
                  <a:pt x="19" y="227"/>
                </a:cubicBezTo>
                <a:cubicBezTo>
                  <a:pt x="19" y="227"/>
                  <a:pt x="16" y="229"/>
                  <a:pt x="17" y="230"/>
                </a:cubicBezTo>
                <a:close/>
                <a:moveTo>
                  <a:pt x="45" y="246"/>
                </a:moveTo>
                <a:cubicBezTo>
                  <a:pt x="45" y="246"/>
                  <a:pt x="46" y="247"/>
                  <a:pt x="46" y="247"/>
                </a:cubicBezTo>
                <a:cubicBezTo>
                  <a:pt x="45" y="247"/>
                  <a:pt x="45" y="248"/>
                  <a:pt x="45" y="248"/>
                </a:cubicBezTo>
                <a:cubicBezTo>
                  <a:pt x="46" y="248"/>
                  <a:pt x="46" y="247"/>
                  <a:pt x="47" y="247"/>
                </a:cubicBezTo>
                <a:cubicBezTo>
                  <a:pt x="47" y="247"/>
                  <a:pt x="47" y="247"/>
                  <a:pt x="47" y="247"/>
                </a:cubicBezTo>
                <a:cubicBezTo>
                  <a:pt x="46" y="247"/>
                  <a:pt x="46" y="245"/>
                  <a:pt x="45" y="246"/>
                </a:cubicBezTo>
                <a:close/>
                <a:moveTo>
                  <a:pt x="19" y="231"/>
                </a:moveTo>
                <a:cubicBezTo>
                  <a:pt x="19" y="231"/>
                  <a:pt x="18" y="231"/>
                  <a:pt x="18" y="231"/>
                </a:cubicBezTo>
                <a:cubicBezTo>
                  <a:pt x="19" y="232"/>
                  <a:pt x="19" y="230"/>
                  <a:pt x="18" y="230"/>
                </a:cubicBezTo>
                <a:cubicBezTo>
                  <a:pt x="18" y="231"/>
                  <a:pt x="19" y="230"/>
                  <a:pt x="19" y="231"/>
                </a:cubicBezTo>
                <a:close/>
                <a:moveTo>
                  <a:pt x="18" y="232"/>
                </a:moveTo>
                <a:cubicBezTo>
                  <a:pt x="18" y="234"/>
                  <a:pt x="17" y="234"/>
                  <a:pt x="17" y="235"/>
                </a:cubicBezTo>
                <a:cubicBezTo>
                  <a:pt x="17" y="235"/>
                  <a:pt x="17" y="234"/>
                  <a:pt x="18" y="234"/>
                </a:cubicBezTo>
                <a:cubicBezTo>
                  <a:pt x="18" y="233"/>
                  <a:pt x="19" y="232"/>
                  <a:pt x="18" y="232"/>
                </a:cubicBezTo>
                <a:cubicBezTo>
                  <a:pt x="17" y="232"/>
                  <a:pt x="18" y="233"/>
                  <a:pt x="18" y="232"/>
                </a:cubicBezTo>
                <a:close/>
                <a:moveTo>
                  <a:pt x="4" y="256"/>
                </a:moveTo>
                <a:cubicBezTo>
                  <a:pt x="5" y="255"/>
                  <a:pt x="5" y="254"/>
                  <a:pt x="6" y="253"/>
                </a:cubicBezTo>
                <a:cubicBezTo>
                  <a:pt x="5" y="254"/>
                  <a:pt x="4" y="255"/>
                  <a:pt x="4" y="256"/>
                </a:cubicBezTo>
                <a:close/>
                <a:moveTo>
                  <a:pt x="5" y="258"/>
                </a:moveTo>
                <a:cubicBezTo>
                  <a:pt x="6" y="257"/>
                  <a:pt x="6" y="258"/>
                  <a:pt x="6" y="257"/>
                </a:cubicBezTo>
                <a:cubicBezTo>
                  <a:pt x="6" y="257"/>
                  <a:pt x="6" y="256"/>
                  <a:pt x="6" y="257"/>
                </a:cubicBezTo>
                <a:cubicBezTo>
                  <a:pt x="6" y="257"/>
                  <a:pt x="6" y="257"/>
                  <a:pt x="6" y="257"/>
                </a:cubicBezTo>
                <a:cubicBezTo>
                  <a:pt x="5" y="257"/>
                  <a:pt x="5" y="257"/>
                  <a:pt x="5" y="258"/>
                </a:cubicBezTo>
                <a:close/>
                <a:moveTo>
                  <a:pt x="810" y="264"/>
                </a:moveTo>
                <a:cubicBezTo>
                  <a:pt x="810" y="263"/>
                  <a:pt x="808" y="261"/>
                  <a:pt x="809" y="261"/>
                </a:cubicBezTo>
                <a:cubicBezTo>
                  <a:pt x="810" y="263"/>
                  <a:pt x="809" y="259"/>
                  <a:pt x="809" y="258"/>
                </a:cubicBezTo>
                <a:cubicBezTo>
                  <a:pt x="810" y="258"/>
                  <a:pt x="811" y="261"/>
                  <a:pt x="811" y="261"/>
                </a:cubicBezTo>
                <a:cubicBezTo>
                  <a:pt x="809" y="256"/>
                  <a:pt x="809" y="255"/>
                  <a:pt x="807" y="251"/>
                </a:cubicBezTo>
                <a:cubicBezTo>
                  <a:pt x="808" y="254"/>
                  <a:pt x="807" y="252"/>
                  <a:pt x="806" y="253"/>
                </a:cubicBezTo>
                <a:cubicBezTo>
                  <a:pt x="806" y="253"/>
                  <a:pt x="807" y="260"/>
                  <a:pt x="805" y="261"/>
                </a:cubicBezTo>
                <a:cubicBezTo>
                  <a:pt x="805" y="261"/>
                  <a:pt x="804" y="259"/>
                  <a:pt x="804" y="259"/>
                </a:cubicBezTo>
                <a:cubicBezTo>
                  <a:pt x="803" y="261"/>
                  <a:pt x="804" y="266"/>
                  <a:pt x="801" y="262"/>
                </a:cubicBezTo>
                <a:cubicBezTo>
                  <a:pt x="805" y="271"/>
                  <a:pt x="805" y="267"/>
                  <a:pt x="806" y="266"/>
                </a:cubicBezTo>
                <a:cubicBezTo>
                  <a:pt x="806" y="266"/>
                  <a:pt x="810" y="269"/>
                  <a:pt x="808" y="265"/>
                </a:cubicBezTo>
                <a:cubicBezTo>
                  <a:pt x="809" y="266"/>
                  <a:pt x="810" y="269"/>
                  <a:pt x="810" y="268"/>
                </a:cubicBezTo>
                <a:cubicBezTo>
                  <a:pt x="811" y="267"/>
                  <a:pt x="808" y="263"/>
                  <a:pt x="810" y="264"/>
                </a:cubicBezTo>
                <a:close/>
                <a:moveTo>
                  <a:pt x="440" y="4"/>
                </a:moveTo>
                <a:cubicBezTo>
                  <a:pt x="437" y="3"/>
                  <a:pt x="437" y="4"/>
                  <a:pt x="434" y="4"/>
                </a:cubicBezTo>
                <a:cubicBezTo>
                  <a:pt x="434" y="3"/>
                  <a:pt x="433" y="3"/>
                  <a:pt x="433" y="3"/>
                </a:cubicBezTo>
                <a:cubicBezTo>
                  <a:pt x="435" y="3"/>
                  <a:pt x="437" y="3"/>
                  <a:pt x="438" y="2"/>
                </a:cubicBezTo>
                <a:cubicBezTo>
                  <a:pt x="434" y="2"/>
                  <a:pt x="429" y="3"/>
                  <a:pt x="425" y="3"/>
                </a:cubicBezTo>
                <a:cubicBezTo>
                  <a:pt x="428" y="3"/>
                  <a:pt x="433" y="4"/>
                  <a:pt x="437" y="4"/>
                </a:cubicBezTo>
                <a:cubicBezTo>
                  <a:pt x="436" y="4"/>
                  <a:pt x="434" y="4"/>
                  <a:pt x="434" y="4"/>
                </a:cubicBezTo>
                <a:cubicBezTo>
                  <a:pt x="439" y="4"/>
                  <a:pt x="441" y="4"/>
                  <a:pt x="443" y="5"/>
                </a:cubicBezTo>
                <a:cubicBezTo>
                  <a:pt x="442" y="4"/>
                  <a:pt x="446" y="5"/>
                  <a:pt x="446" y="5"/>
                </a:cubicBezTo>
                <a:cubicBezTo>
                  <a:pt x="444" y="4"/>
                  <a:pt x="444" y="5"/>
                  <a:pt x="440" y="4"/>
                </a:cubicBezTo>
                <a:close/>
                <a:moveTo>
                  <a:pt x="399" y="5"/>
                </a:moveTo>
                <a:cubicBezTo>
                  <a:pt x="398" y="4"/>
                  <a:pt x="401" y="4"/>
                  <a:pt x="398" y="4"/>
                </a:cubicBezTo>
                <a:cubicBezTo>
                  <a:pt x="393" y="5"/>
                  <a:pt x="386" y="4"/>
                  <a:pt x="382" y="5"/>
                </a:cubicBezTo>
                <a:cubicBezTo>
                  <a:pt x="385" y="5"/>
                  <a:pt x="389" y="5"/>
                  <a:pt x="390" y="6"/>
                </a:cubicBezTo>
                <a:cubicBezTo>
                  <a:pt x="395" y="5"/>
                  <a:pt x="398" y="6"/>
                  <a:pt x="400" y="5"/>
                </a:cubicBezTo>
                <a:lnTo>
                  <a:pt x="399" y="5"/>
                </a:lnTo>
                <a:close/>
                <a:moveTo>
                  <a:pt x="142" y="101"/>
                </a:moveTo>
                <a:cubicBezTo>
                  <a:pt x="142" y="102"/>
                  <a:pt x="141" y="103"/>
                  <a:pt x="143" y="102"/>
                </a:cubicBezTo>
                <a:cubicBezTo>
                  <a:pt x="147" y="98"/>
                  <a:pt x="152" y="95"/>
                  <a:pt x="156" y="91"/>
                </a:cubicBezTo>
                <a:cubicBezTo>
                  <a:pt x="154" y="92"/>
                  <a:pt x="153" y="93"/>
                  <a:pt x="152" y="94"/>
                </a:cubicBezTo>
                <a:cubicBezTo>
                  <a:pt x="153" y="93"/>
                  <a:pt x="154" y="92"/>
                  <a:pt x="154" y="91"/>
                </a:cubicBezTo>
                <a:cubicBezTo>
                  <a:pt x="149" y="95"/>
                  <a:pt x="141" y="101"/>
                  <a:pt x="134" y="107"/>
                </a:cubicBezTo>
                <a:cubicBezTo>
                  <a:pt x="135" y="107"/>
                  <a:pt x="140" y="103"/>
                  <a:pt x="142" y="101"/>
                </a:cubicBezTo>
                <a:close/>
                <a:moveTo>
                  <a:pt x="84" y="158"/>
                </a:moveTo>
                <a:cubicBezTo>
                  <a:pt x="84" y="159"/>
                  <a:pt x="84" y="160"/>
                  <a:pt x="83" y="160"/>
                </a:cubicBezTo>
                <a:cubicBezTo>
                  <a:pt x="83" y="161"/>
                  <a:pt x="83" y="162"/>
                  <a:pt x="84" y="161"/>
                </a:cubicBezTo>
                <a:cubicBezTo>
                  <a:pt x="84" y="161"/>
                  <a:pt x="84" y="161"/>
                  <a:pt x="84" y="161"/>
                </a:cubicBezTo>
                <a:cubicBezTo>
                  <a:pt x="84" y="160"/>
                  <a:pt x="84" y="160"/>
                  <a:pt x="84" y="160"/>
                </a:cubicBezTo>
                <a:cubicBezTo>
                  <a:pt x="85" y="160"/>
                  <a:pt x="84" y="161"/>
                  <a:pt x="85" y="161"/>
                </a:cubicBezTo>
                <a:cubicBezTo>
                  <a:pt x="85" y="160"/>
                  <a:pt x="86" y="160"/>
                  <a:pt x="85" y="160"/>
                </a:cubicBezTo>
                <a:cubicBezTo>
                  <a:pt x="85" y="160"/>
                  <a:pt x="85" y="160"/>
                  <a:pt x="85" y="160"/>
                </a:cubicBezTo>
                <a:cubicBezTo>
                  <a:pt x="85" y="160"/>
                  <a:pt x="85" y="159"/>
                  <a:pt x="85" y="159"/>
                </a:cubicBezTo>
                <a:cubicBezTo>
                  <a:pt x="85" y="159"/>
                  <a:pt x="86" y="159"/>
                  <a:pt x="87" y="158"/>
                </a:cubicBezTo>
                <a:cubicBezTo>
                  <a:pt x="85" y="159"/>
                  <a:pt x="86" y="157"/>
                  <a:pt x="84" y="158"/>
                </a:cubicBezTo>
                <a:close/>
                <a:moveTo>
                  <a:pt x="103" y="180"/>
                </a:moveTo>
                <a:cubicBezTo>
                  <a:pt x="102" y="180"/>
                  <a:pt x="102" y="181"/>
                  <a:pt x="102" y="181"/>
                </a:cubicBezTo>
                <a:cubicBezTo>
                  <a:pt x="102" y="181"/>
                  <a:pt x="103" y="181"/>
                  <a:pt x="103" y="181"/>
                </a:cubicBezTo>
                <a:cubicBezTo>
                  <a:pt x="103" y="181"/>
                  <a:pt x="102" y="181"/>
                  <a:pt x="103" y="182"/>
                </a:cubicBezTo>
                <a:cubicBezTo>
                  <a:pt x="103" y="182"/>
                  <a:pt x="103" y="181"/>
                  <a:pt x="104" y="181"/>
                </a:cubicBezTo>
                <a:cubicBezTo>
                  <a:pt x="103" y="182"/>
                  <a:pt x="103" y="182"/>
                  <a:pt x="103" y="183"/>
                </a:cubicBezTo>
                <a:cubicBezTo>
                  <a:pt x="103" y="182"/>
                  <a:pt x="104" y="182"/>
                  <a:pt x="104" y="181"/>
                </a:cubicBezTo>
                <a:cubicBezTo>
                  <a:pt x="103" y="182"/>
                  <a:pt x="104" y="180"/>
                  <a:pt x="103" y="180"/>
                </a:cubicBezTo>
                <a:close/>
                <a:moveTo>
                  <a:pt x="77" y="160"/>
                </a:moveTo>
                <a:cubicBezTo>
                  <a:pt x="79" y="161"/>
                  <a:pt x="79" y="158"/>
                  <a:pt x="80" y="158"/>
                </a:cubicBezTo>
                <a:cubicBezTo>
                  <a:pt x="80" y="157"/>
                  <a:pt x="80" y="157"/>
                  <a:pt x="80" y="157"/>
                </a:cubicBezTo>
                <a:cubicBezTo>
                  <a:pt x="79" y="157"/>
                  <a:pt x="78" y="159"/>
                  <a:pt x="77" y="160"/>
                </a:cubicBezTo>
                <a:close/>
                <a:moveTo>
                  <a:pt x="81" y="163"/>
                </a:moveTo>
                <a:cubicBezTo>
                  <a:pt x="81" y="163"/>
                  <a:pt x="81" y="164"/>
                  <a:pt x="81" y="164"/>
                </a:cubicBezTo>
                <a:cubicBezTo>
                  <a:pt x="81" y="164"/>
                  <a:pt x="80" y="165"/>
                  <a:pt x="80" y="165"/>
                </a:cubicBezTo>
                <a:cubicBezTo>
                  <a:pt x="82" y="164"/>
                  <a:pt x="83" y="163"/>
                  <a:pt x="83" y="162"/>
                </a:cubicBezTo>
                <a:cubicBezTo>
                  <a:pt x="83" y="161"/>
                  <a:pt x="83" y="161"/>
                  <a:pt x="82" y="161"/>
                </a:cubicBezTo>
                <a:cubicBezTo>
                  <a:pt x="81" y="161"/>
                  <a:pt x="82" y="163"/>
                  <a:pt x="81" y="163"/>
                </a:cubicBezTo>
                <a:close/>
                <a:moveTo>
                  <a:pt x="95" y="192"/>
                </a:moveTo>
                <a:cubicBezTo>
                  <a:pt x="95" y="192"/>
                  <a:pt x="95" y="192"/>
                  <a:pt x="94" y="192"/>
                </a:cubicBezTo>
                <a:cubicBezTo>
                  <a:pt x="94" y="192"/>
                  <a:pt x="94" y="193"/>
                  <a:pt x="94" y="193"/>
                </a:cubicBezTo>
                <a:cubicBezTo>
                  <a:pt x="93" y="193"/>
                  <a:pt x="93" y="194"/>
                  <a:pt x="94" y="194"/>
                </a:cubicBezTo>
                <a:cubicBezTo>
                  <a:pt x="93" y="194"/>
                  <a:pt x="91" y="196"/>
                  <a:pt x="91" y="197"/>
                </a:cubicBezTo>
                <a:cubicBezTo>
                  <a:pt x="91" y="197"/>
                  <a:pt x="91" y="197"/>
                  <a:pt x="91" y="197"/>
                </a:cubicBezTo>
                <a:cubicBezTo>
                  <a:pt x="91" y="198"/>
                  <a:pt x="90" y="198"/>
                  <a:pt x="90" y="199"/>
                </a:cubicBezTo>
                <a:cubicBezTo>
                  <a:pt x="91" y="197"/>
                  <a:pt x="92" y="197"/>
                  <a:pt x="93" y="197"/>
                </a:cubicBezTo>
                <a:cubicBezTo>
                  <a:pt x="93" y="197"/>
                  <a:pt x="93" y="197"/>
                  <a:pt x="93" y="196"/>
                </a:cubicBezTo>
                <a:cubicBezTo>
                  <a:pt x="93" y="196"/>
                  <a:pt x="94" y="195"/>
                  <a:pt x="94" y="195"/>
                </a:cubicBezTo>
                <a:cubicBezTo>
                  <a:pt x="94" y="195"/>
                  <a:pt x="94" y="195"/>
                  <a:pt x="94" y="196"/>
                </a:cubicBezTo>
                <a:cubicBezTo>
                  <a:pt x="95" y="194"/>
                  <a:pt x="95" y="192"/>
                  <a:pt x="96" y="193"/>
                </a:cubicBezTo>
                <a:cubicBezTo>
                  <a:pt x="96" y="193"/>
                  <a:pt x="96" y="193"/>
                  <a:pt x="96" y="193"/>
                </a:cubicBezTo>
                <a:cubicBezTo>
                  <a:pt x="97" y="193"/>
                  <a:pt x="97" y="193"/>
                  <a:pt x="97" y="192"/>
                </a:cubicBezTo>
                <a:cubicBezTo>
                  <a:pt x="96" y="193"/>
                  <a:pt x="97" y="192"/>
                  <a:pt x="96" y="192"/>
                </a:cubicBezTo>
                <a:cubicBezTo>
                  <a:pt x="96" y="193"/>
                  <a:pt x="96" y="192"/>
                  <a:pt x="95" y="192"/>
                </a:cubicBezTo>
                <a:close/>
                <a:moveTo>
                  <a:pt x="65" y="175"/>
                </a:moveTo>
                <a:cubicBezTo>
                  <a:pt x="64" y="175"/>
                  <a:pt x="64" y="175"/>
                  <a:pt x="63" y="175"/>
                </a:cubicBezTo>
                <a:cubicBezTo>
                  <a:pt x="63" y="175"/>
                  <a:pt x="63" y="175"/>
                  <a:pt x="63" y="176"/>
                </a:cubicBezTo>
                <a:cubicBezTo>
                  <a:pt x="64" y="176"/>
                  <a:pt x="64" y="176"/>
                  <a:pt x="64" y="177"/>
                </a:cubicBezTo>
                <a:cubicBezTo>
                  <a:pt x="65" y="175"/>
                  <a:pt x="66" y="175"/>
                  <a:pt x="67" y="173"/>
                </a:cubicBezTo>
                <a:cubicBezTo>
                  <a:pt x="65" y="173"/>
                  <a:pt x="66" y="174"/>
                  <a:pt x="65" y="175"/>
                </a:cubicBezTo>
                <a:close/>
                <a:moveTo>
                  <a:pt x="45" y="240"/>
                </a:moveTo>
                <a:cubicBezTo>
                  <a:pt x="46" y="241"/>
                  <a:pt x="46" y="241"/>
                  <a:pt x="46" y="241"/>
                </a:cubicBezTo>
                <a:cubicBezTo>
                  <a:pt x="45" y="241"/>
                  <a:pt x="45" y="242"/>
                  <a:pt x="44" y="243"/>
                </a:cubicBezTo>
                <a:cubicBezTo>
                  <a:pt x="44" y="243"/>
                  <a:pt x="43" y="243"/>
                  <a:pt x="43" y="243"/>
                </a:cubicBezTo>
                <a:cubicBezTo>
                  <a:pt x="43" y="244"/>
                  <a:pt x="43" y="244"/>
                  <a:pt x="42" y="245"/>
                </a:cubicBezTo>
                <a:cubicBezTo>
                  <a:pt x="43" y="245"/>
                  <a:pt x="43" y="245"/>
                  <a:pt x="44" y="244"/>
                </a:cubicBezTo>
                <a:cubicBezTo>
                  <a:pt x="44" y="244"/>
                  <a:pt x="44" y="244"/>
                  <a:pt x="44" y="244"/>
                </a:cubicBezTo>
                <a:cubicBezTo>
                  <a:pt x="44" y="244"/>
                  <a:pt x="45" y="243"/>
                  <a:pt x="45" y="244"/>
                </a:cubicBezTo>
                <a:cubicBezTo>
                  <a:pt x="45" y="241"/>
                  <a:pt x="47" y="241"/>
                  <a:pt x="48" y="239"/>
                </a:cubicBezTo>
                <a:cubicBezTo>
                  <a:pt x="47" y="238"/>
                  <a:pt x="48" y="238"/>
                  <a:pt x="48" y="237"/>
                </a:cubicBezTo>
                <a:cubicBezTo>
                  <a:pt x="47" y="238"/>
                  <a:pt x="47" y="240"/>
                  <a:pt x="45" y="240"/>
                </a:cubicBezTo>
                <a:close/>
                <a:moveTo>
                  <a:pt x="820" y="180"/>
                </a:moveTo>
                <a:cubicBezTo>
                  <a:pt x="820" y="181"/>
                  <a:pt x="820" y="181"/>
                  <a:pt x="820" y="181"/>
                </a:cubicBezTo>
                <a:cubicBezTo>
                  <a:pt x="821" y="181"/>
                  <a:pt x="820" y="180"/>
                  <a:pt x="820" y="180"/>
                </a:cubicBezTo>
                <a:close/>
                <a:moveTo>
                  <a:pt x="866" y="171"/>
                </a:moveTo>
                <a:cubicBezTo>
                  <a:pt x="865" y="171"/>
                  <a:pt x="865" y="172"/>
                  <a:pt x="865" y="172"/>
                </a:cubicBezTo>
                <a:cubicBezTo>
                  <a:pt x="865" y="172"/>
                  <a:pt x="866" y="172"/>
                  <a:pt x="866" y="171"/>
                </a:cubicBezTo>
                <a:close/>
                <a:moveTo>
                  <a:pt x="867" y="170"/>
                </a:moveTo>
                <a:cubicBezTo>
                  <a:pt x="867" y="170"/>
                  <a:pt x="866" y="171"/>
                  <a:pt x="866" y="171"/>
                </a:cubicBezTo>
                <a:cubicBezTo>
                  <a:pt x="867" y="171"/>
                  <a:pt x="867" y="170"/>
                  <a:pt x="867" y="170"/>
                </a:cubicBezTo>
                <a:close/>
                <a:moveTo>
                  <a:pt x="861" y="164"/>
                </a:moveTo>
                <a:cubicBezTo>
                  <a:pt x="861" y="164"/>
                  <a:pt x="861" y="165"/>
                  <a:pt x="861" y="165"/>
                </a:cubicBezTo>
                <a:cubicBezTo>
                  <a:pt x="861" y="164"/>
                  <a:pt x="861" y="164"/>
                  <a:pt x="861" y="164"/>
                </a:cubicBezTo>
                <a:close/>
                <a:moveTo>
                  <a:pt x="868" y="162"/>
                </a:moveTo>
                <a:cubicBezTo>
                  <a:pt x="868" y="163"/>
                  <a:pt x="868" y="163"/>
                  <a:pt x="868" y="164"/>
                </a:cubicBezTo>
                <a:cubicBezTo>
                  <a:pt x="868" y="163"/>
                  <a:pt x="868" y="162"/>
                  <a:pt x="868" y="162"/>
                </a:cubicBezTo>
                <a:close/>
                <a:moveTo>
                  <a:pt x="837" y="147"/>
                </a:moveTo>
                <a:cubicBezTo>
                  <a:pt x="837" y="148"/>
                  <a:pt x="837" y="150"/>
                  <a:pt x="836" y="151"/>
                </a:cubicBezTo>
                <a:cubicBezTo>
                  <a:pt x="837" y="150"/>
                  <a:pt x="837" y="148"/>
                  <a:pt x="837" y="147"/>
                </a:cubicBezTo>
                <a:close/>
                <a:moveTo>
                  <a:pt x="852" y="150"/>
                </a:moveTo>
                <a:cubicBezTo>
                  <a:pt x="852" y="149"/>
                  <a:pt x="852" y="149"/>
                  <a:pt x="852" y="149"/>
                </a:cubicBezTo>
                <a:cubicBezTo>
                  <a:pt x="852" y="148"/>
                  <a:pt x="853" y="145"/>
                  <a:pt x="852" y="146"/>
                </a:cubicBezTo>
                <a:cubicBezTo>
                  <a:pt x="852" y="147"/>
                  <a:pt x="851" y="150"/>
                  <a:pt x="851" y="151"/>
                </a:cubicBezTo>
                <a:cubicBezTo>
                  <a:pt x="852" y="151"/>
                  <a:pt x="852" y="150"/>
                  <a:pt x="852" y="150"/>
                </a:cubicBezTo>
                <a:close/>
                <a:moveTo>
                  <a:pt x="857" y="134"/>
                </a:moveTo>
                <a:cubicBezTo>
                  <a:pt x="857" y="134"/>
                  <a:pt x="857" y="134"/>
                  <a:pt x="857" y="134"/>
                </a:cubicBezTo>
                <a:cubicBezTo>
                  <a:pt x="857" y="135"/>
                  <a:pt x="857" y="135"/>
                  <a:pt x="857" y="135"/>
                </a:cubicBezTo>
                <a:lnTo>
                  <a:pt x="857" y="134"/>
                </a:lnTo>
                <a:close/>
                <a:moveTo>
                  <a:pt x="855" y="121"/>
                </a:moveTo>
                <a:cubicBezTo>
                  <a:pt x="855" y="119"/>
                  <a:pt x="855" y="121"/>
                  <a:pt x="855" y="122"/>
                </a:cubicBezTo>
                <a:cubicBezTo>
                  <a:pt x="854" y="122"/>
                  <a:pt x="855" y="122"/>
                  <a:pt x="855" y="122"/>
                </a:cubicBezTo>
                <a:cubicBezTo>
                  <a:pt x="854" y="123"/>
                  <a:pt x="853" y="126"/>
                  <a:pt x="854" y="127"/>
                </a:cubicBezTo>
                <a:cubicBezTo>
                  <a:pt x="854" y="125"/>
                  <a:pt x="855" y="123"/>
                  <a:pt x="855" y="121"/>
                </a:cubicBezTo>
                <a:close/>
                <a:moveTo>
                  <a:pt x="861" y="127"/>
                </a:moveTo>
                <a:cubicBezTo>
                  <a:pt x="861" y="127"/>
                  <a:pt x="861" y="128"/>
                  <a:pt x="861" y="128"/>
                </a:cubicBezTo>
                <a:cubicBezTo>
                  <a:pt x="862" y="128"/>
                  <a:pt x="862" y="127"/>
                  <a:pt x="861" y="127"/>
                </a:cubicBezTo>
                <a:close/>
                <a:moveTo>
                  <a:pt x="843" y="120"/>
                </a:moveTo>
                <a:cubicBezTo>
                  <a:pt x="843" y="121"/>
                  <a:pt x="842" y="121"/>
                  <a:pt x="842" y="122"/>
                </a:cubicBezTo>
                <a:cubicBezTo>
                  <a:pt x="843" y="121"/>
                  <a:pt x="843" y="120"/>
                  <a:pt x="843" y="120"/>
                </a:cubicBezTo>
                <a:close/>
                <a:moveTo>
                  <a:pt x="859" y="124"/>
                </a:moveTo>
                <a:cubicBezTo>
                  <a:pt x="859" y="125"/>
                  <a:pt x="859" y="126"/>
                  <a:pt x="859" y="126"/>
                </a:cubicBezTo>
                <a:cubicBezTo>
                  <a:pt x="859" y="125"/>
                  <a:pt x="860" y="124"/>
                  <a:pt x="859" y="124"/>
                </a:cubicBezTo>
                <a:close/>
                <a:moveTo>
                  <a:pt x="862" y="124"/>
                </a:moveTo>
                <a:cubicBezTo>
                  <a:pt x="862" y="124"/>
                  <a:pt x="861" y="125"/>
                  <a:pt x="862" y="126"/>
                </a:cubicBezTo>
                <a:cubicBezTo>
                  <a:pt x="862" y="125"/>
                  <a:pt x="862" y="124"/>
                  <a:pt x="862" y="124"/>
                </a:cubicBezTo>
                <a:close/>
                <a:moveTo>
                  <a:pt x="839" y="118"/>
                </a:moveTo>
                <a:cubicBezTo>
                  <a:pt x="839" y="118"/>
                  <a:pt x="839" y="119"/>
                  <a:pt x="839" y="119"/>
                </a:cubicBezTo>
                <a:cubicBezTo>
                  <a:pt x="839" y="119"/>
                  <a:pt x="839" y="118"/>
                  <a:pt x="839" y="118"/>
                </a:cubicBezTo>
                <a:close/>
                <a:moveTo>
                  <a:pt x="844" y="116"/>
                </a:moveTo>
                <a:cubicBezTo>
                  <a:pt x="843" y="117"/>
                  <a:pt x="843" y="119"/>
                  <a:pt x="843" y="119"/>
                </a:cubicBezTo>
                <a:cubicBezTo>
                  <a:pt x="843" y="118"/>
                  <a:pt x="844" y="117"/>
                  <a:pt x="844" y="116"/>
                </a:cubicBezTo>
                <a:close/>
                <a:moveTo>
                  <a:pt x="862" y="120"/>
                </a:moveTo>
                <a:cubicBezTo>
                  <a:pt x="862" y="121"/>
                  <a:pt x="861" y="122"/>
                  <a:pt x="862" y="123"/>
                </a:cubicBezTo>
                <a:cubicBezTo>
                  <a:pt x="862" y="122"/>
                  <a:pt x="863" y="121"/>
                  <a:pt x="862" y="120"/>
                </a:cubicBezTo>
                <a:close/>
                <a:moveTo>
                  <a:pt x="855" y="118"/>
                </a:moveTo>
                <a:cubicBezTo>
                  <a:pt x="855" y="118"/>
                  <a:pt x="855" y="119"/>
                  <a:pt x="855" y="119"/>
                </a:cubicBezTo>
                <a:cubicBezTo>
                  <a:pt x="855" y="119"/>
                  <a:pt x="856" y="118"/>
                  <a:pt x="855" y="118"/>
                </a:cubicBezTo>
                <a:close/>
                <a:moveTo>
                  <a:pt x="858" y="117"/>
                </a:moveTo>
                <a:cubicBezTo>
                  <a:pt x="857" y="117"/>
                  <a:pt x="857" y="118"/>
                  <a:pt x="857" y="118"/>
                </a:cubicBezTo>
                <a:cubicBezTo>
                  <a:pt x="857" y="118"/>
                  <a:pt x="858" y="117"/>
                  <a:pt x="858" y="117"/>
                </a:cubicBezTo>
                <a:close/>
                <a:moveTo>
                  <a:pt x="860" y="116"/>
                </a:moveTo>
                <a:cubicBezTo>
                  <a:pt x="860" y="116"/>
                  <a:pt x="860" y="116"/>
                  <a:pt x="860" y="116"/>
                </a:cubicBezTo>
                <a:cubicBezTo>
                  <a:pt x="859" y="115"/>
                  <a:pt x="859" y="117"/>
                  <a:pt x="859" y="117"/>
                </a:cubicBezTo>
                <a:cubicBezTo>
                  <a:pt x="860" y="117"/>
                  <a:pt x="859" y="117"/>
                  <a:pt x="860" y="116"/>
                </a:cubicBezTo>
                <a:close/>
                <a:moveTo>
                  <a:pt x="849" y="110"/>
                </a:moveTo>
                <a:cubicBezTo>
                  <a:pt x="848" y="113"/>
                  <a:pt x="849" y="111"/>
                  <a:pt x="849" y="110"/>
                </a:cubicBezTo>
                <a:close/>
                <a:moveTo>
                  <a:pt x="845" y="105"/>
                </a:moveTo>
                <a:cubicBezTo>
                  <a:pt x="844" y="106"/>
                  <a:pt x="844" y="106"/>
                  <a:pt x="844" y="107"/>
                </a:cubicBezTo>
                <a:cubicBezTo>
                  <a:pt x="844" y="107"/>
                  <a:pt x="845" y="105"/>
                  <a:pt x="845" y="105"/>
                </a:cubicBezTo>
                <a:close/>
                <a:moveTo>
                  <a:pt x="844" y="105"/>
                </a:moveTo>
                <a:cubicBezTo>
                  <a:pt x="843" y="105"/>
                  <a:pt x="843" y="106"/>
                  <a:pt x="843" y="106"/>
                </a:cubicBezTo>
                <a:lnTo>
                  <a:pt x="844" y="105"/>
                </a:lnTo>
                <a:close/>
                <a:moveTo>
                  <a:pt x="836" y="101"/>
                </a:moveTo>
                <a:cubicBezTo>
                  <a:pt x="836" y="102"/>
                  <a:pt x="836" y="102"/>
                  <a:pt x="836" y="102"/>
                </a:cubicBezTo>
                <a:cubicBezTo>
                  <a:pt x="836" y="102"/>
                  <a:pt x="836" y="101"/>
                  <a:pt x="836" y="101"/>
                </a:cubicBezTo>
                <a:close/>
                <a:moveTo>
                  <a:pt x="838" y="98"/>
                </a:moveTo>
                <a:cubicBezTo>
                  <a:pt x="839" y="95"/>
                  <a:pt x="838" y="96"/>
                  <a:pt x="838" y="98"/>
                </a:cubicBezTo>
                <a:close/>
                <a:moveTo>
                  <a:pt x="828" y="135"/>
                </a:moveTo>
                <a:cubicBezTo>
                  <a:pt x="828" y="136"/>
                  <a:pt x="828" y="137"/>
                  <a:pt x="827" y="137"/>
                </a:cubicBezTo>
                <a:cubicBezTo>
                  <a:pt x="828" y="138"/>
                  <a:pt x="828" y="138"/>
                  <a:pt x="828" y="138"/>
                </a:cubicBezTo>
                <a:cubicBezTo>
                  <a:pt x="828" y="137"/>
                  <a:pt x="829" y="136"/>
                  <a:pt x="828" y="135"/>
                </a:cubicBezTo>
                <a:close/>
                <a:moveTo>
                  <a:pt x="846" y="121"/>
                </a:moveTo>
                <a:cubicBezTo>
                  <a:pt x="847" y="121"/>
                  <a:pt x="846" y="122"/>
                  <a:pt x="846" y="123"/>
                </a:cubicBezTo>
                <a:cubicBezTo>
                  <a:pt x="847" y="121"/>
                  <a:pt x="848" y="117"/>
                  <a:pt x="848" y="115"/>
                </a:cubicBezTo>
                <a:cubicBezTo>
                  <a:pt x="848" y="117"/>
                  <a:pt x="846" y="118"/>
                  <a:pt x="847" y="119"/>
                </a:cubicBezTo>
                <a:cubicBezTo>
                  <a:pt x="847" y="119"/>
                  <a:pt x="847" y="119"/>
                  <a:pt x="847" y="118"/>
                </a:cubicBezTo>
                <a:cubicBezTo>
                  <a:pt x="846" y="119"/>
                  <a:pt x="846" y="120"/>
                  <a:pt x="846" y="121"/>
                </a:cubicBezTo>
                <a:cubicBezTo>
                  <a:pt x="846" y="121"/>
                  <a:pt x="846" y="120"/>
                  <a:pt x="846" y="120"/>
                </a:cubicBezTo>
                <a:cubicBezTo>
                  <a:pt x="846" y="121"/>
                  <a:pt x="845" y="121"/>
                  <a:pt x="845" y="121"/>
                </a:cubicBezTo>
                <a:cubicBezTo>
                  <a:pt x="846" y="122"/>
                  <a:pt x="846" y="121"/>
                  <a:pt x="846" y="121"/>
                </a:cubicBezTo>
                <a:close/>
                <a:moveTo>
                  <a:pt x="860" y="122"/>
                </a:moveTo>
                <a:cubicBezTo>
                  <a:pt x="860" y="122"/>
                  <a:pt x="859" y="123"/>
                  <a:pt x="860" y="123"/>
                </a:cubicBezTo>
                <a:cubicBezTo>
                  <a:pt x="860" y="123"/>
                  <a:pt x="860" y="123"/>
                  <a:pt x="860" y="123"/>
                </a:cubicBezTo>
                <a:cubicBezTo>
                  <a:pt x="859" y="124"/>
                  <a:pt x="860" y="122"/>
                  <a:pt x="860" y="122"/>
                </a:cubicBezTo>
                <a:close/>
                <a:moveTo>
                  <a:pt x="861" y="115"/>
                </a:moveTo>
                <a:cubicBezTo>
                  <a:pt x="861" y="115"/>
                  <a:pt x="861" y="115"/>
                  <a:pt x="861" y="115"/>
                </a:cubicBezTo>
                <a:cubicBezTo>
                  <a:pt x="862" y="117"/>
                  <a:pt x="859" y="120"/>
                  <a:pt x="860" y="122"/>
                </a:cubicBezTo>
                <a:cubicBezTo>
                  <a:pt x="860" y="118"/>
                  <a:pt x="862" y="115"/>
                  <a:pt x="862" y="112"/>
                </a:cubicBezTo>
                <a:cubicBezTo>
                  <a:pt x="862" y="112"/>
                  <a:pt x="862" y="111"/>
                  <a:pt x="862" y="111"/>
                </a:cubicBezTo>
                <a:cubicBezTo>
                  <a:pt x="862" y="110"/>
                  <a:pt x="864" y="107"/>
                  <a:pt x="863" y="106"/>
                </a:cubicBezTo>
                <a:cubicBezTo>
                  <a:pt x="863" y="107"/>
                  <a:pt x="862" y="108"/>
                  <a:pt x="862" y="110"/>
                </a:cubicBezTo>
                <a:cubicBezTo>
                  <a:pt x="861" y="109"/>
                  <a:pt x="861" y="109"/>
                  <a:pt x="861" y="109"/>
                </a:cubicBezTo>
                <a:cubicBezTo>
                  <a:pt x="862" y="111"/>
                  <a:pt x="861" y="114"/>
                  <a:pt x="861" y="115"/>
                </a:cubicBezTo>
                <a:close/>
                <a:moveTo>
                  <a:pt x="842" y="104"/>
                </a:moveTo>
                <a:cubicBezTo>
                  <a:pt x="842" y="105"/>
                  <a:pt x="842" y="105"/>
                  <a:pt x="842" y="106"/>
                </a:cubicBezTo>
                <a:cubicBezTo>
                  <a:pt x="843" y="105"/>
                  <a:pt x="842" y="104"/>
                  <a:pt x="842" y="104"/>
                </a:cubicBezTo>
                <a:close/>
                <a:moveTo>
                  <a:pt x="707" y="252"/>
                </a:moveTo>
                <a:cubicBezTo>
                  <a:pt x="708" y="252"/>
                  <a:pt x="709" y="252"/>
                  <a:pt x="710" y="253"/>
                </a:cubicBezTo>
                <a:cubicBezTo>
                  <a:pt x="710" y="254"/>
                  <a:pt x="709" y="255"/>
                  <a:pt x="710" y="256"/>
                </a:cubicBezTo>
                <a:cubicBezTo>
                  <a:pt x="712" y="257"/>
                  <a:pt x="715" y="253"/>
                  <a:pt x="715" y="256"/>
                </a:cubicBezTo>
                <a:cubicBezTo>
                  <a:pt x="717" y="258"/>
                  <a:pt x="720" y="259"/>
                  <a:pt x="723" y="259"/>
                </a:cubicBezTo>
                <a:cubicBezTo>
                  <a:pt x="725" y="260"/>
                  <a:pt x="726" y="261"/>
                  <a:pt x="728" y="262"/>
                </a:cubicBezTo>
                <a:cubicBezTo>
                  <a:pt x="730" y="262"/>
                  <a:pt x="733" y="262"/>
                  <a:pt x="734" y="263"/>
                </a:cubicBezTo>
                <a:cubicBezTo>
                  <a:pt x="736" y="263"/>
                  <a:pt x="737" y="264"/>
                  <a:pt x="739" y="265"/>
                </a:cubicBezTo>
                <a:cubicBezTo>
                  <a:pt x="744" y="267"/>
                  <a:pt x="749" y="267"/>
                  <a:pt x="753" y="269"/>
                </a:cubicBezTo>
                <a:cubicBezTo>
                  <a:pt x="756" y="269"/>
                  <a:pt x="760" y="271"/>
                  <a:pt x="762" y="272"/>
                </a:cubicBezTo>
                <a:cubicBezTo>
                  <a:pt x="765" y="272"/>
                  <a:pt x="768" y="274"/>
                  <a:pt x="771" y="275"/>
                </a:cubicBezTo>
                <a:cubicBezTo>
                  <a:pt x="772" y="275"/>
                  <a:pt x="774" y="275"/>
                  <a:pt x="776" y="276"/>
                </a:cubicBezTo>
                <a:cubicBezTo>
                  <a:pt x="776" y="276"/>
                  <a:pt x="777" y="276"/>
                  <a:pt x="777" y="276"/>
                </a:cubicBezTo>
                <a:cubicBezTo>
                  <a:pt x="779" y="277"/>
                  <a:pt x="781" y="277"/>
                  <a:pt x="782" y="277"/>
                </a:cubicBezTo>
                <a:cubicBezTo>
                  <a:pt x="784" y="278"/>
                  <a:pt x="785" y="279"/>
                  <a:pt x="787" y="279"/>
                </a:cubicBezTo>
                <a:cubicBezTo>
                  <a:pt x="789" y="280"/>
                  <a:pt x="792" y="281"/>
                  <a:pt x="795" y="281"/>
                </a:cubicBezTo>
                <a:cubicBezTo>
                  <a:pt x="796" y="282"/>
                  <a:pt x="798" y="282"/>
                  <a:pt x="799" y="282"/>
                </a:cubicBezTo>
                <a:cubicBezTo>
                  <a:pt x="800" y="283"/>
                  <a:pt x="800" y="283"/>
                  <a:pt x="801" y="283"/>
                </a:cubicBezTo>
                <a:cubicBezTo>
                  <a:pt x="802" y="283"/>
                  <a:pt x="802" y="283"/>
                  <a:pt x="802" y="283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4" y="285"/>
                  <a:pt x="805" y="284"/>
                  <a:pt x="806" y="285"/>
                </a:cubicBezTo>
                <a:cubicBezTo>
                  <a:pt x="807" y="285"/>
                  <a:pt x="808" y="286"/>
                  <a:pt x="809" y="287"/>
                </a:cubicBezTo>
                <a:cubicBezTo>
                  <a:pt x="810" y="286"/>
                  <a:pt x="811" y="287"/>
                  <a:pt x="812" y="288"/>
                </a:cubicBezTo>
                <a:cubicBezTo>
                  <a:pt x="813" y="288"/>
                  <a:pt x="813" y="288"/>
                  <a:pt x="813" y="288"/>
                </a:cubicBezTo>
                <a:cubicBezTo>
                  <a:pt x="813" y="288"/>
                  <a:pt x="813" y="287"/>
                  <a:pt x="813" y="287"/>
                </a:cubicBezTo>
                <a:cubicBezTo>
                  <a:pt x="813" y="287"/>
                  <a:pt x="813" y="287"/>
                  <a:pt x="813" y="286"/>
                </a:cubicBezTo>
                <a:cubicBezTo>
                  <a:pt x="813" y="286"/>
                  <a:pt x="813" y="286"/>
                  <a:pt x="813" y="286"/>
                </a:cubicBezTo>
                <a:cubicBezTo>
                  <a:pt x="813" y="285"/>
                  <a:pt x="813" y="285"/>
                  <a:pt x="813" y="284"/>
                </a:cubicBezTo>
                <a:cubicBezTo>
                  <a:pt x="813" y="282"/>
                  <a:pt x="813" y="282"/>
                  <a:pt x="813" y="282"/>
                </a:cubicBezTo>
                <a:cubicBezTo>
                  <a:pt x="813" y="282"/>
                  <a:pt x="812" y="281"/>
                  <a:pt x="812" y="280"/>
                </a:cubicBezTo>
                <a:cubicBezTo>
                  <a:pt x="812" y="280"/>
                  <a:pt x="813" y="280"/>
                  <a:pt x="813" y="279"/>
                </a:cubicBezTo>
                <a:cubicBezTo>
                  <a:pt x="813" y="279"/>
                  <a:pt x="812" y="279"/>
                  <a:pt x="812" y="279"/>
                </a:cubicBezTo>
                <a:cubicBezTo>
                  <a:pt x="812" y="278"/>
                  <a:pt x="812" y="278"/>
                  <a:pt x="812" y="278"/>
                </a:cubicBezTo>
                <a:cubicBezTo>
                  <a:pt x="812" y="277"/>
                  <a:pt x="812" y="277"/>
                  <a:pt x="812" y="277"/>
                </a:cubicBezTo>
                <a:cubicBezTo>
                  <a:pt x="812" y="276"/>
                  <a:pt x="812" y="276"/>
                  <a:pt x="812" y="275"/>
                </a:cubicBezTo>
                <a:cubicBezTo>
                  <a:pt x="813" y="270"/>
                  <a:pt x="813" y="265"/>
                  <a:pt x="813" y="259"/>
                </a:cubicBezTo>
                <a:cubicBezTo>
                  <a:pt x="813" y="254"/>
                  <a:pt x="813" y="250"/>
                  <a:pt x="813" y="245"/>
                </a:cubicBezTo>
                <a:cubicBezTo>
                  <a:pt x="815" y="226"/>
                  <a:pt x="815" y="226"/>
                  <a:pt x="815" y="226"/>
                </a:cubicBezTo>
                <a:cubicBezTo>
                  <a:pt x="815" y="219"/>
                  <a:pt x="816" y="212"/>
                  <a:pt x="817" y="206"/>
                </a:cubicBezTo>
                <a:cubicBezTo>
                  <a:pt x="817" y="206"/>
                  <a:pt x="818" y="205"/>
                  <a:pt x="818" y="205"/>
                </a:cubicBezTo>
                <a:cubicBezTo>
                  <a:pt x="818" y="204"/>
                  <a:pt x="817" y="204"/>
                  <a:pt x="818" y="204"/>
                </a:cubicBezTo>
                <a:cubicBezTo>
                  <a:pt x="818" y="203"/>
                  <a:pt x="818" y="203"/>
                  <a:pt x="818" y="203"/>
                </a:cubicBezTo>
                <a:cubicBezTo>
                  <a:pt x="819" y="197"/>
                  <a:pt x="820" y="192"/>
                  <a:pt x="822" y="186"/>
                </a:cubicBezTo>
                <a:cubicBezTo>
                  <a:pt x="822" y="185"/>
                  <a:pt x="822" y="186"/>
                  <a:pt x="822" y="186"/>
                </a:cubicBezTo>
                <a:cubicBezTo>
                  <a:pt x="823" y="183"/>
                  <a:pt x="824" y="178"/>
                  <a:pt x="825" y="175"/>
                </a:cubicBezTo>
                <a:cubicBezTo>
                  <a:pt x="825" y="173"/>
                  <a:pt x="825" y="171"/>
                  <a:pt x="826" y="170"/>
                </a:cubicBezTo>
                <a:cubicBezTo>
                  <a:pt x="826" y="169"/>
                  <a:pt x="825" y="169"/>
                  <a:pt x="825" y="169"/>
                </a:cubicBezTo>
                <a:cubicBezTo>
                  <a:pt x="826" y="169"/>
                  <a:pt x="826" y="169"/>
                  <a:pt x="826" y="169"/>
                </a:cubicBezTo>
                <a:cubicBezTo>
                  <a:pt x="826" y="167"/>
                  <a:pt x="826" y="167"/>
                  <a:pt x="826" y="167"/>
                </a:cubicBezTo>
                <a:cubicBezTo>
                  <a:pt x="827" y="164"/>
                  <a:pt x="828" y="160"/>
                  <a:pt x="829" y="156"/>
                </a:cubicBezTo>
                <a:cubicBezTo>
                  <a:pt x="829" y="155"/>
                  <a:pt x="829" y="155"/>
                  <a:pt x="829" y="154"/>
                </a:cubicBezTo>
                <a:cubicBezTo>
                  <a:pt x="830" y="154"/>
                  <a:pt x="830" y="154"/>
                  <a:pt x="829" y="153"/>
                </a:cubicBezTo>
                <a:cubicBezTo>
                  <a:pt x="829" y="153"/>
                  <a:pt x="830" y="151"/>
                  <a:pt x="830" y="152"/>
                </a:cubicBezTo>
                <a:cubicBezTo>
                  <a:pt x="830" y="151"/>
                  <a:pt x="830" y="152"/>
                  <a:pt x="830" y="152"/>
                </a:cubicBezTo>
                <a:cubicBezTo>
                  <a:pt x="831" y="151"/>
                  <a:pt x="831" y="149"/>
                  <a:pt x="831" y="147"/>
                </a:cubicBezTo>
                <a:cubicBezTo>
                  <a:pt x="831" y="146"/>
                  <a:pt x="832" y="144"/>
                  <a:pt x="833" y="142"/>
                </a:cubicBezTo>
                <a:cubicBezTo>
                  <a:pt x="833" y="144"/>
                  <a:pt x="833" y="146"/>
                  <a:pt x="835" y="147"/>
                </a:cubicBezTo>
                <a:cubicBezTo>
                  <a:pt x="836" y="145"/>
                  <a:pt x="836" y="141"/>
                  <a:pt x="837" y="140"/>
                </a:cubicBezTo>
                <a:cubicBezTo>
                  <a:pt x="838" y="135"/>
                  <a:pt x="839" y="130"/>
                  <a:pt x="840" y="125"/>
                </a:cubicBezTo>
                <a:cubicBezTo>
                  <a:pt x="840" y="124"/>
                  <a:pt x="840" y="124"/>
                  <a:pt x="840" y="124"/>
                </a:cubicBezTo>
                <a:cubicBezTo>
                  <a:pt x="842" y="119"/>
                  <a:pt x="842" y="114"/>
                  <a:pt x="844" y="108"/>
                </a:cubicBezTo>
                <a:cubicBezTo>
                  <a:pt x="842" y="119"/>
                  <a:pt x="839" y="128"/>
                  <a:pt x="838" y="138"/>
                </a:cubicBezTo>
                <a:cubicBezTo>
                  <a:pt x="837" y="140"/>
                  <a:pt x="836" y="146"/>
                  <a:pt x="835" y="150"/>
                </a:cubicBezTo>
                <a:cubicBezTo>
                  <a:pt x="835" y="152"/>
                  <a:pt x="836" y="153"/>
                  <a:pt x="838" y="152"/>
                </a:cubicBezTo>
                <a:cubicBezTo>
                  <a:pt x="840" y="150"/>
                  <a:pt x="839" y="147"/>
                  <a:pt x="840" y="145"/>
                </a:cubicBezTo>
                <a:cubicBezTo>
                  <a:pt x="841" y="145"/>
                  <a:pt x="841" y="144"/>
                  <a:pt x="842" y="145"/>
                </a:cubicBezTo>
                <a:cubicBezTo>
                  <a:pt x="842" y="150"/>
                  <a:pt x="840" y="156"/>
                  <a:pt x="840" y="160"/>
                </a:cubicBezTo>
                <a:cubicBezTo>
                  <a:pt x="840" y="161"/>
                  <a:pt x="840" y="162"/>
                  <a:pt x="840" y="163"/>
                </a:cubicBezTo>
                <a:cubicBezTo>
                  <a:pt x="840" y="163"/>
                  <a:pt x="840" y="164"/>
                  <a:pt x="841" y="164"/>
                </a:cubicBezTo>
                <a:cubicBezTo>
                  <a:pt x="841" y="164"/>
                  <a:pt x="841" y="164"/>
                  <a:pt x="842" y="164"/>
                </a:cubicBezTo>
                <a:cubicBezTo>
                  <a:pt x="842" y="159"/>
                  <a:pt x="846" y="156"/>
                  <a:pt x="846" y="151"/>
                </a:cubicBezTo>
                <a:cubicBezTo>
                  <a:pt x="847" y="150"/>
                  <a:pt x="848" y="149"/>
                  <a:pt x="849" y="149"/>
                </a:cubicBezTo>
                <a:cubicBezTo>
                  <a:pt x="849" y="147"/>
                  <a:pt x="850" y="145"/>
                  <a:pt x="850" y="143"/>
                </a:cubicBezTo>
                <a:cubicBezTo>
                  <a:pt x="850" y="142"/>
                  <a:pt x="850" y="142"/>
                  <a:pt x="850" y="142"/>
                </a:cubicBezTo>
                <a:cubicBezTo>
                  <a:pt x="851" y="137"/>
                  <a:pt x="851" y="133"/>
                  <a:pt x="853" y="129"/>
                </a:cubicBezTo>
                <a:cubicBezTo>
                  <a:pt x="853" y="133"/>
                  <a:pt x="852" y="136"/>
                  <a:pt x="851" y="140"/>
                </a:cubicBezTo>
                <a:cubicBezTo>
                  <a:pt x="851" y="140"/>
                  <a:pt x="852" y="141"/>
                  <a:pt x="852" y="141"/>
                </a:cubicBezTo>
                <a:cubicBezTo>
                  <a:pt x="851" y="144"/>
                  <a:pt x="850" y="149"/>
                  <a:pt x="849" y="152"/>
                </a:cubicBezTo>
                <a:cubicBezTo>
                  <a:pt x="850" y="153"/>
                  <a:pt x="851" y="153"/>
                  <a:pt x="851" y="152"/>
                </a:cubicBezTo>
                <a:cubicBezTo>
                  <a:pt x="851" y="152"/>
                  <a:pt x="851" y="153"/>
                  <a:pt x="851" y="153"/>
                </a:cubicBezTo>
                <a:cubicBezTo>
                  <a:pt x="851" y="153"/>
                  <a:pt x="851" y="153"/>
                  <a:pt x="852" y="153"/>
                </a:cubicBezTo>
                <a:cubicBezTo>
                  <a:pt x="851" y="155"/>
                  <a:pt x="851" y="155"/>
                  <a:pt x="851" y="157"/>
                </a:cubicBezTo>
                <a:cubicBezTo>
                  <a:pt x="851" y="158"/>
                  <a:pt x="851" y="158"/>
                  <a:pt x="852" y="158"/>
                </a:cubicBezTo>
                <a:cubicBezTo>
                  <a:pt x="852" y="156"/>
                  <a:pt x="853" y="155"/>
                  <a:pt x="853" y="153"/>
                </a:cubicBezTo>
                <a:cubicBezTo>
                  <a:pt x="853" y="152"/>
                  <a:pt x="853" y="151"/>
                  <a:pt x="853" y="151"/>
                </a:cubicBezTo>
                <a:cubicBezTo>
                  <a:pt x="853" y="150"/>
                  <a:pt x="853" y="150"/>
                  <a:pt x="854" y="150"/>
                </a:cubicBezTo>
                <a:cubicBezTo>
                  <a:pt x="854" y="149"/>
                  <a:pt x="853" y="149"/>
                  <a:pt x="853" y="148"/>
                </a:cubicBezTo>
                <a:cubicBezTo>
                  <a:pt x="853" y="148"/>
                  <a:pt x="854" y="148"/>
                  <a:pt x="854" y="147"/>
                </a:cubicBezTo>
                <a:cubicBezTo>
                  <a:pt x="855" y="145"/>
                  <a:pt x="854" y="143"/>
                  <a:pt x="855" y="141"/>
                </a:cubicBezTo>
                <a:cubicBezTo>
                  <a:pt x="855" y="140"/>
                  <a:pt x="856" y="139"/>
                  <a:pt x="857" y="137"/>
                </a:cubicBezTo>
                <a:cubicBezTo>
                  <a:pt x="857" y="138"/>
                  <a:pt x="856" y="139"/>
                  <a:pt x="856" y="140"/>
                </a:cubicBezTo>
                <a:cubicBezTo>
                  <a:pt x="855" y="144"/>
                  <a:pt x="856" y="148"/>
                  <a:pt x="855" y="151"/>
                </a:cubicBezTo>
                <a:cubicBezTo>
                  <a:pt x="856" y="152"/>
                  <a:pt x="856" y="151"/>
                  <a:pt x="857" y="151"/>
                </a:cubicBezTo>
                <a:cubicBezTo>
                  <a:pt x="857" y="150"/>
                  <a:pt x="857" y="149"/>
                  <a:pt x="857" y="148"/>
                </a:cubicBezTo>
                <a:cubicBezTo>
                  <a:pt x="857" y="148"/>
                  <a:pt x="857" y="149"/>
                  <a:pt x="857" y="148"/>
                </a:cubicBezTo>
                <a:cubicBezTo>
                  <a:pt x="857" y="146"/>
                  <a:pt x="857" y="144"/>
                  <a:pt x="858" y="141"/>
                </a:cubicBezTo>
                <a:cubicBezTo>
                  <a:pt x="858" y="141"/>
                  <a:pt x="858" y="140"/>
                  <a:pt x="859" y="141"/>
                </a:cubicBezTo>
                <a:cubicBezTo>
                  <a:pt x="859" y="140"/>
                  <a:pt x="859" y="140"/>
                  <a:pt x="860" y="140"/>
                </a:cubicBezTo>
                <a:cubicBezTo>
                  <a:pt x="860" y="139"/>
                  <a:pt x="859" y="140"/>
                  <a:pt x="859" y="140"/>
                </a:cubicBezTo>
                <a:cubicBezTo>
                  <a:pt x="860" y="139"/>
                  <a:pt x="859" y="138"/>
                  <a:pt x="860" y="138"/>
                </a:cubicBezTo>
                <a:cubicBezTo>
                  <a:pt x="860" y="134"/>
                  <a:pt x="861" y="132"/>
                  <a:pt x="861" y="128"/>
                </a:cubicBezTo>
                <a:cubicBezTo>
                  <a:pt x="861" y="131"/>
                  <a:pt x="861" y="134"/>
                  <a:pt x="860" y="137"/>
                </a:cubicBezTo>
                <a:cubicBezTo>
                  <a:pt x="860" y="138"/>
                  <a:pt x="861" y="137"/>
                  <a:pt x="861" y="138"/>
                </a:cubicBezTo>
                <a:cubicBezTo>
                  <a:pt x="861" y="139"/>
                  <a:pt x="860" y="139"/>
                  <a:pt x="860" y="140"/>
                </a:cubicBezTo>
                <a:cubicBezTo>
                  <a:pt x="860" y="141"/>
                  <a:pt x="860" y="142"/>
                  <a:pt x="860" y="143"/>
                </a:cubicBezTo>
                <a:cubicBezTo>
                  <a:pt x="860" y="144"/>
                  <a:pt x="859" y="145"/>
                  <a:pt x="859" y="146"/>
                </a:cubicBezTo>
                <a:cubicBezTo>
                  <a:pt x="860" y="147"/>
                  <a:pt x="860" y="148"/>
                  <a:pt x="860" y="149"/>
                </a:cubicBezTo>
                <a:cubicBezTo>
                  <a:pt x="860" y="150"/>
                  <a:pt x="860" y="149"/>
                  <a:pt x="860" y="150"/>
                </a:cubicBezTo>
                <a:cubicBezTo>
                  <a:pt x="861" y="151"/>
                  <a:pt x="861" y="150"/>
                  <a:pt x="862" y="150"/>
                </a:cubicBezTo>
                <a:cubicBezTo>
                  <a:pt x="862" y="151"/>
                  <a:pt x="861" y="150"/>
                  <a:pt x="861" y="151"/>
                </a:cubicBezTo>
                <a:cubicBezTo>
                  <a:pt x="861" y="151"/>
                  <a:pt x="861" y="152"/>
                  <a:pt x="862" y="152"/>
                </a:cubicBezTo>
                <a:cubicBezTo>
                  <a:pt x="861" y="154"/>
                  <a:pt x="861" y="155"/>
                  <a:pt x="861" y="157"/>
                </a:cubicBezTo>
                <a:cubicBezTo>
                  <a:pt x="861" y="157"/>
                  <a:pt x="861" y="156"/>
                  <a:pt x="861" y="157"/>
                </a:cubicBezTo>
                <a:cubicBezTo>
                  <a:pt x="861" y="157"/>
                  <a:pt x="861" y="160"/>
                  <a:pt x="861" y="160"/>
                </a:cubicBezTo>
                <a:cubicBezTo>
                  <a:pt x="861" y="162"/>
                  <a:pt x="861" y="163"/>
                  <a:pt x="860" y="165"/>
                </a:cubicBezTo>
                <a:cubicBezTo>
                  <a:pt x="860" y="166"/>
                  <a:pt x="861" y="165"/>
                  <a:pt x="861" y="166"/>
                </a:cubicBezTo>
                <a:cubicBezTo>
                  <a:pt x="861" y="167"/>
                  <a:pt x="861" y="168"/>
                  <a:pt x="860" y="169"/>
                </a:cubicBezTo>
                <a:cubicBezTo>
                  <a:pt x="861" y="170"/>
                  <a:pt x="861" y="172"/>
                  <a:pt x="860" y="173"/>
                </a:cubicBezTo>
                <a:cubicBezTo>
                  <a:pt x="861" y="173"/>
                  <a:pt x="861" y="172"/>
                  <a:pt x="862" y="172"/>
                </a:cubicBezTo>
                <a:cubicBezTo>
                  <a:pt x="862" y="172"/>
                  <a:pt x="861" y="173"/>
                  <a:pt x="861" y="174"/>
                </a:cubicBezTo>
                <a:cubicBezTo>
                  <a:pt x="861" y="178"/>
                  <a:pt x="862" y="181"/>
                  <a:pt x="861" y="186"/>
                </a:cubicBezTo>
                <a:cubicBezTo>
                  <a:pt x="861" y="187"/>
                  <a:pt x="862" y="187"/>
                  <a:pt x="861" y="188"/>
                </a:cubicBezTo>
                <a:cubicBezTo>
                  <a:pt x="861" y="188"/>
                  <a:pt x="862" y="188"/>
                  <a:pt x="862" y="188"/>
                </a:cubicBezTo>
                <a:cubicBezTo>
                  <a:pt x="862" y="190"/>
                  <a:pt x="860" y="196"/>
                  <a:pt x="862" y="198"/>
                </a:cubicBezTo>
                <a:cubicBezTo>
                  <a:pt x="861" y="198"/>
                  <a:pt x="861" y="197"/>
                  <a:pt x="861" y="198"/>
                </a:cubicBezTo>
                <a:cubicBezTo>
                  <a:pt x="861" y="199"/>
                  <a:pt x="860" y="200"/>
                  <a:pt x="861" y="201"/>
                </a:cubicBezTo>
                <a:cubicBezTo>
                  <a:pt x="861" y="204"/>
                  <a:pt x="860" y="206"/>
                  <a:pt x="861" y="208"/>
                </a:cubicBezTo>
                <a:cubicBezTo>
                  <a:pt x="860" y="209"/>
                  <a:pt x="860" y="210"/>
                  <a:pt x="860" y="210"/>
                </a:cubicBezTo>
                <a:cubicBezTo>
                  <a:pt x="860" y="211"/>
                  <a:pt x="860" y="213"/>
                  <a:pt x="860" y="214"/>
                </a:cubicBezTo>
                <a:cubicBezTo>
                  <a:pt x="859" y="231"/>
                  <a:pt x="857" y="248"/>
                  <a:pt x="857" y="264"/>
                </a:cubicBezTo>
                <a:cubicBezTo>
                  <a:pt x="856" y="268"/>
                  <a:pt x="857" y="273"/>
                  <a:pt x="857" y="277"/>
                </a:cubicBezTo>
                <a:cubicBezTo>
                  <a:pt x="857" y="277"/>
                  <a:pt x="857" y="277"/>
                  <a:pt x="857" y="278"/>
                </a:cubicBezTo>
                <a:cubicBezTo>
                  <a:pt x="857" y="279"/>
                  <a:pt x="857" y="279"/>
                  <a:pt x="857" y="279"/>
                </a:cubicBezTo>
                <a:cubicBezTo>
                  <a:pt x="857" y="280"/>
                  <a:pt x="857" y="281"/>
                  <a:pt x="857" y="282"/>
                </a:cubicBezTo>
                <a:cubicBezTo>
                  <a:pt x="857" y="291"/>
                  <a:pt x="857" y="302"/>
                  <a:pt x="859" y="311"/>
                </a:cubicBezTo>
                <a:cubicBezTo>
                  <a:pt x="858" y="317"/>
                  <a:pt x="860" y="324"/>
                  <a:pt x="860" y="331"/>
                </a:cubicBezTo>
                <a:cubicBezTo>
                  <a:pt x="860" y="334"/>
                  <a:pt x="860" y="336"/>
                  <a:pt x="860" y="339"/>
                </a:cubicBezTo>
                <a:cubicBezTo>
                  <a:pt x="861" y="340"/>
                  <a:pt x="861" y="342"/>
                  <a:pt x="861" y="343"/>
                </a:cubicBezTo>
                <a:cubicBezTo>
                  <a:pt x="861" y="345"/>
                  <a:pt x="861" y="347"/>
                  <a:pt x="861" y="349"/>
                </a:cubicBezTo>
                <a:cubicBezTo>
                  <a:pt x="861" y="350"/>
                  <a:pt x="861" y="350"/>
                  <a:pt x="861" y="350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0" y="350"/>
                  <a:pt x="860" y="350"/>
                </a:cubicBezTo>
                <a:cubicBezTo>
                  <a:pt x="859" y="350"/>
                  <a:pt x="858" y="350"/>
                  <a:pt x="857" y="349"/>
                </a:cubicBezTo>
                <a:cubicBezTo>
                  <a:pt x="854" y="349"/>
                  <a:pt x="853" y="349"/>
                  <a:pt x="851" y="348"/>
                </a:cubicBezTo>
                <a:cubicBezTo>
                  <a:pt x="843" y="346"/>
                  <a:pt x="834" y="342"/>
                  <a:pt x="826" y="340"/>
                </a:cubicBezTo>
                <a:cubicBezTo>
                  <a:pt x="824" y="340"/>
                  <a:pt x="821" y="338"/>
                  <a:pt x="819" y="338"/>
                </a:cubicBezTo>
                <a:cubicBezTo>
                  <a:pt x="818" y="338"/>
                  <a:pt x="817" y="338"/>
                  <a:pt x="816" y="337"/>
                </a:cubicBezTo>
                <a:cubicBezTo>
                  <a:pt x="812" y="336"/>
                  <a:pt x="807" y="334"/>
                  <a:pt x="803" y="334"/>
                </a:cubicBezTo>
                <a:cubicBezTo>
                  <a:pt x="801" y="333"/>
                  <a:pt x="799" y="332"/>
                  <a:pt x="797" y="331"/>
                </a:cubicBezTo>
                <a:cubicBezTo>
                  <a:pt x="794" y="331"/>
                  <a:pt x="792" y="330"/>
                  <a:pt x="790" y="330"/>
                </a:cubicBezTo>
                <a:cubicBezTo>
                  <a:pt x="789" y="329"/>
                  <a:pt x="788" y="329"/>
                  <a:pt x="788" y="329"/>
                </a:cubicBezTo>
                <a:cubicBezTo>
                  <a:pt x="787" y="329"/>
                  <a:pt x="787" y="329"/>
                  <a:pt x="786" y="328"/>
                </a:cubicBezTo>
                <a:cubicBezTo>
                  <a:pt x="783" y="328"/>
                  <a:pt x="779" y="327"/>
                  <a:pt x="776" y="325"/>
                </a:cubicBezTo>
                <a:cubicBezTo>
                  <a:pt x="775" y="325"/>
                  <a:pt x="775" y="325"/>
                  <a:pt x="775" y="326"/>
                </a:cubicBezTo>
                <a:cubicBezTo>
                  <a:pt x="773" y="324"/>
                  <a:pt x="770" y="325"/>
                  <a:pt x="768" y="324"/>
                </a:cubicBezTo>
                <a:cubicBezTo>
                  <a:pt x="767" y="324"/>
                  <a:pt x="767" y="324"/>
                  <a:pt x="767" y="324"/>
                </a:cubicBezTo>
                <a:cubicBezTo>
                  <a:pt x="766" y="323"/>
                  <a:pt x="765" y="323"/>
                  <a:pt x="763" y="323"/>
                </a:cubicBezTo>
                <a:cubicBezTo>
                  <a:pt x="759" y="321"/>
                  <a:pt x="755" y="321"/>
                  <a:pt x="751" y="319"/>
                </a:cubicBezTo>
                <a:cubicBezTo>
                  <a:pt x="749" y="320"/>
                  <a:pt x="746" y="319"/>
                  <a:pt x="744" y="318"/>
                </a:cubicBezTo>
                <a:cubicBezTo>
                  <a:pt x="743" y="318"/>
                  <a:pt x="743" y="319"/>
                  <a:pt x="742" y="318"/>
                </a:cubicBezTo>
                <a:cubicBezTo>
                  <a:pt x="741" y="318"/>
                  <a:pt x="741" y="318"/>
                  <a:pt x="741" y="318"/>
                </a:cubicBezTo>
                <a:cubicBezTo>
                  <a:pt x="740" y="318"/>
                  <a:pt x="740" y="318"/>
                  <a:pt x="739" y="318"/>
                </a:cubicBezTo>
                <a:cubicBezTo>
                  <a:pt x="738" y="317"/>
                  <a:pt x="738" y="317"/>
                  <a:pt x="737" y="316"/>
                </a:cubicBezTo>
                <a:cubicBezTo>
                  <a:pt x="736" y="316"/>
                  <a:pt x="736" y="317"/>
                  <a:pt x="735" y="316"/>
                </a:cubicBezTo>
                <a:cubicBezTo>
                  <a:pt x="734" y="316"/>
                  <a:pt x="733" y="315"/>
                  <a:pt x="733" y="315"/>
                </a:cubicBezTo>
                <a:cubicBezTo>
                  <a:pt x="731" y="315"/>
                  <a:pt x="729" y="316"/>
                  <a:pt x="727" y="314"/>
                </a:cubicBezTo>
                <a:cubicBezTo>
                  <a:pt x="725" y="314"/>
                  <a:pt x="724" y="313"/>
                  <a:pt x="722" y="313"/>
                </a:cubicBezTo>
                <a:cubicBezTo>
                  <a:pt x="721" y="313"/>
                  <a:pt x="720" y="313"/>
                  <a:pt x="719" y="313"/>
                </a:cubicBezTo>
                <a:cubicBezTo>
                  <a:pt x="718" y="313"/>
                  <a:pt x="718" y="313"/>
                  <a:pt x="717" y="313"/>
                </a:cubicBezTo>
                <a:cubicBezTo>
                  <a:pt x="715" y="312"/>
                  <a:pt x="713" y="313"/>
                  <a:pt x="711" y="311"/>
                </a:cubicBezTo>
                <a:cubicBezTo>
                  <a:pt x="708" y="312"/>
                  <a:pt x="703" y="309"/>
                  <a:pt x="701" y="311"/>
                </a:cubicBezTo>
                <a:cubicBezTo>
                  <a:pt x="701" y="312"/>
                  <a:pt x="700" y="313"/>
                  <a:pt x="699" y="313"/>
                </a:cubicBezTo>
                <a:cubicBezTo>
                  <a:pt x="698" y="313"/>
                  <a:pt x="698" y="312"/>
                  <a:pt x="697" y="311"/>
                </a:cubicBezTo>
                <a:cubicBezTo>
                  <a:pt x="696" y="311"/>
                  <a:pt x="693" y="310"/>
                  <a:pt x="692" y="310"/>
                </a:cubicBezTo>
                <a:cubicBezTo>
                  <a:pt x="691" y="310"/>
                  <a:pt x="691" y="311"/>
                  <a:pt x="690" y="311"/>
                </a:cubicBezTo>
                <a:cubicBezTo>
                  <a:pt x="689" y="311"/>
                  <a:pt x="688" y="309"/>
                  <a:pt x="687" y="309"/>
                </a:cubicBezTo>
                <a:cubicBezTo>
                  <a:pt x="686" y="309"/>
                  <a:pt x="685" y="310"/>
                  <a:pt x="684" y="310"/>
                </a:cubicBezTo>
                <a:cubicBezTo>
                  <a:pt x="683" y="309"/>
                  <a:pt x="682" y="308"/>
                  <a:pt x="682" y="307"/>
                </a:cubicBezTo>
                <a:cubicBezTo>
                  <a:pt x="682" y="307"/>
                  <a:pt x="682" y="307"/>
                  <a:pt x="681" y="307"/>
                </a:cubicBezTo>
                <a:cubicBezTo>
                  <a:pt x="680" y="305"/>
                  <a:pt x="677" y="304"/>
                  <a:pt x="674" y="304"/>
                </a:cubicBezTo>
                <a:cubicBezTo>
                  <a:pt x="674" y="303"/>
                  <a:pt x="673" y="303"/>
                  <a:pt x="673" y="303"/>
                </a:cubicBezTo>
                <a:cubicBezTo>
                  <a:pt x="670" y="302"/>
                  <a:pt x="668" y="299"/>
                  <a:pt x="666" y="296"/>
                </a:cubicBezTo>
                <a:cubicBezTo>
                  <a:pt x="666" y="296"/>
                  <a:pt x="665" y="296"/>
                  <a:pt x="665" y="295"/>
                </a:cubicBezTo>
                <a:cubicBezTo>
                  <a:pt x="664" y="294"/>
                  <a:pt x="664" y="293"/>
                  <a:pt x="663" y="292"/>
                </a:cubicBezTo>
                <a:cubicBezTo>
                  <a:pt x="663" y="291"/>
                  <a:pt x="662" y="291"/>
                  <a:pt x="662" y="290"/>
                </a:cubicBezTo>
                <a:cubicBezTo>
                  <a:pt x="662" y="288"/>
                  <a:pt x="661" y="287"/>
                  <a:pt x="660" y="286"/>
                </a:cubicBezTo>
                <a:cubicBezTo>
                  <a:pt x="660" y="285"/>
                  <a:pt x="659" y="284"/>
                  <a:pt x="659" y="283"/>
                </a:cubicBezTo>
                <a:cubicBezTo>
                  <a:pt x="658" y="281"/>
                  <a:pt x="659" y="279"/>
                  <a:pt x="658" y="277"/>
                </a:cubicBezTo>
                <a:cubicBezTo>
                  <a:pt x="659" y="274"/>
                  <a:pt x="659" y="271"/>
                  <a:pt x="660" y="267"/>
                </a:cubicBezTo>
                <a:cubicBezTo>
                  <a:pt x="660" y="267"/>
                  <a:pt x="659" y="267"/>
                  <a:pt x="660" y="266"/>
                </a:cubicBezTo>
                <a:cubicBezTo>
                  <a:pt x="661" y="265"/>
                  <a:pt x="661" y="263"/>
                  <a:pt x="662" y="261"/>
                </a:cubicBezTo>
                <a:cubicBezTo>
                  <a:pt x="663" y="261"/>
                  <a:pt x="663" y="260"/>
                  <a:pt x="664" y="260"/>
                </a:cubicBezTo>
                <a:cubicBezTo>
                  <a:pt x="665" y="259"/>
                  <a:pt x="665" y="258"/>
                  <a:pt x="666" y="257"/>
                </a:cubicBezTo>
                <a:cubicBezTo>
                  <a:pt x="670" y="256"/>
                  <a:pt x="673" y="253"/>
                  <a:pt x="677" y="251"/>
                </a:cubicBezTo>
                <a:cubicBezTo>
                  <a:pt x="677" y="251"/>
                  <a:pt x="678" y="251"/>
                  <a:pt x="678" y="251"/>
                </a:cubicBezTo>
                <a:cubicBezTo>
                  <a:pt x="680" y="250"/>
                  <a:pt x="682" y="250"/>
                  <a:pt x="684" y="249"/>
                </a:cubicBezTo>
                <a:cubicBezTo>
                  <a:pt x="685" y="248"/>
                  <a:pt x="687" y="249"/>
                  <a:pt x="689" y="249"/>
                </a:cubicBezTo>
                <a:cubicBezTo>
                  <a:pt x="690" y="249"/>
                  <a:pt x="690" y="248"/>
                  <a:pt x="692" y="249"/>
                </a:cubicBezTo>
                <a:cubicBezTo>
                  <a:pt x="693" y="249"/>
                  <a:pt x="695" y="248"/>
                  <a:pt x="696" y="248"/>
                </a:cubicBezTo>
                <a:cubicBezTo>
                  <a:pt x="698" y="248"/>
                  <a:pt x="700" y="249"/>
                  <a:pt x="701" y="250"/>
                </a:cubicBezTo>
                <a:cubicBezTo>
                  <a:pt x="702" y="250"/>
                  <a:pt x="703" y="249"/>
                  <a:pt x="704" y="250"/>
                </a:cubicBezTo>
                <a:cubicBezTo>
                  <a:pt x="705" y="250"/>
                  <a:pt x="706" y="252"/>
                  <a:pt x="707" y="252"/>
                </a:cubicBezTo>
                <a:close/>
                <a:moveTo>
                  <a:pt x="858" y="156"/>
                </a:moveTo>
                <a:cubicBezTo>
                  <a:pt x="858" y="156"/>
                  <a:pt x="858" y="156"/>
                  <a:pt x="858" y="156"/>
                </a:cubicBezTo>
                <a:cubicBezTo>
                  <a:pt x="858" y="157"/>
                  <a:pt x="859" y="156"/>
                  <a:pt x="858" y="156"/>
                </a:cubicBezTo>
                <a:close/>
                <a:moveTo>
                  <a:pt x="859" y="156"/>
                </a:moveTo>
                <a:cubicBezTo>
                  <a:pt x="860" y="155"/>
                  <a:pt x="859" y="154"/>
                  <a:pt x="860" y="152"/>
                </a:cubicBezTo>
                <a:cubicBezTo>
                  <a:pt x="859" y="152"/>
                  <a:pt x="859" y="152"/>
                  <a:pt x="860" y="151"/>
                </a:cubicBezTo>
                <a:cubicBezTo>
                  <a:pt x="859" y="150"/>
                  <a:pt x="860" y="148"/>
                  <a:pt x="858" y="148"/>
                </a:cubicBezTo>
                <a:cubicBezTo>
                  <a:pt x="858" y="149"/>
                  <a:pt x="858" y="150"/>
                  <a:pt x="857" y="151"/>
                </a:cubicBezTo>
                <a:cubicBezTo>
                  <a:pt x="857" y="151"/>
                  <a:pt x="858" y="151"/>
                  <a:pt x="858" y="151"/>
                </a:cubicBezTo>
                <a:cubicBezTo>
                  <a:pt x="858" y="152"/>
                  <a:pt x="858" y="154"/>
                  <a:pt x="858" y="156"/>
                </a:cubicBezTo>
                <a:cubicBezTo>
                  <a:pt x="858" y="156"/>
                  <a:pt x="858" y="155"/>
                  <a:pt x="859" y="156"/>
                </a:cubicBezTo>
                <a:close/>
              </a:path>
            </a:pathLst>
          </a:custGeom>
          <a:solidFill>
            <a:srgbClr val="AB244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3" name="Immagine 19">
            <a:extLst>
              <a:ext uri="{FF2B5EF4-FFF2-40B4-BE49-F238E27FC236}">
                <a16:creationId xmlns:a16="http://schemas.microsoft.com/office/drawing/2014/main" id="{18303716-6D73-4C03-9DFB-253CF9FFA0CA}"/>
              </a:ext>
            </a:extLst>
          </p:cNvPr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33" r="1648" b="-1083"/>
          <a:stretch/>
        </p:blipFill>
        <p:spPr bwMode="auto">
          <a:xfrm>
            <a:off x="6479697" y="2551507"/>
            <a:ext cx="5224940" cy="355605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9C931A33-0596-4C23-B431-F95C84E2E6A7}"/>
              </a:ext>
            </a:extLst>
          </p:cNvPr>
          <p:cNvSpPr/>
          <p:nvPr/>
        </p:nvSpPr>
        <p:spPr>
          <a:xfrm>
            <a:off x="487363" y="4720805"/>
            <a:ext cx="5224940" cy="115142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Gli studenti inseriscono le informazioni nelle sezioni di interesse.</a:t>
            </a:r>
          </a:p>
          <a:p>
            <a:pPr marL="889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it-IT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o le sezioni valorizzate saranno presenti nel documento finale.</a:t>
            </a:r>
            <a:endParaRPr kumimoji="0" lang="it-IT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875627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magine 1">
            <a:extLst>
              <a:ext uri="{FF2B5EF4-FFF2-40B4-BE49-F238E27FC236}">
                <a16:creationId xmlns:a16="http://schemas.microsoft.com/office/drawing/2014/main" id="{C23206C6-A844-42CE-B900-21BAD0044A09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03"/>
          <a:stretch/>
        </p:blipFill>
        <p:spPr bwMode="auto">
          <a:xfrm>
            <a:off x="631775" y="1735291"/>
            <a:ext cx="6750735" cy="3982841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180043B0-0601-4631-822D-7FAB56BE36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sym typeface="Dosis Light"/>
              </a:rPr>
              <a:t>La Piattaforma informatica per gli studenti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C931A33-0596-4C23-B431-F95C84E2E6A7}"/>
              </a:ext>
            </a:extLst>
          </p:cNvPr>
          <p:cNvSpPr/>
          <p:nvPr/>
        </p:nvSpPr>
        <p:spPr>
          <a:xfrm>
            <a:off x="7859330" y="2740916"/>
            <a:ext cx="3616702" cy="23832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lvl="0" algn="ctr">
              <a:spcAft>
                <a:spcPts val="600"/>
              </a:spcAft>
              <a:defRPr/>
            </a:pPr>
            <a:r>
              <a:rPr lang="it-IT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po lo svolgimento dell’esame, quando è stato definitivamente consolidato, </a:t>
            </a:r>
            <a:r>
              <a:rPr lang="it-IT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 Curriculum viene messo a disposizione degli studenti all’interno della piattaforma</a:t>
            </a:r>
            <a:r>
              <a:rPr lang="it-IT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assieme al Supplemento Europass al Certificato.</a:t>
            </a:r>
            <a:endParaRPr kumimoji="0" lang="it-IT" sz="1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A9339475-02DC-40CC-B3CB-67A2B7B03387}"/>
              </a:ext>
            </a:extLst>
          </p:cNvPr>
          <p:cNvSpPr/>
          <p:nvPr/>
        </p:nvSpPr>
        <p:spPr>
          <a:xfrm>
            <a:off x="5632480" y="3736871"/>
            <a:ext cx="1689070" cy="391319"/>
          </a:xfrm>
          <a:prstGeom prst="ellipse">
            <a:avLst/>
          </a:prstGeom>
          <a:noFill/>
          <a:ln w="38100">
            <a:solidFill>
              <a:srgbClr val="AE2C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9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reeform 19">
            <a:extLst>
              <a:ext uri="{FF2B5EF4-FFF2-40B4-BE49-F238E27FC236}">
                <a16:creationId xmlns:a16="http://schemas.microsoft.com/office/drawing/2014/main" id="{E4DD7F9A-87E9-4430-9A5E-1CBE9A7E087E}"/>
              </a:ext>
            </a:extLst>
          </p:cNvPr>
          <p:cNvSpPr>
            <a:spLocks noChangeAspect="1" noEditPoints="1"/>
          </p:cNvSpPr>
          <p:nvPr/>
        </p:nvSpPr>
        <p:spPr bwMode="auto">
          <a:xfrm rot="9341667" flipV="1">
            <a:off x="6699867" y="2875086"/>
            <a:ext cx="1365287" cy="590424"/>
          </a:xfrm>
          <a:custGeom>
            <a:avLst/>
            <a:gdLst>
              <a:gd name="T0" fmla="*/ 715 w 868"/>
              <a:gd name="T1" fmla="*/ 128 h 351"/>
              <a:gd name="T2" fmla="*/ 363 w 868"/>
              <a:gd name="T3" fmla="*/ 50 h 351"/>
              <a:gd name="T4" fmla="*/ 226 w 868"/>
              <a:gd name="T5" fmla="*/ 94 h 351"/>
              <a:gd name="T6" fmla="*/ 155 w 868"/>
              <a:gd name="T7" fmla="*/ 112 h 351"/>
              <a:gd name="T8" fmla="*/ 111 w 868"/>
              <a:gd name="T9" fmla="*/ 138 h 351"/>
              <a:gd name="T10" fmla="*/ 85 w 868"/>
              <a:gd name="T11" fmla="*/ 163 h 351"/>
              <a:gd name="T12" fmla="*/ 104 w 868"/>
              <a:gd name="T13" fmla="*/ 185 h 351"/>
              <a:gd name="T14" fmla="*/ 69 w 868"/>
              <a:gd name="T15" fmla="*/ 174 h 351"/>
              <a:gd name="T16" fmla="*/ 92 w 868"/>
              <a:gd name="T17" fmla="*/ 203 h 351"/>
              <a:gd name="T18" fmla="*/ 66 w 868"/>
              <a:gd name="T19" fmla="*/ 192 h 351"/>
              <a:gd name="T20" fmla="*/ 75 w 868"/>
              <a:gd name="T21" fmla="*/ 207 h 351"/>
              <a:gd name="T22" fmla="*/ 72 w 868"/>
              <a:gd name="T23" fmla="*/ 224 h 351"/>
              <a:gd name="T24" fmla="*/ 64 w 868"/>
              <a:gd name="T25" fmla="*/ 228 h 351"/>
              <a:gd name="T26" fmla="*/ 29 w 868"/>
              <a:gd name="T27" fmla="*/ 217 h 351"/>
              <a:gd name="T28" fmla="*/ 31 w 868"/>
              <a:gd name="T29" fmla="*/ 228 h 351"/>
              <a:gd name="T30" fmla="*/ 53 w 868"/>
              <a:gd name="T31" fmla="*/ 253 h 351"/>
              <a:gd name="T32" fmla="*/ 36 w 868"/>
              <a:gd name="T33" fmla="*/ 257 h 351"/>
              <a:gd name="T34" fmla="*/ 774 w 868"/>
              <a:gd name="T35" fmla="*/ 258 h 351"/>
              <a:gd name="T36" fmla="*/ 640 w 868"/>
              <a:gd name="T37" fmla="*/ 136 h 351"/>
              <a:gd name="T38" fmla="*/ 376 w 868"/>
              <a:gd name="T39" fmla="*/ 47 h 351"/>
              <a:gd name="T40" fmla="*/ 235 w 868"/>
              <a:gd name="T41" fmla="*/ 76 h 351"/>
              <a:gd name="T42" fmla="*/ 221 w 868"/>
              <a:gd name="T43" fmla="*/ 70 h 351"/>
              <a:gd name="T44" fmla="*/ 180 w 868"/>
              <a:gd name="T45" fmla="*/ 89 h 351"/>
              <a:gd name="T46" fmla="*/ 168 w 868"/>
              <a:gd name="T47" fmla="*/ 110 h 351"/>
              <a:gd name="T48" fmla="*/ 140 w 868"/>
              <a:gd name="T49" fmla="*/ 145 h 351"/>
              <a:gd name="T50" fmla="*/ 81 w 868"/>
              <a:gd name="T51" fmla="*/ 192 h 351"/>
              <a:gd name="T52" fmla="*/ 126 w 868"/>
              <a:gd name="T53" fmla="*/ 134 h 351"/>
              <a:gd name="T54" fmla="*/ 253 w 868"/>
              <a:gd name="T55" fmla="*/ 36 h 351"/>
              <a:gd name="T56" fmla="*/ 399 w 868"/>
              <a:gd name="T57" fmla="*/ 2 h 351"/>
              <a:gd name="T58" fmla="*/ 510 w 868"/>
              <a:gd name="T59" fmla="*/ 14 h 351"/>
              <a:gd name="T60" fmla="*/ 732 w 868"/>
              <a:gd name="T61" fmla="*/ 145 h 351"/>
              <a:gd name="T62" fmla="*/ 794 w 868"/>
              <a:gd name="T63" fmla="*/ 260 h 351"/>
              <a:gd name="T64" fmla="*/ 787 w 868"/>
              <a:gd name="T65" fmla="*/ 222 h 351"/>
              <a:gd name="T66" fmla="*/ 721 w 868"/>
              <a:gd name="T67" fmla="*/ 150 h 351"/>
              <a:gd name="T68" fmla="*/ 533 w 868"/>
              <a:gd name="T69" fmla="*/ 22 h 351"/>
              <a:gd name="T70" fmla="*/ 380 w 868"/>
              <a:gd name="T71" fmla="*/ 47 h 351"/>
              <a:gd name="T72" fmla="*/ 307 w 868"/>
              <a:gd name="T73" fmla="*/ 53 h 351"/>
              <a:gd name="T74" fmla="*/ 281 w 868"/>
              <a:gd name="T75" fmla="*/ 47 h 351"/>
              <a:gd name="T76" fmla="*/ 242 w 868"/>
              <a:gd name="T77" fmla="*/ 43 h 351"/>
              <a:gd name="T78" fmla="*/ 222 w 868"/>
              <a:gd name="T79" fmla="*/ 51 h 351"/>
              <a:gd name="T80" fmla="*/ 197 w 868"/>
              <a:gd name="T81" fmla="*/ 73 h 351"/>
              <a:gd name="T82" fmla="*/ 164 w 868"/>
              <a:gd name="T83" fmla="*/ 99 h 351"/>
              <a:gd name="T84" fmla="*/ 142 w 868"/>
              <a:gd name="T85" fmla="*/ 117 h 351"/>
              <a:gd name="T86" fmla="*/ 141 w 868"/>
              <a:gd name="T87" fmla="*/ 138 h 351"/>
              <a:gd name="T88" fmla="*/ 124 w 868"/>
              <a:gd name="T89" fmla="*/ 129 h 351"/>
              <a:gd name="T90" fmla="*/ 113 w 868"/>
              <a:gd name="T91" fmla="*/ 142 h 351"/>
              <a:gd name="T92" fmla="*/ 337 w 868"/>
              <a:gd name="T93" fmla="*/ 9 h 351"/>
              <a:gd name="T94" fmla="*/ 168 w 868"/>
              <a:gd name="T95" fmla="*/ 125 h 351"/>
              <a:gd name="T96" fmla="*/ 197 w 868"/>
              <a:gd name="T97" fmla="*/ 105 h 351"/>
              <a:gd name="T98" fmla="*/ 131 w 868"/>
              <a:gd name="T99" fmla="*/ 159 h 351"/>
              <a:gd name="T100" fmla="*/ 88 w 868"/>
              <a:gd name="T101" fmla="*/ 171 h 351"/>
              <a:gd name="T102" fmla="*/ 85 w 868"/>
              <a:gd name="T103" fmla="*/ 191 h 351"/>
              <a:gd name="T104" fmla="*/ 79 w 868"/>
              <a:gd name="T105" fmla="*/ 215 h 351"/>
              <a:gd name="T106" fmla="*/ 48 w 868"/>
              <a:gd name="T107" fmla="*/ 193 h 351"/>
              <a:gd name="T108" fmla="*/ 64 w 868"/>
              <a:gd name="T109" fmla="*/ 238 h 351"/>
              <a:gd name="T110" fmla="*/ 17 w 868"/>
              <a:gd name="T111" fmla="*/ 235 h 351"/>
              <a:gd name="T112" fmla="*/ 87 w 868"/>
              <a:gd name="T113" fmla="*/ 158 h 351"/>
              <a:gd name="T114" fmla="*/ 865 w 868"/>
              <a:gd name="T115" fmla="*/ 172 h 351"/>
              <a:gd name="T116" fmla="*/ 859 w 868"/>
              <a:gd name="T117" fmla="*/ 117 h 351"/>
              <a:gd name="T118" fmla="*/ 782 w 868"/>
              <a:gd name="T119" fmla="*/ 277 h 351"/>
              <a:gd name="T120" fmla="*/ 841 w 868"/>
              <a:gd name="T121" fmla="*/ 164 h 351"/>
              <a:gd name="T122" fmla="*/ 861 w 868"/>
              <a:gd name="T123" fmla="*/ 201 h 351"/>
              <a:gd name="T124" fmla="*/ 666 w 868"/>
              <a:gd name="T125" fmla="*/ 296 h 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68" h="351">
                <a:moveTo>
                  <a:pt x="813" y="278"/>
                </a:moveTo>
                <a:cubicBezTo>
                  <a:pt x="812" y="276"/>
                  <a:pt x="811" y="275"/>
                  <a:pt x="812" y="275"/>
                </a:cubicBezTo>
                <a:cubicBezTo>
                  <a:pt x="813" y="277"/>
                  <a:pt x="813" y="278"/>
                  <a:pt x="813" y="278"/>
                </a:cubicBezTo>
                <a:close/>
                <a:moveTo>
                  <a:pt x="812" y="266"/>
                </a:moveTo>
                <a:cubicBezTo>
                  <a:pt x="813" y="269"/>
                  <a:pt x="814" y="269"/>
                  <a:pt x="814" y="271"/>
                </a:cubicBezTo>
                <a:cubicBezTo>
                  <a:pt x="813" y="267"/>
                  <a:pt x="813" y="271"/>
                  <a:pt x="813" y="270"/>
                </a:cubicBezTo>
                <a:cubicBezTo>
                  <a:pt x="815" y="276"/>
                  <a:pt x="814" y="270"/>
                  <a:pt x="815" y="272"/>
                </a:cubicBezTo>
                <a:cubicBezTo>
                  <a:pt x="814" y="268"/>
                  <a:pt x="813" y="267"/>
                  <a:pt x="812" y="266"/>
                </a:cubicBezTo>
                <a:close/>
                <a:moveTo>
                  <a:pt x="781" y="282"/>
                </a:moveTo>
                <a:cubicBezTo>
                  <a:pt x="782" y="285"/>
                  <a:pt x="783" y="285"/>
                  <a:pt x="784" y="284"/>
                </a:cubicBezTo>
                <a:cubicBezTo>
                  <a:pt x="782" y="282"/>
                  <a:pt x="782" y="282"/>
                  <a:pt x="781" y="282"/>
                </a:cubicBezTo>
                <a:close/>
                <a:moveTo>
                  <a:pt x="798" y="267"/>
                </a:moveTo>
                <a:cubicBezTo>
                  <a:pt x="798" y="268"/>
                  <a:pt x="801" y="272"/>
                  <a:pt x="801" y="272"/>
                </a:cubicBezTo>
                <a:cubicBezTo>
                  <a:pt x="801" y="269"/>
                  <a:pt x="799" y="267"/>
                  <a:pt x="798" y="267"/>
                </a:cubicBezTo>
                <a:close/>
                <a:moveTo>
                  <a:pt x="791" y="270"/>
                </a:moveTo>
                <a:cubicBezTo>
                  <a:pt x="791" y="272"/>
                  <a:pt x="793" y="275"/>
                  <a:pt x="793" y="276"/>
                </a:cubicBezTo>
                <a:cubicBezTo>
                  <a:pt x="793" y="274"/>
                  <a:pt x="791" y="271"/>
                  <a:pt x="791" y="270"/>
                </a:cubicBezTo>
                <a:close/>
                <a:moveTo>
                  <a:pt x="789" y="269"/>
                </a:moveTo>
                <a:cubicBezTo>
                  <a:pt x="788" y="269"/>
                  <a:pt x="791" y="272"/>
                  <a:pt x="790" y="273"/>
                </a:cubicBezTo>
                <a:cubicBezTo>
                  <a:pt x="789" y="270"/>
                  <a:pt x="788" y="270"/>
                  <a:pt x="787" y="270"/>
                </a:cubicBezTo>
                <a:cubicBezTo>
                  <a:pt x="789" y="273"/>
                  <a:pt x="790" y="274"/>
                  <a:pt x="791" y="276"/>
                </a:cubicBezTo>
                <a:cubicBezTo>
                  <a:pt x="792" y="276"/>
                  <a:pt x="792" y="274"/>
                  <a:pt x="793" y="276"/>
                </a:cubicBezTo>
                <a:cubicBezTo>
                  <a:pt x="792" y="273"/>
                  <a:pt x="791" y="272"/>
                  <a:pt x="789" y="269"/>
                </a:cubicBezTo>
                <a:close/>
                <a:moveTo>
                  <a:pt x="801" y="266"/>
                </a:moveTo>
                <a:cubicBezTo>
                  <a:pt x="800" y="266"/>
                  <a:pt x="800" y="268"/>
                  <a:pt x="801" y="271"/>
                </a:cubicBezTo>
                <a:cubicBezTo>
                  <a:pt x="802" y="271"/>
                  <a:pt x="801" y="267"/>
                  <a:pt x="801" y="266"/>
                </a:cubicBezTo>
                <a:close/>
                <a:moveTo>
                  <a:pt x="799" y="270"/>
                </a:moveTo>
                <a:cubicBezTo>
                  <a:pt x="799" y="270"/>
                  <a:pt x="798" y="270"/>
                  <a:pt x="798" y="269"/>
                </a:cubicBezTo>
                <a:cubicBezTo>
                  <a:pt x="797" y="269"/>
                  <a:pt x="797" y="270"/>
                  <a:pt x="798" y="272"/>
                </a:cubicBezTo>
                <a:cubicBezTo>
                  <a:pt x="798" y="271"/>
                  <a:pt x="800" y="273"/>
                  <a:pt x="799" y="270"/>
                </a:cubicBezTo>
                <a:close/>
                <a:moveTo>
                  <a:pt x="770" y="269"/>
                </a:moveTo>
                <a:cubicBezTo>
                  <a:pt x="771" y="271"/>
                  <a:pt x="772" y="272"/>
                  <a:pt x="773" y="272"/>
                </a:cubicBezTo>
                <a:cubicBezTo>
                  <a:pt x="772" y="270"/>
                  <a:pt x="771" y="269"/>
                  <a:pt x="770" y="269"/>
                </a:cubicBezTo>
                <a:close/>
                <a:moveTo>
                  <a:pt x="807" y="248"/>
                </a:moveTo>
                <a:cubicBezTo>
                  <a:pt x="808" y="250"/>
                  <a:pt x="810" y="253"/>
                  <a:pt x="810" y="252"/>
                </a:cubicBezTo>
                <a:cubicBezTo>
                  <a:pt x="809" y="249"/>
                  <a:pt x="808" y="247"/>
                  <a:pt x="807" y="248"/>
                </a:cubicBezTo>
                <a:close/>
                <a:moveTo>
                  <a:pt x="802" y="246"/>
                </a:moveTo>
                <a:cubicBezTo>
                  <a:pt x="803" y="247"/>
                  <a:pt x="803" y="248"/>
                  <a:pt x="804" y="251"/>
                </a:cubicBezTo>
                <a:cubicBezTo>
                  <a:pt x="805" y="251"/>
                  <a:pt x="803" y="245"/>
                  <a:pt x="802" y="246"/>
                </a:cubicBezTo>
                <a:close/>
                <a:moveTo>
                  <a:pt x="805" y="245"/>
                </a:moveTo>
                <a:cubicBezTo>
                  <a:pt x="803" y="240"/>
                  <a:pt x="804" y="239"/>
                  <a:pt x="802" y="235"/>
                </a:cubicBezTo>
                <a:cubicBezTo>
                  <a:pt x="800" y="234"/>
                  <a:pt x="796" y="236"/>
                  <a:pt x="801" y="245"/>
                </a:cubicBezTo>
                <a:cubicBezTo>
                  <a:pt x="801" y="242"/>
                  <a:pt x="806" y="248"/>
                  <a:pt x="805" y="245"/>
                </a:cubicBezTo>
                <a:close/>
                <a:moveTo>
                  <a:pt x="759" y="246"/>
                </a:moveTo>
                <a:cubicBezTo>
                  <a:pt x="759" y="247"/>
                  <a:pt x="758" y="246"/>
                  <a:pt x="758" y="246"/>
                </a:cubicBezTo>
                <a:cubicBezTo>
                  <a:pt x="759" y="248"/>
                  <a:pt x="760" y="248"/>
                  <a:pt x="759" y="248"/>
                </a:cubicBezTo>
                <a:cubicBezTo>
                  <a:pt x="760" y="250"/>
                  <a:pt x="760" y="250"/>
                  <a:pt x="761" y="250"/>
                </a:cubicBezTo>
                <a:cubicBezTo>
                  <a:pt x="759" y="248"/>
                  <a:pt x="760" y="248"/>
                  <a:pt x="759" y="246"/>
                </a:cubicBezTo>
                <a:close/>
                <a:moveTo>
                  <a:pt x="766" y="178"/>
                </a:moveTo>
                <a:cubicBezTo>
                  <a:pt x="766" y="178"/>
                  <a:pt x="766" y="178"/>
                  <a:pt x="767" y="180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67" y="179"/>
                  <a:pt x="768" y="180"/>
                  <a:pt x="766" y="178"/>
                </a:cubicBezTo>
                <a:close/>
                <a:moveTo>
                  <a:pt x="756" y="167"/>
                </a:moveTo>
                <a:cubicBezTo>
                  <a:pt x="757" y="168"/>
                  <a:pt x="758" y="169"/>
                  <a:pt x="757" y="169"/>
                </a:cubicBezTo>
                <a:cubicBezTo>
                  <a:pt x="762" y="175"/>
                  <a:pt x="758" y="167"/>
                  <a:pt x="756" y="167"/>
                </a:cubicBezTo>
                <a:close/>
                <a:moveTo>
                  <a:pt x="713" y="128"/>
                </a:moveTo>
                <a:cubicBezTo>
                  <a:pt x="713" y="127"/>
                  <a:pt x="714" y="127"/>
                  <a:pt x="715" y="128"/>
                </a:cubicBezTo>
                <a:cubicBezTo>
                  <a:pt x="712" y="125"/>
                  <a:pt x="710" y="125"/>
                  <a:pt x="713" y="128"/>
                </a:cubicBezTo>
                <a:close/>
                <a:moveTo>
                  <a:pt x="640" y="70"/>
                </a:moveTo>
                <a:cubicBezTo>
                  <a:pt x="634" y="64"/>
                  <a:pt x="636" y="68"/>
                  <a:pt x="640" y="70"/>
                </a:cubicBezTo>
                <a:close/>
                <a:moveTo>
                  <a:pt x="545" y="23"/>
                </a:moveTo>
                <a:cubicBezTo>
                  <a:pt x="544" y="24"/>
                  <a:pt x="548" y="25"/>
                  <a:pt x="549" y="24"/>
                </a:cubicBezTo>
                <a:cubicBezTo>
                  <a:pt x="546" y="24"/>
                  <a:pt x="547" y="24"/>
                  <a:pt x="545" y="23"/>
                </a:cubicBezTo>
                <a:close/>
                <a:moveTo>
                  <a:pt x="539" y="20"/>
                </a:moveTo>
                <a:cubicBezTo>
                  <a:pt x="539" y="20"/>
                  <a:pt x="538" y="20"/>
                  <a:pt x="538" y="20"/>
                </a:cubicBezTo>
                <a:cubicBezTo>
                  <a:pt x="540" y="21"/>
                  <a:pt x="543" y="22"/>
                  <a:pt x="543" y="21"/>
                </a:cubicBezTo>
                <a:cubicBezTo>
                  <a:pt x="540" y="20"/>
                  <a:pt x="540" y="21"/>
                  <a:pt x="539" y="20"/>
                </a:cubicBezTo>
                <a:close/>
                <a:moveTo>
                  <a:pt x="530" y="17"/>
                </a:moveTo>
                <a:cubicBezTo>
                  <a:pt x="529" y="18"/>
                  <a:pt x="534" y="19"/>
                  <a:pt x="534" y="18"/>
                </a:cubicBezTo>
                <a:lnTo>
                  <a:pt x="530" y="17"/>
                </a:lnTo>
                <a:close/>
                <a:moveTo>
                  <a:pt x="524" y="16"/>
                </a:moveTo>
                <a:cubicBezTo>
                  <a:pt x="524" y="16"/>
                  <a:pt x="522" y="16"/>
                  <a:pt x="522" y="17"/>
                </a:cubicBezTo>
                <a:cubicBezTo>
                  <a:pt x="524" y="17"/>
                  <a:pt x="527" y="18"/>
                  <a:pt x="529" y="18"/>
                </a:cubicBezTo>
                <a:cubicBezTo>
                  <a:pt x="528" y="17"/>
                  <a:pt x="526" y="17"/>
                  <a:pt x="524" y="16"/>
                </a:cubicBezTo>
                <a:close/>
                <a:moveTo>
                  <a:pt x="498" y="10"/>
                </a:moveTo>
                <a:cubicBezTo>
                  <a:pt x="501" y="10"/>
                  <a:pt x="502" y="10"/>
                  <a:pt x="503" y="10"/>
                </a:cubicBezTo>
                <a:cubicBezTo>
                  <a:pt x="502" y="10"/>
                  <a:pt x="498" y="9"/>
                  <a:pt x="498" y="10"/>
                </a:cubicBezTo>
                <a:close/>
                <a:moveTo>
                  <a:pt x="467" y="7"/>
                </a:moveTo>
                <a:cubicBezTo>
                  <a:pt x="468" y="7"/>
                  <a:pt x="473" y="8"/>
                  <a:pt x="473" y="7"/>
                </a:cubicBezTo>
                <a:cubicBezTo>
                  <a:pt x="470" y="7"/>
                  <a:pt x="467" y="6"/>
                  <a:pt x="467" y="7"/>
                </a:cubicBezTo>
                <a:close/>
                <a:moveTo>
                  <a:pt x="443" y="52"/>
                </a:moveTo>
                <a:cubicBezTo>
                  <a:pt x="443" y="52"/>
                  <a:pt x="443" y="52"/>
                  <a:pt x="443" y="53"/>
                </a:cubicBezTo>
                <a:cubicBezTo>
                  <a:pt x="445" y="53"/>
                  <a:pt x="444" y="54"/>
                  <a:pt x="447" y="54"/>
                </a:cubicBezTo>
                <a:cubicBezTo>
                  <a:pt x="446" y="53"/>
                  <a:pt x="446" y="53"/>
                  <a:pt x="448" y="53"/>
                </a:cubicBezTo>
                <a:cubicBezTo>
                  <a:pt x="447" y="52"/>
                  <a:pt x="446" y="52"/>
                  <a:pt x="443" y="52"/>
                </a:cubicBezTo>
                <a:close/>
                <a:moveTo>
                  <a:pt x="435" y="51"/>
                </a:moveTo>
                <a:cubicBezTo>
                  <a:pt x="435" y="52"/>
                  <a:pt x="430" y="51"/>
                  <a:pt x="431" y="51"/>
                </a:cubicBezTo>
                <a:cubicBezTo>
                  <a:pt x="432" y="51"/>
                  <a:pt x="436" y="52"/>
                  <a:pt x="437" y="52"/>
                </a:cubicBezTo>
                <a:cubicBezTo>
                  <a:pt x="435" y="52"/>
                  <a:pt x="437" y="51"/>
                  <a:pt x="435" y="51"/>
                </a:cubicBezTo>
                <a:close/>
                <a:moveTo>
                  <a:pt x="402" y="50"/>
                </a:moveTo>
                <a:cubicBezTo>
                  <a:pt x="404" y="50"/>
                  <a:pt x="406" y="50"/>
                  <a:pt x="406" y="49"/>
                </a:cubicBezTo>
                <a:cubicBezTo>
                  <a:pt x="404" y="49"/>
                  <a:pt x="402" y="49"/>
                  <a:pt x="402" y="50"/>
                </a:cubicBezTo>
                <a:close/>
                <a:moveTo>
                  <a:pt x="391" y="1"/>
                </a:moveTo>
                <a:cubicBezTo>
                  <a:pt x="391" y="2"/>
                  <a:pt x="395" y="2"/>
                  <a:pt x="397" y="2"/>
                </a:cubicBezTo>
                <a:cubicBezTo>
                  <a:pt x="397" y="2"/>
                  <a:pt x="395" y="2"/>
                  <a:pt x="395" y="3"/>
                </a:cubicBezTo>
                <a:cubicBezTo>
                  <a:pt x="396" y="3"/>
                  <a:pt x="397" y="3"/>
                  <a:pt x="398" y="3"/>
                </a:cubicBezTo>
                <a:cubicBezTo>
                  <a:pt x="397" y="2"/>
                  <a:pt x="401" y="4"/>
                  <a:pt x="402" y="3"/>
                </a:cubicBezTo>
                <a:cubicBezTo>
                  <a:pt x="400" y="2"/>
                  <a:pt x="396" y="3"/>
                  <a:pt x="399" y="2"/>
                </a:cubicBezTo>
                <a:cubicBezTo>
                  <a:pt x="393" y="2"/>
                  <a:pt x="395" y="1"/>
                  <a:pt x="391" y="1"/>
                </a:cubicBezTo>
                <a:close/>
                <a:moveTo>
                  <a:pt x="394" y="3"/>
                </a:moveTo>
                <a:cubicBezTo>
                  <a:pt x="391" y="3"/>
                  <a:pt x="389" y="3"/>
                  <a:pt x="388" y="3"/>
                </a:cubicBezTo>
                <a:cubicBezTo>
                  <a:pt x="391" y="3"/>
                  <a:pt x="394" y="4"/>
                  <a:pt x="395" y="3"/>
                </a:cubicBezTo>
                <a:cubicBezTo>
                  <a:pt x="394" y="3"/>
                  <a:pt x="394" y="3"/>
                  <a:pt x="394" y="3"/>
                </a:cubicBezTo>
                <a:close/>
                <a:moveTo>
                  <a:pt x="384" y="2"/>
                </a:moveTo>
                <a:cubicBezTo>
                  <a:pt x="386" y="2"/>
                  <a:pt x="388" y="2"/>
                  <a:pt x="389" y="2"/>
                </a:cubicBezTo>
                <a:cubicBezTo>
                  <a:pt x="387" y="2"/>
                  <a:pt x="384" y="2"/>
                  <a:pt x="384" y="2"/>
                </a:cubicBezTo>
                <a:close/>
                <a:moveTo>
                  <a:pt x="371" y="5"/>
                </a:moveTo>
                <a:cubicBezTo>
                  <a:pt x="370" y="6"/>
                  <a:pt x="367" y="6"/>
                  <a:pt x="365" y="6"/>
                </a:cubicBezTo>
                <a:cubicBezTo>
                  <a:pt x="367" y="7"/>
                  <a:pt x="377" y="6"/>
                  <a:pt x="377" y="5"/>
                </a:cubicBezTo>
                <a:cubicBezTo>
                  <a:pt x="374" y="5"/>
                  <a:pt x="374" y="5"/>
                  <a:pt x="371" y="5"/>
                </a:cubicBezTo>
                <a:close/>
                <a:moveTo>
                  <a:pt x="364" y="51"/>
                </a:moveTo>
                <a:cubicBezTo>
                  <a:pt x="364" y="52"/>
                  <a:pt x="367" y="51"/>
                  <a:pt x="370" y="51"/>
                </a:cubicBezTo>
                <a:cubicBezTo>
                  <a:pt x="370" y="51"/>
                  <a:pt x="366" y="51"/>
                  <a:pt x="364" y="51"/>
                </a:cubicBezTo>
                <a:close/>
                <a:moveTo>
                  <a:pt x="363" y="50"/>
                </a:moveTo>
                <a:cubicBezTo>
                  <a:pt x="365" y="49"/>
                  <a:pt x="366" y="49"/>
                  <a:pt x="367" y="49"/>
                </a:cubicBezTo>
                <a:cubicBezTo>
                  <a:pt x="365" y="48"/>
                  <a:pt x="363" y="49"/>
                  <a:pt x="363" y="50"/>
                </a:cubicBezTo>
                <a:close/>
                <a:moveTo>
                  <a:pt x="326" y="13"/>
                </a:moveTo>
                <a:cubicBezTo>
                  <a:pt x="327" y="12"/>
                  <a:pt x="332" y="11"/>
                  <a:pt x="333" y="11"/>
                </a:cubicBezTo>
                <a:cubicBezTo>
                  <a:pt x="329" y="11"/>
                  <a:pt x="328" y="12"/>
                  <a:pt x="326" y="13"/>
                </a:cubicBezTo>
                <a:close/>
                <a:moveTo>
                  <a:pt x="321" y="10"/>
                </a:moveTo>
                <a:cubicBezTo>
                  <a:pt x="322" y="11"/>
                  <a:pt x="325" y="10"/>
                  <a:pt x="329" y="9"/>
                </a:cubicBezTo>
                <a:cubicBezTo>
                  <a:pt x="329" y="9"/>
                  <a:pt x="329" y="9"/>
                  <a:pt x="328" y="9"/>
                </a:cubicBezTo>
                <a:cubicBezTo>
                  <a:pt x="326" y="10"/>
                  <a:pt x="323" y="10"/>
                  <a:pt x="321" y="10"/>
                </a:cubicBezTo>
                <a:close/>
                <a:moveTo>
                  <a:pt x="322" y="58"/>
                </a:moveTo>
                <a:cubicBezTo>
                  <a:pt x="323" y="58"/>
                  <a:pt x="326" y="58"/>
                  <a:pt x="328" y="58"/>
                </a:cubicBezTo>
                <a:cubicBezTo>
                  <a:pt x="327" y="57"/>
                  <a:pt x="325" y="57"/>
                  <a:pt x="322" y="58"/>
                </a:cubicBezTo>
                <a:close/>
                <a:moveTo>
                  <a:pt x="313" y="59"/>
                </a:moveTo>
                <a:cubicBezTo>
                  <a:pt x="314" y="60"/>
                  <a:pt x="309" y="60"/>
                  <a:pt x="309" y="61"/>
                </a:cubicBezTo>
                <a:cubicBezTo>
                  <a:pt x="311" y="61"/>
                  <a:pt x="312" y="61"/>
                  <a:pt x="316" y="60"/>
                </a:cubicBezTo>
                <a:cubicBezTo>
                  <a:pt x="315" y="60"/>
                  <a:pt x="316" y="59"/>
                  <a:pt x="313" y="59"/>
                </a:cubicBezTo>
                <a:close/>
                <a:moveTo>
                  <a:pt x="286" y="24"/>
                </a:moveTo>
                <a:cubicBezTo>
                  <a:pt x="286" y="24"/>
                  <a:pt x="280" y="25"/>
                  <a:pt x="280" y="26"/>
                </a:cubicBezTo>
                <a:cubicBezTo>
                  <a:pt x="281" y="26"/>
                  <a:pt x="280" y="26"/>
                  <a:pt x="281" y="26"/>
                </a:cubicBezTo>
                <a:cubicBezTo>
                  <a:pt x="282" y="26"/>
                  <a:pt x="284" y="25"/>
                  <a:pt x="285" y="24"/>
                </a:cubicBezTo>
                <a:cubicBezTo>
                  <a:pt x="285" y="25"/>
                  <a:pt x="286" y="25"/>
                  <a:pt x="287" y="25"/>
                </a:cubicBezTo>
                <a:cubicBezTo>
                  <a:pt x="290" y="24"/>
                  <a:pt x="290" y="24"/>
                  <a:pt x="294" y="23"/>
                </a:cubicBezTo>
                <a:cubicBezTo>
                  <a:pt x="293" y="22"/>
                  <a:pt x="293" y="22"/>
                  <a:pt x="293" y="22"/>
                </a:cubicBezTo>
                <a:cubicBezTo>
                  <a:pt x="290" y="23"/>
                  <a:pt x="288" y="23"/>
                  <a:pt x="286" y="24"/>
                </a:cubicBezTo>
                <a:close/>
                <a:moveTo>
                  <a:pt x="287" y="68"/>
                </a:moveTo>
                <a:cubicBezTo>
                  <a:pt x="289" y="67"/>
                  <a:pt x="289" y="67"/>
                  <a:pt x="289" y="66"/>
                </a:cubicBezTo>
                <a:cubicBezTo>
                  <a:pt x="287" y="67"/>
                  <a:pt x="287" y="67"/>
                  <a:pt x="287" y="68"/>
                </a:cubicBezTo>
                <a:close/>
                <a:moveTo>
                  <a:pt x="237" y="80"/>
                </a:moveTo>
                <a:cubicBezTo>
                  <a:pt x="236" y="81"/>
                  <a:pt x="235" y="83"/>
                  <a:pt x="230" y="86"/>
                </a:cubicBezTo>
                <a:cubicBezTo>
                  <a:pt x="227" y="86"/>
                  <a:pt x="224" y="88"/>
                  <a:pt x="221" y="89"/>
                </a:cubicBezTo>
                <a:cubicBezTo>
                  <a:pt x="221" y="89"/>
                  <a:pt x="221" y="90"/>
                  <a:pt x="220" y="91"/>
                </a:cubicBezTo>
                <a:cubicBezTo>
                  <a:pt x="219" y="91"/>
                  <a:pt x="215" y="92"/>
                  <a:pt x="215" y="93"/>
                </a:cubicBezTo>
                <a:cubicBezTo>
                  <a:pt x="217" y="93"/>
                  <a:pt x="218" y="93"/>
                  <a:pt x="220" y="92"/>
                </a:cubicBezTo>
                <a:cubicBezTo>
                  <a:pt x="222" y="91"/>
                  <a:pt x="219" y="91"/>
                  <a:pt x="221" y="90"/>
                </a:cubicBezTo>
                <a:cubicBezTo>
                  <a:pt x="227" y="88"/>
                  <a:pt x="233" y="84"/>
                  <a:pt x="238" y="81"/>
                </a:cubicBezTo>
                <a:cubicBezTo>
                  <a:pt x="237" y="81"/>
                  <a:pt x="237" y="81"/>
                  <a:pt x="236" y="81"/>
                </a:cubicBezTo>
                <a:cubicBezTo>
                  <a:pt x="239" y="80"/>
                  <a:pt x="241" y="79"/>
                  <a:pt x="242" y="78"/>
                </a:cubicBezTo>
                <a:cubicBezTo>
                  <a:pt x="239" y="79"/>
                  <a:pt x="238" y="79"/>
                  <a:pt x="237" y="80"/>
                </a:cubicBezTo>
                <a:close/>
                <a:moveTo>
                  <a:pt x="228" y="79"/>
                </a:moveTo>
                <a:cubicBezTo>
                  <a:pt x="228" y="80"/>
                  <a:pt x="230" y="79"/>
                  <a:pt x="228" y="80"/>
                </a:cubicBezTo>
                <a:cubicBezTo>
                  <a:pt x="228" y="80"/>
                  <a:pt x="224" y="82"/>
                  <a:pt x="224" y="81"/>
                </a:cubicBezTo>
                <a:cubicBezTo>
                  <a:pt x="219" y="84"/>
                  <a:pt x="214" y="86"/>
                  <a:pt x="212" y="89"/>
                </a:cubicBezTo>
                <a:cubicBezTo>
                  <a:pt x="217" y="86"/>
                  <a:pt x="220" y="83"/>
                  <a:pt x="224" y="82"/>
                </a:cubicBezTo>
                <a:cubicBezTo>
                  <a:pt x="224" y="82"/>
                  <a:pt x="222" y="83"/>
                  <a:pt x="223" y="83"/>
                </a:cubicBezTo>
                <a:cubicBezTo>
                  <a:pt x="226" y="82"/>
                  <a:pt x="228" y="80"/>
                  <a:pt x="232" y="79"/>
                </a:cubicBezTo>
                <a:cubicBezTo>
                  <a:pt x="231" y="78"/>
                  <a:pt x="231" y="78"/>
                  <a:pt x="228" y="79"/>
                </a:cubicBezTo>
                <a:close/>
                <a:moveTo>
                  <a:pt x="209" y="55"/>
                </a:moveTo>
                <a:cubicBezTo>
                  <a:pt x="212" y="54"/>
                  <a:pt x="215" y="52"/>
                  <a:pt x="216" y="50"/>
                </a:cubicBezTo>
                <a:cubicBezTo>
                  <a:pt x="212" y="52"/>
                  <a:pt x="211" y="53"/>
                  <a:pt x="209" y="55"/>
                </a:cubicBezTo>
                <a:close/>
                <a:moveTo>
                  <a:pt x="220" y="66"/>
                </a:moveTo>
                <a:cubicBezTo>
                  <a:pt x="223" y="64"/>
                  <a:pt x="220" y="67"/>
                  <a:pt x="223" y="65"/>
                </a:cubicBezTo>
                <a:cubicBezTo>
                  <a:pt x="224" y="64"/>
                  <a:pt x="223" y="65"/>
                  <a:pt x="223" y="64"/>
                </a:cubicBezTo>
                <a:cubicBezTo>
                  <a:pt x="222" y="65"/>
                  <a:pt x="220" y="65"/>
                  <a:pt x="220" y="66"/>
                </a:cubicBezTo>
                <a:close/>
                <a:moveTo>
                  <a:pt x="217" y="67"/>
                </a:moveTo>
                <a:cubicBezTo>
                  <a:pt x="214" y="69"/>
                  <a:pt x="216" y="70"/>
                  <a:pt x="219" y="67"/>
                </a:cubicBezTo>
                <a:cubicBezTo>
                  <a:pt x="214" y="69"/>
                  <a:pt x="222" y="65"/>
                  <a:pt x="217" y="67"/>
                </a:cubicBezTo>
                <a:close/>
                <a:moveTo>
                  <a:pt x="226" y="94"/>
                </a:moveTo>
                <a:cubicBezTo>
                  <a:pt x="225" y="94"/>
                  <a:pt x="224" y="95"/>
                  <a:pt x="224" y="96"/>
                </a:cubicBezTo>
                <a:cubicBezTo>
                  <a:pt x="226" y="94"/>
                  <a:pt x="226" y="95"/>
                  <a:pt x="228" y="94"/>
                </a:cubicBezTo>
                <a:cubicBezTo>
                  <a:pt x="228" y="93"/>
                  <a:pt x="227" y="94"/>
                  <a:pt x="226" y="94"/>
                </a:cubicBezTo>
                <a:close/>
                <a:moveTo>
                  <a:pt x="216" y="80"/>
                </a:moveTo>
                <a:cubicBezTo>
                  <a:pt x="215" y="80"/>
                  <a:pt x="213" y="82"/>
                  <a:pt x="211" y="82"/>
                </a:cubicBezTo>
                <a:cubicBezTo>
                  <a:pt x="211" y="83"/>
                  <a:pt x="214" y="82"/>
                  <a:pt x="216" y="80"/>
                </a:cubicBezTo>
                <a:close/>
                <a:moveTo>
                  <a:pt x="206" y="79"/>
                </a:moveTo>
                <a:cubicBezTo>
                  <a:pt x="206" y="79"/>
                  <a:pt x="208" y="78"/>
                  <a:pt x="207" y="79"/>
                </a:cubicBezTo>
                <a:cubicBezTo>
                  <a:pt x="209" y="77"/>
                  <a:pt x="210" y="78"/>
                  <a:pt x="212" y="75"/>
                </a:cubicBezTo>
                <a:cubicBezTo>
                  <a:pt x="210" y="76"/>
                  <a:pt x="208" y="77"/>
                  <a:pt x="206" y="79"/>
                </a:cubicBezTo>
                <a:close/>
                <a:moveTo>
                  <a:pt x="192" y="65"/>
                </a:moveTo>
                <a:cubicBezTo>
                  <a:pt x="191" y="66"/>
                  <a:pt x="190" y="67"/>
                  <a:pt x="190" y="67"/>
                </a:cubicBezTo>
                <a:cubicBezTo>
                  <a:pt x="193" y="65"/>
                  <a:pt x="197" y="64"/>
                  <a:pt x="198" y="63"/>
                </a:cubicBezTo>
                <a:cubicBezTo>
                  <a:pt x="194" y="64"/>
                  <a:pt x="195" y="64"/>
                  <a:pt x="192" y="65"/>
                </a:cubicBezTo>
                <a:close/>
                <a:moveTo>
                  <a:pt x="208" y="90"/>
                </a:moveTo>
                <a:cubicBezTo>
                  <a:pt x="207" y="91"/>
                  <a:pt x="206" y="91"/>
                  <a:pt x="206" y="92"/>
                </a:cubicBezTo>
                <a:cubicBezTo>
                  <a:pt x="207" y="91"/>
                  <a:pt x="206" y="93"/>
                  <a:pt x="209" y="91"/>
                </a:cubicBezTo>
                <a:cubicBezTo>
                  <a:pt x="210" y="90"/>
                  <a:pt x="208" y="91"/>
                  <a:pt x="208" y="90"/>
                </a:cubicBezTo>
                <a:close/>
                <a:moveTo>
                  <a:pt x="207" y="101"/>
                </a:moveTo>
                <a:cubicBezTo>
                  <a:pt x="208" y="101"/>
                  <a:pt x="212" y="98"/>
                  <a:pt x="214" y="97"/>
                </a:cubicBezTo>
                <a:cubicBezTo>
                  <a:pt x="211" y="99"/>
                  <a:pt x="207" y="101"/>
                  <a:pt x="207" y="101"/>
                </a:cubicBezTo>
                <a:close/>
                <a:moveTo>
                  <a:pt x="190" y="86"/>
                </a:moveTo>
                <a:cubicBezTo>
                  <a:pt x="191" y="85"/>
                  <a:pt x="196" y="82"/>
                  <a:pt x="196" y="82"/>
                </a:cubicBezTo>
                <a:cubicBezTo>
                  <a:pt x="194" y="83"/>
                  <a:pt x="192" y="85"/>
                  <a:pt x="190" y="86"/>
                </a:cubicBezTo>
                <a:close/>
                <a:moveTo>
                  <a:pt x="198" y="111"/>
                </a:moveTo>
                <a:cubicBezTo>
                  <a:pt x="199" y="112"/>
                  <a:pt x="204" y="109"/>
                  <a:pt x="205" y="107"/>
                </a:cubicBezTo>
                <a:cubicBezTo>
                  <a:pt x="203" y="109"/>
                  <a:pt x="201" y="110"/>
                  <a:pt x="198" y="111"/>
                </a:cubicBezTo>
                <a:close/>
                <a:moveTo>
                  <a:pt x="185" y="86"/>
                </a:moveTo>
                <a:cubicBezTo>
                  <a:pt x="185" y="86"/>
                  <a:pt x="189" y="84"/>
                  <a:pt x="188" y="84"/>
                </a:cubicBezTo>
                <a:cubicBezTo>
                  <a:pt x="184" y="85"/>
                  <a:pt x="184" y="87"/>
                  <a:pt x="183" y="89"/>
                </a:cubicBezTo>
                <a:cubicBezTo>
                  <a:pt x="184" y="88"/>
                  <a:pt x="184" y="88"/>
                  <a:pt x="184" y="88"/>
                </a:cubicBezTo>
                <a:cubicBezTo>
                  <a:pt x="187" y="87"/>
                  <a:pt x="190" y="84"/>
                  <a:pt x="188" y="84"/>
                </a:cubicBezTo>
                <a:cubicBezTo>
                  <a:pt x="188" y="84"/>
                  <a:pt x="186" y="86"/>
                  <a:pt x="185" y="86"/>
                </a:cubicBezTo>
                <a:close/>
                <a:moveTo>
                  <a:pt x="175" y="77"/>
                </a:moveTo>
                <a:cubicBezTo>
                  <a:pt x="177" y="75"/>
                  <a:pt x="182" y="73"/>
                  <a:pt x="180" y="73"/>
                </a:cubicBezTo>
                <a:cubicBezTo>
                  <a:pt x="179" y="75"/>
                  <a:pt x="174" y="76"/>
                  <a:pt x="175" y="77"/>
                </a:cubicBezTo>
                <a:close/>
                <a:moveTo>
                  <a:pt x="186" y="115"/>
                </a:moveTo>
                <a:cubicBezTo>
                  <a:pt x="187" y="115"/>
                  <a:pt x="191" y="112"/>
                  <a:pt x="191" y="111"/>
                </a:cubicBezTo>
                <a:cubicBezTo>
                  <a:pt x="190" y="112"/>
                  <a:pt x="187" y="113"/>
                  <a:pt x="186" y="115"/>
                </a:cubicBezTo>
                <a:close/>
                <a:moveTo>
                  <a:pt x="177" y="93"/>
                </a:moveTo>
                <a:cubicBezTo>
                  <a:pt x="170" y="97"/>
                  <a:pt x="177" y="95"/>
                  <a:pt x="177" y="93"/>
                </a:cubicBezTo>
                <a:close/>
                <a:moveTo>
                  <a:pt x="183" y="114"/>
                </a:moveTo>
                <a:cubicBezTo>
                  <a:pt x="185" y="113"/>
                  <a:pt x="188" y="111"/>
                  <a:pt x="188" y="110"/>
                </a:cubicBezTo>
                <a:cubicBezTo>
                  <a:pt x="185" y="112"/>
                  <a:pt x="184" y="113"/>
                  <a:pt x="183" y="114"/>
                </a:cubicBezTo>
                <a:close/>
                <a:moveTo>
                  <a:pt x="158" y="89"/>
                </a:moveTo>
                <a:cubicBezTo>
                  <a:pt x="160" y="88"/>
                  <a:pt x="165" y="84"/>
                  <a:pt x="163" y="85"/>
                </a:cubicBezTo>
                <a:cubicBezTo>
                  <a:pt x="163" y="85"/>
                  <a:pt x="157" y="89"/>
                  <a:pt x="158" y="89"/>
                </a:cubicBezTo>
                <a:close/>
                <a:moveTo>
                  <a:pt x="166" y="104"/>
                </a:moveTo>
                <a:cubicBezTo>
                  <a:pt x="168" y="103"/>
                  <a:pt x="170" y="102"/>
                  <a:pt x="171" y="101"/>
                </a:cubicBezTo>
                <a:cubicBezTo>
                  <a:pt x="169" y="103"/>
                  <a:pt x="166" y="103"/>
                  <a:pt x="166" y="104"/>
                </a:cubicBezTo>
                <a:close/>
                <a:moveTo>
                  <a:pt x="172" y="122"/>
                </a:moveTo>
                <a:cubicBezTo>
                  <a:pt x="172" y="122"/>
                  <a:pt x="176" y="120"/>
                  <a:pt x="176" y="120"/>
                </a:cubicBezTo>
                <a:cubicBezTo>
                  <a:pt x="175" y="120"/>
                  <a:pt x="175" y="120"/>
                  <a:pt x="172" y="122"/>
                </a:cubicBezTo>
                <a:close/>
                <a:moveTo>
                  <a:pt x="142" y="97"/>
                </a:moveTo>
                <a:cubicBezTo>
                  <a:pt x="145" y="95"/>
                  <a:pt x="147" y="93"/>
                  <a:pt x="148" y="92"/>
                </a:cubicBezTo>
                <a:cubicBezTo>
                  <a:pt x="146" y="93"/>
                  <a:pt x="142" y="96"/>
                  <a:pt x="142" y="97"/>
                </a:cubicBezTo>
                <a:close/>
                <a:moveTo>
                  <a:pt x="155" y="112"/>
                </a:moveTo>
                <a:cubicBezTo>
                  <a:pt x="155" y="112"/>
                  <a:pt x="156" y="111"/>
                  <a:pt x="156" y="111"/>
                </a:cubicBezTo>
                <a:cubicBezTo>
                  <a:pt x="155" y="112"/>
                  <a:pt x="156" y="112"/>
                  <a:pt x="157" y="111"/>
                </a:cubicBezTo>
                <a:cubicBezTo>
                  <a:pt x="157" y="111"/>
                  <a:pt x="158" y="110"/>
                  <a:pt x="158" y="109"/>
                </a:cubicBezTo>
                <a:cubicBezTo>
                  <a:pt x="157" y="110"/>
                  <a:pt x="155" y="111"/>
                  <a:pt x="155" y="112"/>
                </a:cubicBezTo>
                <a:close/>
                <a:moveTo>
                  <a:pt x="164" y="129"/>
                </a:moveTo>
                <a:cubicBezTo>
                  <a:pt x="165" y="128"/>
                  <a:pt x="170" y="125"/>
                  <a:pt x="169" y="124"/>
                </a:cubicBezTo>
                <a:cubicBezTo>
                  <a:pt x="167" y="126"/>
                  <a:pt x="165" y="127"/>
                  <a:pt x="164" y="129"/>
                </a:cubicBezTo>
                <a:close/>
                <a:moveTo>
                  <a:pt x="153" y="112"/>
                </a:moveTo>
                <a:cubicBezTo>
                  <a:pt x="155" y="111"/>
                  <a:pt x="158" y="109"/>
                  <a:pt x="157" y="109"/>
                </a:cubicBezTo>
                <a:cubicBezTo>
                  <a:pt x="154" y="110"/>
                  <a:pt x="154" y="111"/>
                  <a:pt x="153" y="112"/>
                </a:cubicBezTo>
                <a:close/>
                <a:moveTo>
                  <a:pt x="164" y="125"/>
                </a:moveTo>
                <a:cubicBezTo>
                  <a:pt x="165" y="124"/>
                  <a:pt x="167" y="122"/>
                  <a:pt x="167" y="122"/>
                </a:cubicBezTo>
                <a:cubicBezTo>
                  <a:pt x="166" y="122"/>
                  <a:pt x="162" y="125"/>
                  <a:pt x="164" y="125"/>
                </a:cubicBezTo>
                <a:close/>
                <a:moveTo>
                  <a:pt x="162" y="131"/>
                </a:moveTo>
                <a:cubicBezTo>
                  <a:pt x="162" y="131"/>
                  <a:pt x="161" y="132"/>
                  <a:pt x="161" y="133"/>
                </a:cubicBezTo>
                <a:cubicBezTo>
                  <a:pt x="164" y="130"/>
                  <a:pt x="164" y="130"/>
                  <a:pt x="164" y="130"/>
                </a:cubicBezTo>
                <a:cubicBezTo>
                  <a:pt x="162" y="131"/>
                  <a:pt x="170" y="126"/>
                  <a:pt x="167" y="127"/>
                </a:cubicBezTo>
                <a:cubicBezTo>
                  <a:pt x="165" y="129"/>
                  <a:pt x="163" y="130"/>
                  <a:pt x="162" y="131"/>
                </a:cubicBezTo>
                <a:close/>
                <a:moveTo>
                  <a:pt x="153" y="115"/>
                </a:moveTo>
                <a:cubicBezTo>
                  <a:pt x="153" y="115"/>
                  <a:pt x="154" y="114"/>
                  <a:pt x="153" y="114"/>
                </a:cubicBezTo>
                <a:cubicBezTo>
                  <a:pt x="149" y="118"/>
                  <a:pt x="155" y="114"/>
                  <a:pt x="153" y="116"/>
                </a:cubicBezTo>
                <a:cubicBezTo>
                  <a:pt x="155" y="115"/>
                  <a:pt x="155" y="115"/>
                  <a:pt x="155" y="115"/>
                </a:cubicBezTo>
                <a:cubicBezTo>
                  <a:pt x="155" y="115"/>
                  <a:pt x="155" y="114"/>
                  <a:pt x="155" y="114"/>
                </a:cubicBezTo>
                <a:cubicBezTo>
                  <a:pt x="154" y="115"/>
                  <a:pt x="153" y="115"/>
                  <a:pt x="153" y="115"/>
                </a:cubicBezTo>
                <a:close/>
                <a:moveTo>
                  <a:pt x="132" y="105"/>
                </a:moveTo>
                <a:cubicBezTo>
                  <a:pt x="135" y="103"/>
                  <a:pt x="140" y="99"/>
                  <a:pt x="140" y="98"/>
                </a:cubicBezTo>
                <a:cubicBezTo>
                  <a:pt x="136" y="101"/>
                  <a:pt x="133" y="104"/>
                  <a:pt x="132" y="105"/>
                </a:cubicBezTo>
                <a:close/>
                <a:moveTo>
                  <a:pt x="158" y="134"/>
                </a:moveTo>
                <a:cubicBezTo>
                  <a:pt x="159" y="132"/>
                  <a:pt x="163" y="130"/>
                  <a:pt x="163" y="130"/>
                </a:cubicBezTo>
                <a:cubicBezTo>
                  <a:pt x="161" y="131"/>
                  <a:pt x="157" y="133"/>
                  <a:pt x="158" y="134"/>
                </a:cubicBezTo>
                <a:close/>
                <a:moveTo>
                  <a:pt x="149" y="141"/>
                </a:moveTo>
                <a:cubicBezTo>
                  <a:pt x="151" y="141"/>
                  <a:pt x="153" y="139"/>
                  <a:pt x="153" y="138"/>
                </a:cubicBezTo>
                <a:cubicBezTo>
                  <a:pt x="154" y="138"/>
                  <a:pt x="157" y="136"/>
                  <a:pt x="158" y="135"/>
                </a:cubicBezTo>
                <a:cubicBezTo>
                  <a:pt x="155" y="136"/>
                  <a:pt x="151" y="139"/>
                  <a:pt x="149" y="141"/>
                </a:cubicBezTo>
                <a:close/>
                <a:moveTo>
                  <a:pt x="132" y="110"/>
                </a:moveTo>
                <a:cubicBezTo>
                  <a:pt x="132" y="108"/>
                  <a:pt x="128" y="112"/>
                  <a:pt x="127" y="113"/>
                </a:cubicBezTo>
                <a:cubicBezTo>
                  <a:pt x="126" y="114"/>
                  <a:pt x="128" y="114"/>
                  <a:pt x="129" y="112"/>
                </a:cubicBezTo>
                <a:cubicBezTo>
                  <a:pt x="129" y="111"/>
                  <a:pt x="131" y="110"/>
                  <a:pt x="131" y="110"/>
                </a:cubicBezTo>
                <a:cubicBezTo>
                  <a:pt x="131" y="110"/>
                  <a:pt x="131" y="110"/>
                  <a:pt x="132" y="110"/>
                </a:cubicBezTo>
                <a:close/>
                <a:moveTo>
                  <a:pt x="137" y="153"/>
                </a:moveTo>
                <a:cubicBezTo>
                  <a:pt x="139" y="150"/>
                  <a:pt x="143" y="148"/>
                  <a:pt x="143" y="147"/>
                </a:cubicBezTo>
                <a:cubicBezTo>
                  <a:pt x="140" y="149"/>
                  <a:pt x="138" y="151"/>
                  <a:pt x="137" y="153"/>
                </a:cubicBezTo>
                <a:close/>
                <a:moveTo>
                  <a:pt x="105" y="131"/>
                </a:moveTo>
                <a:cubicBezTo>
                  <a:pt x="110" y="128"/>
                  <a:pt x="114" y="123"/>
                  <a:pt x="118" y="120"/>
                </a:cubicBezTo>
                <a:cubicBezTo>
                  <a:pt x="117" y="119"/>
                  <a:pt x="117" y="119"/>
                  <a:pt x="117" y="119"/>
                </a:cubicBezTo>
                <a:cubicBezTo>
                  <a:pt x="113" y="123"/>
                  <a:pt x="107" y="128"/>
                  <a:pt x="105" y="131"/>
                </a:cubicBezTo>
                <a:close/>
                <a:moveTo>
                  <a:pt x="144" y="153"/>
                </a:moveTo>
                <a:cubicBezTo>
                  <a:pt x="144" y="154"/>
                  <a:pt x="143" y="155"/>
                  <a:pt x="143" y="155"/>
                </a:cubicBezTo>
                <a:cubicBezTo>
                  <a:pt x="146" y="153"/>
                  <a:pt x="146" y="153"/>
                  <a:pt x="146" y="153"/>
                </a:cubicBezTo>
                <a:cubicBezTo>
                  <a:pt x="145" y="153"/>
                  <a:pt x="146" y="152"/>
                  <a:pt x="144" y="153"/>
                </a:cubicBezTo>
                <a:close/>
                <a:moveTo>
                  <a:pt x="124" y="137"/>
                </a:moveTo>
                <a:cubicBezTo>
                  <a:pt x="125" y="137"/>
                  <a:pt x="126" y="136"/>
                  <a:pt x="126" y="136"/>
                </a:cubicBezTo>
                <a:cubicBezTo>
                  <a:pt x="125" y="136"/>
                  <a:pt x="123" y="138"/>
                  <a:pt x="122" y="139"/>
                </a:cubicBezTo>
                <a:cubicBezTo>
                  <a:pt x="121" y="140"/>
                  <a:pt x="121" y="140"/>
                  <a:pt x="122" y="140"/>
                </a:cubicBezTo>
                <a:cubicBezTo>
                  <a:pt x="124" y="138"/>
                  <a:pt x="123" y="138"/>
                  <a:pt x="124" y="137"/>
                </a:cubicBezTo>
                <a:close/>
                <a:moveTo>
                  <a:pt x="112" y="136"/>
                </a:moveTo>
                <a:cubicBezTo>
                  <a:pt x="109" y="139"/>
                  <a:pt x="114" y="135"/>
                  <a:pt x="111" y="138"/>
                </a:cubicBezTo>
                <a:cubicBezTo>
                  <a:pt x="113" y="136"/>
                  <a:pt x="113" y="136"/>
                  <a:pt x="115" y="135"/>
                </a:cubicBezTo>
                <a:cubicBezTo>
                  <a:pt x="115" y="135"/>
                  <a:pt x="116" y="134"/>
                  <a:pt x="115" y="134"/>
                </a:cubicBezTo>
                <a:cubicBezTo>
                  <a:pt x="113" y="136"/>
                  <a:pt x="114" y="134"/>
                  <a:pt x="112" y="136"/>
                </a:cubicBezTo>
                <a:close/>
                <a:moveTo>
                  <a:pt x="125" y="156"/>
                </a:moveTo>
                <a:cubicBezTo>
                  <a:pt x="126" y="156"/>
                  <a:pt x="128" y="154"/>
                  <a:pt x="129" y="152"/>
                </a:cubicBezTo>
                <a:cubicBezTo>
                  <a:pt x="128" y="153"/>
                  <a:pt x="126" y="154"/>
                  <a:pt x="125" y="156"/>
                </a:cubicBezTo>
                <a:close/>
                <a:moveTo>
                  <a:pt x="113" y="150"/>
                </a:moveTo>
                <a:cubicBezTo>
                  <a:pt x="117" y="147"/>
                  <a:pt x="116" y="148"/>
                  <a:pt x="120" y="145"/>
                </a:cubicBezTo>
                <a:cubicBezTo>
                  <a:pt x="118" y="145"/>
                  <a:pt x="121" y="143"/>
                  <a:pt x="120" y="143"/>
                </a:cubicBezTo>
                <a:cubicBezTo>
                  <a:pt x="119" y="145"/>
                  <a:pt x="113" y="149"/>
                  <a:pt x="113" y="150"/>
                </a:cubicBezTo>
                <a:close/>
                <a:moveTo>
                  <a:pt x="112" y="138"/>
                </a:moveTo>
                <a:cubicBezTo>
                  <a:pt x="110" y="140"/>
                  <a:pt x="110" y="138"/>
                  <a:pt x="108" y="140"/>
                </a:cubicBezTo>
                <a:cubicBezTo>
                  <a:pt x="107" y="142"/>
                  <a:pt x="109" y="140"/>
                  <a:pt x="110" y="141"/>
                </a:cubicBezTo>
                <a:cubicBezTo>
                  <a:pt x="111" y="140"/>
                  <a:pt x="114" y="137"/>
                  <a:pt x="112" y="138"/>
                </a:cubicBezTo>
                <a:close/>
                <a:moveTo>
                  <a:pt x="96" y="141"/>
                </a:moveTo>
                <a:cubicBezTo>
                  <a:pt x="99" y="138"/>
                  <a:pt x="99" y="138"/>
                  <a:pt x="99" y="138"/>
                </a:cubicBezTo>
                <a:cubicBezTo>
                  <a:pt x="98" y="137"/>
                  <a:pt x="98" y="137"/>
                  <a:pt x="98" y="137"/>
                </a:cubicBezTo>
                <a:cubicBezTo>
                  <a:pt x="96" y="139"/>
                  <a:pt x="97" y="139"/>
                  <a:pt x="96" y="141"/>
                </a:cubicBezTo>
                <a:close/>
                <a:moveTo>
                  <a:pt x="119" y="170"/>
                </a:moveTo>
                <a:cubicBezTo>
                  <a:pt x="119" y="171"/>
                  <a:pt x="120" y="168"/>
                  <a:pt x="120" y="169"/>
                </a:cubicBezTo>
                <a:cubicBezTo>
                  <a:pt x="121" y="168"/>
                  <a:pt x="125" y="165"/>
                  <a:pt x="123" y="166"/>
                </a:cubicBezTo>
                <a:cubicBezTo>
                  <a:pt x="121" y="168"/>
                  <a:pt x="121" y="168"/>
                  <a:pt x="119" y="170"/>
                </a:cubicBezTo>
                <a:close/>
                <a:moveTo>
                  <a:pt x="111" y="161"/>
                </a:moveTo>
                <a:cubicBezTo>
                  <a:pt x="113" y="159"/>
                  <a:pt x="114" y="159"/>
                  <a:pt x="115" y="158"/>
                </a:cubicBezTo>
                <a:cubicBezTo>
                  <a:pt x="114" y="158"/>
                  <a:pt x="115" y="157"/>
                  <a:pt x="114" y="157"/>
                </a:cubicBezTo>
                <a:cubicBezTo>
                  <a:pt x="113" y="159"/>
                  <a:pt x="111" y="160"/>
                  <a:pt x="111" y="161"/>
                </a:cubicBezTo>
                <a:close/>
                <a:moveTo>
                  <a:pt x="85" y="151"/>
                </a:moveTo>
                <a:cubicBezTo>
                  <a:pt x="83" y="153"/>
                  <a:pt x="82" y="154"/>
                  <a:pt x="81" y="155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2" y="156"/>
                  <a:pt x="82" y="156"/>
                  <a:pt x="82" y="156"/>
                </a:cubicBezTo>
                <a:cubicBezTo>
                  <a:pt x="83" y="155"/>
                  <a:pt x="83" y="155"/>
                  <a:pt x="83" y="155"/>
                </a:cubicBezTo>
                <a:cubicBezTo>
                  <a:pt x="84" y="154"/>
                  <a:pt x="85" y="152"/>
                  <a:pt x="86" y="151"/>
                </a:cubicBezTo>
                <a:cubicBezTo>
                  <a:pt x="89" y="149"/>
                  <a:pt x="91" y="146"/>
                  <a:pt x="93" y="143"/>
                </a:cubicBezTo>
                <a:cubicBezTo>
                  <a:pt x="90" y="146"/>
                  <a:pt x="87" y="149"/>
                  <a:pt x="85" y="151"/>
                </a:cubicBezTo>
                <a:close/>
                <a:moveTo>
                  <a:pt x="88" y="156"/>
                </a:moveTo>
                <a:cubicBezTo>
                  <a:pt x="90" y="154"/>
                  <a:pt x="91" y="154"/>
                  <a:pt x="93" y="152"/>
                </a:cubicBezTo>
                <a:cubicBezTo>
                  <a:pt x="93" y="151"/>
                  <a:pt x="93" y="150"/>
                  <a:pt x="94" y="149"/>
                </a:cubicBezTo>
                <a:cubicBezTo>
                  <a:pt x="91" y="152"/>
                  <a:pt x="87" y="156"/>
                  <a:pt x="88" y="156"/>
                </a:cubicBezTo>
                <a:close/>
                <a:moveTo>
                  <a:pt x="86" y="154"/>
                </a:moveTo>
                <a:cubicBezTo>
                  <a:pt x="88" y="153"/>
                  <a:pt x="87" y="154"/>
                  <a:pt x="89" y="152"/>
                </a:cubicBezTo>
                <a:cubicBezTo>
                  <a:pt x="89" y="152"/>
                  <a:pt x="89" y="152"/>
                  <a:pt x="90" y="151"/>
                </a:cubicBezTo>
                <a:cubicBezTo>
                  <a:pt x="89" y="151"/>
                  <a:pt x="89" y="151"/>
                  <a:pt x="90" y="151"/>
                </a:cubicBezTo>
                <a:cubicBezTo>
                  <a:pt x="90" y="150"/>
                  <a:pt x="90" y="150"/>
                  <a:pt x="90" y="150"/>
                </a:cubicBezTo>
                <a:cubicBezTo>
                  <a:pt x="89" y="152"/>
                  <a:pt x="86" y="154"/>
                  <a:pt x="86" y="154"/>
                </a:cubicBezTo>
                <a:close/>
                <a:moveTo>
                  <a:pt x="96" y="160"/>
                </a:moveTo>
                <a:cubicBezTo>
                  <a:pt x="96" y="161"/>
                  <a:pt x="94" y="163"/>
                  <a:pt x="94" y="164"/>
                </a:cubicBezTo>
                <a:cubicBezTo>
                  <a:pt x="96" y="162"/>
                  <a:pt x="96" y="161"/>
                  <a:pt x="98" y="160"/>
                </a:cubicBezTo>
                <a:cubicBezTo>
                  <a:pt x="97" y="159"/>
                  <a:pt x="97" y="160"/>
                  <a:pt x="96" y="160"/>
                </a:cubicBezTo>
                <a:close/>
                <a:moveTo>
                  <a:pt x="95" y="158"/>
                </a:moveTo>
                <a:cubicBezTo>
                  <a:pt x="95" y="158"/>
                  <a:pt x="95" y="158"/>
                  <a:pt x="95" y="158"/>
                </a:cubicBezTo>
                <a:cubicBezTo>
                  <a:pt x="93" y="159"/>
                  <a:pt x="94" y="159"/>
                  <a:pt x="92" y="160"/>
                </a:cubicBezTo>
                <a:cubicBezTo>
                  <a:pt x="93" y="161"/>
                  <a:pt x="93" y="161"/>
                  <a:pt x="93" y="161"/>
                </a:cubicBezTo>
                <a:cubicBezTo>
                  <a:pt x="94" y="159"/>
                  <a:pt x="94" y="160"/>
                  <a:pt x="95" y="158"/>
                </a:cubicBezTo>
                <a:close/>
                <a:moveTo>
                  <a:pt x="85" y="163"/>
                </a:moveTo>
                <a:cubicBezTo>
                  <a:pt x="86" y="162"/>
                  <a:pt x="86" y="162"/>
                  <a:pt x="86" y="162"/>
                </a:cubicBezTo>
                <a:cubicBezTo>
                  <a:pt x="86" y="162"/>
                  <a:pt x="85" y="162"/>
                  <a:pt x="85" y="163"/>
                </a:cubicBezTo>
                <a:close/>
                <a:moveTo>
                  <a:pt x="91" y="167"/>
                </a:moveTo>
                <a:cubicBezTo>
                  <a:pt x="91" y="167"/>
                  <a:pt x="91" y="167"/>
                  <a:pt x="91" y="168"/>
                </a:cubicBezTo>
                <a:cubicBezTo>
                  <a:pt x="92" y="168"/>
                  <a:pt x="92" y="168"/>
                  <a:pt x="92" y="167"/>
                </a:cubicBezTo>
                <a:cubicBezTo>
                  <a:pt x="92" y="167"/>
                  <a:pt x="92" y="167"/>
                  <a:pt x="92" y="167"/>
                </a:cubicBezTo>
                <a:cubicBezTo>
                  <a:pt x="92" y="167"/>
                  <a:pt x="91" y="166"/>
                  <a:pt x="91" y="167"/>
                </a:cubicBezTo>
                <a:close/>
                <a:moveTo>
                  <a:pt x="101" y="179"/>
                </a:moveTo>
                <a:cubicBezTo>
                  <a:pt x="101" y="179"/>
                  <a:pt x="101" y="179"/>
                  <a:pt x="102" y="180"/>
                </a:cubicBezTo>
                <a:cubicBezTo>
                  <a:pt x="102" y="179"/>
                  <a:pt x="102" y="178"/>
                  <a:pt x="103" y="178"/>
                </a:cubicBezTo>
                <a:cubicBezTo>
                  <a:pt x="103" y="178"/>
                  <a:pt x="103" y="178"/>
                  <a:pt x="103" y="177"/>
                </a:cubicBezTo>
                <a:cubicBezTo>
                  <a:pt x="102" y="178"/>
                  <a:pt x="102" y="178"/>
                  <a:pt x="101" y="179"/>
                </a:cubicBezTo>
                <a:close/>
                <a:moveTo>
                  <a:pt x="111" y="187"/>
                </a:moveTo>
                <a:cubicBezTo>
                  <a:pt x="111" y="188"/>
                  <a:pt x="112" y="187"/>
                  <a:pt x="112" y="187"/>
                </a:cubicBezTo>
                <a:cubicBezTo>
                  <a:pt x="111" y="187"/>
                  <a:pt x="112" y="187"/>
                  <a:pt x="112" y="186"/>
                </a:cubicBezTo>
                <a:cubicBezTo>
                  <a:pt x="111" y="186"/>
                  <a:pt x="112" y="187"/>
                  <a:pt x="111" y="187"/>
                </a:cubicBezTo>
                <a:close/>
                <a:moveTo>
                  <a:pt x="100" y="178"/>
                </a:moveTo>
                <a:cubicBezTo>
                  <a:pt x="100" y="179"/>
                  <a:pt x="101" y="179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0" y="178"/>
                  <a:pt x="100" y="178"/>
                </a:cubicBezTo>
                <a:close/>
                <a:moveTo>
                  <a:pt x="101" y="180"/>
                </a:moveTo>
                <a:cubicBezTo>
                  <a:pt x="101" y="179"/>
                  <a:pt x="101" y="181"/>
                  <a:pt x="102" y="180"/>
                </a:cubicBezTo>
                <a:cubicBezTo>
                  <a:pt x="102" y="180"/>
                  <a:pt x="101" y="179"/>
                  <a:pt x="101" y="179"/>
                </a:cubicBezTo>
                <a:cubicBezTo>
                  <a:pt x="101" y="179"/>
                  <a:pt x="100" y="180"/>
                  <a:pt x="101" y="180"/>
                </a:cubicBezTo>
                <a:close/>
                <a:moveTo>
                  <a:pt x="76" y="157"/>
                </a:moveTo>
                <a:cubicBezTo>
                  <a:pt x="76" y="157"/>
                  <a:pt x="77" y="156"/>
                  <a:pt x="76" y="156"/>
                </a:cubicBezTo>
                <a:cubicBezTo>
                  <a:pt x="76" y="156"/>
                  <a:pt x="76" y="157"/>
                  <a:pt x="76" y="157"/>
                </a:cubicBezTo>
                <a:close/>
                <a:moveTo>
                  <a:pt x="99" y="179"/>
                </a:moveTo>
                <a:cubicBezTo>
                  <a:pt x="99" y="178"/>
                  <a:pt x="100" y="180"/>
                  <a:pt x="100" y="179"/>
                </a:cubicBezTo>
                <a:cubicBezTo>
                  <a:pt x="99" y="179"/>
                  <a:pt x="100" y="179"/>
                  <a:pt x="100" y="178"/>
                </a:cubicBezTo>
                <a:cubicBezTo>
                  <a:pt x="100" y="178"/>
                  <a:pt x="99" y="179"/>
                  <a:pt x="99" y="179"/>
                </a:cubicBezTo>
                <a:close/>
                <a:moveTo>
                  <a:pt x="104" y="186"/>
                </a:moveTo>
                <a:cubicBezTo>
                  <a:pt x="105" y="185"/>
                  <a:pt x="105" y="185"/>
                  <a:pt x="105" y="185"/>
                </a:cubicBezTo>
                <a:cubicBezTo>
                  <a:pt x="105" y="184"/>
                  <a:pt x="104" y="185"/>
                  <a:pt x="104" y="186"/>
                </a:cubicBezTo>
                <a:close/>
                <a:moveTo>
                  <a:pt x="100" y="181"/>
                </a:move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1" y="181"/>
                  <a:pt x="101" y="181"/>
                </a:cubicBezTo>
                <a:cubicBezTo>
                  <a:pt x="100" y="181"/>
                  <a:pt x="100" y="180"/>
                  <a:pt x="100" y="181"/>
                </a:cubicBezTo>
                <a:close/>
                <a:moveTo>
                  <a:pt x="108" y="192"/>
                </a:moveTo>
                <a:cubicBezTo>
                  <a:pt x="108" y="191"/>
                  <a:pt x="109" y="190"/>
                  <a:pt x="109" y="190"/>
                </a:cubicBezTo>
                <a:cubicBezTo>
                  <a:pt x="108" y="191"/>
                  <a:pt x="107" y="191"/>
                  <a:pt x="108" y="192"/>
                </a:cubicBezTo>
                <a:close/>
                <a:moveTo>
                  <a:pt x="76" y="161"/>
                </a:moveTo>
                <a:cubicBezTo>
                  <a:pt x="76" y="161"/>
                  <a:pt x="77" y="162"/>
                  <a:pt x="77" y="161"/>
                </a:cubicBezTo>
                <a:cubicBezTo>
                  <a:pt x="77" y="161"/>
                  <a:pt x="77" y="161"/>
                  <a:pt x="77" y="161"/>
                </a:cubicBezTo>
                <a:cubicBezTo>
                  <a:pt x="77" y="161"/>
                  <a:pt x="78" y="161"/>
                  <a:pt x="77" y="161"/>
                </a:cubicBezTo>
                <a:cubicBezTo>
                  <a:pt x="77" y="161"/>
                  <a:pt x="77" y="161"/>
                  <a:pt x="76" y="161"/>
                </a:cubicBezTo>
                <a:close/>
                <a:moveTo>
                  <a:pt x="99" y="182"/>
                </a:moveTo>
                <a:cubicBezTo>
                  <a:pt x="99" y="182"/>
                  <a:pt x="99" y="182"/>
                  <a:pt x="99" y="182"/>
                </a:cubicBezTo>
                <a:cubicBezTo>
                  <a:pt x="100" y="182"/>
                  <a:pt x="100" y="182"/>
                  <a:pt x="100" y="181"/>
                </a:cubicBezTo>
                <a:cubicBezTo>
                  <a:pt x="99" y="181"/>
                  <a:pt x="99" y="182"/>
                  <a:pt x="99" y="182"/>
                </a:cubicBezTo>
                <a:close/>
                <a:moveTo>
                  <a:pt x="102" y="184"/>
                </a:moveTo>
                <a:cubicBezTo>
                  <a:pt x="102" y="184"/>
                  <a:pt x="102" y="185"/>
                  <a:pt x="102" y="185"/>
                </a:cubicBezTo>
                <a:cubicBezTo>
                  <a:pt x="102" y="185"/>
                  <a:pt x="102" y="185"/>
                  <a:pt x="102" y="185"/>
                </a:cubicBezTo>
                <a:cubicBezTo>
                  <a:pt x="102" y="185"/>
                  <a:pt x="103" y="185"/>
                  <a:pt x="103" y="184"/>
                </a:cubicBezTo>
                <a:cubicBezTo>
                  <a:pt x="103" y="185"/>
                  <a:pt x="102" y="184"/>
                  <a:pt x="102" y="184"/>
                </a:cubicBezTo>
                <a:close/>
                <a:moveTo>
                  <a:pt x="103" y="187"/>
                </a:moveTo>
                <a:cubicBezTo>
                  <a:pt x="104" y="186"/>
                  <a:pt x="104" y="186"/>
                  <a:pt x="104" y="185"/>
                </a:cubicBezTo>
                <a:cubicBezTo>
                  <a:pt x="104" y="186"/>
                  <a:pt x="103" y="186"/>
                  <a:pt x="103" y="187"/>
                </a:cubicBezTo>
                <a:close/>
                <a:moveTo>
                  <a:pt x="99" y="185"/>
                </a:moveTo>
                <a:cubicBezTo>
                  <a:pt x="99" y="185"/>
                  <a:pt x="100" y="185"/>
                  <a:pt x="100" y="185"/>
                </a:cubicBezTo>
                <a:cubicBezTo>
                  <a:pt x="100" y="185"/>
                  <a:pt x="101" y="185"/>
                  <a:pt x="101" y="186"/>
                </a:cubicBezTo>
                <a:cubicBezTo>
                  <a:pt x="102" y="186"/>
                  <a:pt x="100" y="184"/>
                  <a:pt x="102" y="184"/>
                </a:cubicBezTo>
                <a:cubicBezTo>
                  <a:pt x="101" y="184"/>
                  <a:pt x="101" y="184"/>
                  <a:pt x="101" y="183"/>
                </a:cubicBezTo>
                <a:cubicBezTo>
                  <a:pt x="100" y="184"/>
                  <a:pt x="99" y="184"/>
                  <a:pt x="99" y="185"/>
                </a:cubicBezTo>
                <a:close/>
                <a:moveTo>
                  <a:pt x="84" y="169"/>
                </a:moveTo>
                <a:cubicBezTo>
                  <a:pt x="84" y="169"/>
                  <a:pt x="85" y="169"/>
                  <a:pt x="85" y="168"/>
                </a:cubicBezTo>
                <a:cubicBezTo>
                  <a:pt x="85" y="169"/>
                  <a:pt x="84" y="169"/>
                  <a:pt x="84" y="169"/>
                </a:cubicBezTo>
                <a:close/>
                <a:moveTo>
                  <a:pt x="97" y="181"/>
                </a:moveTo>
                <a:cubicBezTo>
                  <a:pt x="98" y="181"/>
                  <a:pt x="97" y="182"/>
                  <a:pt x="98" y="182"/>
                </a:cubicBezTo>
                <a:cubicBezTo>
                  <a:pt x="98" y="181"/>
                  <a:pt x="98" y="181"/>
                  <a:pt x="98" y="181"/>
                </a:cubicBezTo>
                <a:cubicBezTo>
                  <a:pt x="98" y="181"/>
                  <a:pt x="98" y="181"/>
                  <a:pt x="97" y="181"/>
                </a:cubicBezTo>
                <a:close/>
                <a:moveTo>
                  <a:pt x="105" y="194"/>
                </a:moveTo>
                <a:cubicBezTo>
                  <a:pt x="106" y="194"/>
                  <a:pt x="106" y="192"/>
                  <a:pt x="107" y="192"/>
                </a:cubicBezTo>
                <a:cubicBezTo>
                  <a:pt x="107" y="192"/>
                  <a:pt x="107" y="192"/>
                  <a:pt x="107" y="192"/>
                </a:cubicBezTo>
                <a:cubicBezTo>
                  <a:pt x="106" y="192"/>
                  <a:pt x="105" y="193"/>
                  <a:pt x="105" y="194"/>
                </a:cubicBezTo>
                <a:close/>
                <a:moveTo>
                  <a:pt x="91" y="184"/>
                </a:moveTo>
                <a:cubicBezTo>
                  <a:pt x="92" y="184"/>
                  <a:pt x="91" y="185"/>
                  <a:pt x="91" y="185"/>
                </a:cubicBezTo>
                <a:cubicBezTo>
                  <a:pt x="92" y="185"/>
                  <a:pt x="92" y="184"/>
                  <a:pt x="93" y="184"/>
                </a:cubicBezTo>
                <a:cubicBezTo>
                  <a:pt x="92" y="184"/>
                  <a:pt x="92" y="184"/>
                  <a:pt x="92" y="183"/>
                </a:cubicBezTo>
                <a:cubicBezTo>
                  <a:pt x="92" y="184"/>
                  <a:pt x="92" y="184"/>
                  <a:pt x="91" y="184"/>
                </a:cubicBezTo>
                <a:close/>
                <a:moveTo>
                  <a:pt x="72" y="169"/>
                </a:moveTo>
                <a:cubicBezTo>
                  <a:pt x="73" y="170"/>
                  <a:pt x="73" y="170"/>
                  <a:pt x="73" y="170"/>
                </a:cubicBezTo>
                <a:cubicBezTo>
                  <a:pt x="73" y="169"/>
                  <a:pt x="75" y="168"/>
                  <a:pt x="74" y="167"/>
                </a:cubicBezTo>
                <a:cubicBezTo>
                  <a:pt x="73" y="168"/>
                  <a:pt x="73" y="169"/>
                  <a:pt x="72" y="169"/>
                </a:cubicBezTo>
                <a:close/>
                <a:moveTo>
                  <a:pt x="74" y="170"/>
                </a:moveTo>
                <a:cubicBezTo>
                  <a:pt x="75" y="170"/>
                  <a:pt x="76" y="169"/>
                  <a:pt x="76" y="168"/>
                </a:cubicBezTo>
                <a:cubicBezTo>
                  <a:pt x="75" y="169"/>
                  <a:pt x="74" y="170"/>
                  <a:pt x="74" y="170"/>
                </a:cubicBezTo>
                <a:close/>
                <a:moveTo>
                  <a:pt x="88" y="184"/>
                </a:moveTo>
                <a:cubicBezTo>
                  <a:pt x="89" y="185"/>
                  <a:pt x="89" y="185"/>
                  <a:pt x="89" y="185"/>
                </a:cubicBezTo>
                <a:cubicBezTo>
                  <a:pt x="90" y="184"/>
                  <a:pt x="90" y="184"/>
                  <a:pt x="90" y="183"/>
                </a:cubicBezTo>
                <a:cubicBezTo>
                  <a:pt x="90" y="183"/>
                  <a:pt x="89" y="184"/>
                  <a:pt x="88" y="184"/>
                </a:cubicBezTo>
                <a:close/>
                <a:moveTo>
                  <a:pt x="71" y="168"/>
                </a:moveTo>
                <a:cubicBezTo>
                  <a:pt x="71" y="168"/>
                  <a:pt x="71" y="167"/>
                  <a:pt x="71" y="167"/>
                </a:cubicBezTo>
                <a:cubicBezTo>
                  <a:pt x="71" y="167"/>
                  <a:pt x="71" y="168"/>
                  <a:pt x="71" y="168"/>
                </a:cubicBezTo>
                <a:close/>
                <a:moveTo>
                  <a:pt x="89" y="187"/>
                </a:moveTo>
                <a:cubicBezTo>
                  <a:pt x="90" y="188"/>
                  <a:pt x="90" y="187"/>
                  <a:pt x="90" y="187"/>
                </a:cubicBezTo>
                <a:cubicBezTo>
                  <a:pt x="91" y="187"/>
                  <a:pt x="91" y="186"/>
                  <a:pt x="91" y="186"/>
                </a:cubicBezTo>
                <a:cubicBezTo>
                  <a:pt x="90" y="186"/>
                  <a:pt x="90" y="187"/>
                  <a:pt x="89" y="186"/>
                </a:cubicBezTo>
                <a:cubicBezTo>
                  <a:pt x="89" y="186"/>
                  <a:pt x="90" y="187"/>
                  <a:pt x="89" y="187"/>
                </a:cubicBezTo>
                <a:close/>
                <a:moveTo>
                  <a:pt x="84" y="182"/>
                </a:moveTo>
                <a:cubicBezTo>
                  <a:pt x="84" y="182"/>
                  <a:pt x="85" y="180"/>
                  <a:pt x="84" y="180"/>
                </a:cubicBezTo>
                <a:cubicBezTo>
                  <a:pt x="84" y="181"/>
                  <a:pt x="83" y="181"/>
                  <a:pt x="84" y="182"/>
                </a:cubicBezTo>
                <a:close/>
                <a:moveTo>
                  <a:pt x="72" y="173"/>
                </a:moveTo>
                <a:cubicBezTo>
                  <a:pt x="72" y="173"/>
                  <a:pt x="73" y="173"/>
                  <a:pt x="73" y="173"/>
                </a:cubicBezTo>
                <a:cubicBezTo>
                  <a:pt x="73" y="173"/>
                  <a:pt x="73" y="173"/>
                  <a:pt x="73" y="172"/>
                </a:cubicBezTo>
                <a:cubicBezTo>
                  <a:pt x="72" y="172"/>
                  <a:pt x="75" y="172"/>
                  <a:pt x="74" y="171"/>
                </a:cubicBezTo>
                <a:cubicBezTo>
                  <a:pt x="73" y="171"/>
                  <a:pt x="73" y="172"/>
                  <a:pt x="72" y="173"/>
                </a:cubicBezTo>
                <a:close/>
                <a:moveTo>
                  <a:pt x="97" y="197"/>
                </a:moveTo>
                <a:cubicBezTo>
                  <a:pt x="98" y="196"/>
                  <a:pt x="99" y="195"/>
                  <a:pt x="99" y="194"/>
                </a:cubicBezTo>
                <a:cubicBezTo>
                  <a:pt x="99" y="195"/>
                  <a:pt x="97" y="195"/>
                  <a:pt x="97" y="197"/>
                </a:cubicBezTo>
                <a:close/>
                <a:moveTo>
                  <a:pt x="69" y="174"/>
                </a:moveTo>
                <a:cubicBezTo>
                  <a:pt x="70" y="173"/>
                  <a:pt x="71" y="172"/>
                  <a:pt x="72" y="171"/>
                </a:cubicBezTo>
                <a:cubicBezTo>
                  <a:pt x="72" y="170"/>
                  <a:pt x="72" y="170"/>
                  <a:pt x="72" y="170"/>
                </a:cubicBezTo>
                <a:cubicBezTo>
                  <a:pt x="71" y="172"/>
                  <a:pt x="69" y="172"/>
                  <a:pt x="69" y="174"/>
                </a:cubicBezTo>
                <a:close/>
                <a:moveTo>
                  <a:pt x="91" y="189"/>
                </a:moveTo>
                <a:cubicBezTo>
                  <a:pt x="91" y="189"/>
                  <a:pt x="92" y="189"/>
                  <a:pt x="91" y="188"/>
                </a:cubicBezTo>
                <a:cubicBezTo>
                  <a:pt x="91" y="189"/>
                  <a:pt x="90" y="189"/>
                  <a:pt x="91" y="189"/>
                </a:cubicBezTo>
                <a:close/>
                <a:moveTo>
                  <a:pt x="69" y="171"/>
                </a:moveTo>
                <a:cubicBezTo>
                  <a:pt x="69" y="170"/>
                  <a:pt x="70" y="169"/>
                  <a:pt x="70" y="169"/>
                </a:cubicBezTo>
                <a:cubicBezTo>
                  <a:pt x="69" y="169"/>
                  <a:pt x="68" y="170"/>
                  <a:pt x="69" y="171"/>
                </a:cubicBezTo>
                <a:close/>
                <a:moveTo>
                  <a:pt x="67" y="172"/>
                </a:moveTo>
                <a:cubicBezTo>
                  <a:pt x="68" y="173"/>
                  <a:pt x="68" y="172"/>
                  <a:pt x="68" y="171"/>
                </a:cubicBezTo>
                <a:lnTo>
                  <a:pt x="67" y="172"/>
                </a:lnTo>
                <a:close/>
                <a:moveTo>
                  <a:pt x="96" y="198"/>
                </a:moveTo>
                <a:cubicBezTo>
                  <a:pt x="97" y="198"/>
                  <a:pt x="97" y="197"/>
                  <a:pt x="97" y="197"/>
                </a:cubicBezTo>
                <a:cubicBezTo>
                  <a:pt x="96" y="197"/>
                  <a:pt x="96" y="198"/>
                  <a:pt x="96" y="198"/>
                </a:cubicBezTo>
                <a:close/>
                <a:moveTo>
                  <a:pt x="75" y="181"/>
                </a:moveTo>
                <a:cubicBezTo>
                  <a:pt x="76" y="181"/>
                  <a:pt x="77" y="180"/>
                  <a:pt x="76" y="180"/>
                </a:cubicBezTo>
                <a:cubicBezTo>
                  <a:pt x="76" y="180"/>
                  <a:pt x="75" y="181"/>
                  <a:pt x="75" y="181"/>
                </a:cubicBezTo>
                <a:close/>
                <a:moveTo>
                  <a:pt x="90" y="195"/>
                </a:moveTo>
                <a:cubicBezTo>
                  <a:pt x="91" y="196"/>
                  <a:pt x="91" y="194"/>
                  <a:pt x="92" y="194"/>
                </a:cubicBezTo>
                <a:cubicBezTo>
                  <a:pt x="92" y="194"/>
                  <a:pt x="92" y="194"/>
                  <a:pt x="91" y="193"/>
                </a:cubicBezTo>
                <a:cubicBezTo>
                  <a:pt x="91" y="194"/>
                  <a:pt x="91" y="195"/>
                  <a:pt x="90" y="195"/>
                </a:cubicBezTo>
                <a:close/>
                <a:moveTo>
                  <a:pt x="65" y="173"/>
                </a:moveTo>
                <a:cubicBezTo>
                  <a:pt x="66" y="173"/>
                  <a:pt x="66" y="172"/>
                  <a:pt x="66" y="172"/>
                </a:cubicBezTo>
                <a:cubicBezTo>
                  <a:pt x="66" y="172"/>
                  <a:pt x="65" y="173"/>
                  <a:pt x="65" y="173"/>
                </a:cubicBezTo>
                <a:close/>
                <a:moveTo>
                  <a:pt x="67" y="176"/>
                </a:moveTo>
                <a:cubicBezTo>
                  <a:pt x="68" y="177"/>
                  <a:pt x="69" y="175"/>
                  <a:pt x="68" y="175"/>
                </a:cubicBezTo>
                <a:cubicBezTo>
                  <a:pt x="68" y="176"/>
                  <a:pt x="67" y="176"/>
                  <a:pt x="67" y="176"/>
                </a:cubicBezTo>
                <a:close/>
                <a:moveTo>
                  <a:pt x="70" y="178"/>
                </a:moveTo>
                <a:cubicBezTo>
                  <a:pt x="70" y="179"/>
                  <a:pt x="70" y="178"/>
                  <a:pt x="70" y="177"/>
                </a:cubicBezTo>
                <a:cubicBezTo>
                  <a:pt x="70" y="177"/>
                  <a:pt x="70" y="178"/>
                  <a:pt x="70" y="178"/>
                </a:cubicBezTo>
                <a:close/>
                <a:moveTo>
                  <a:pt x="88" y="196"/>
                </a:moveTo>
                <a:cubicBezTo>
                  <a:pt x="89" y="196"/>
                  <a:pt x="90" y="195"/>
                  <a:pt x="89" y="194"/>
                </a:cubicBezTo>
                <a:cubicBezTo>
                  <a:pt x="89" y="196"/>
                  <a:pt x="87" y="195"/>
                  <a:pt x="88" y="196"/>
                </a:cubicBezTo>
                <a:close/>
                <a:moveTo>
                  <a:pt x="63" y="174"/>
                </a:moveTo>
                <a:cubicBezTo>
                  <a:pt x="63" y="174"/>
                  <a:pt x="63" y="174"/>
                  <a:pt x="63" y="174"/>
                </a:cubicBezTo>
                <a:cubicBezTo>
                  <a:pt x="64" y="174"/>
                  <a:pt x="64" y="173"/>
                  <a:pt x="64" y="172"/>
                </a:cubicBezTo>
                <a:cubicBezTo>
                  <a:pt x="64" y="172"/>
                  <a:pt x="64" y="173"/>
                  <a:pt x="63" y="174"/>
                </a:cubicBezTo>
                <a:close/>
                <a:moveTo>
                  <a:pt x="87" y="195"/>
                </a:moveTo>
                <a:cubicBezTo>
                  <a:pt x="87" y="194"/>
                  <a:pt x="87" y="194"/>
                  <a:pt x="88" y="194"/>
                </a:cubicBezTo>
                <a:cubicBezTo>
                  <a:pt x="87" y="193"/>
                  <a:pt x="87" y="193"/>
                  <a:pt x="87" y="193"/>
                </a:cubicBezTo>
                <a:cubicBezTo>
                  <a:pt x="87" y="194"/>
                  <a:pt x="86" y="194"/>
                  <a:pt x="87" y="195"/>
                </a:cubicBezTo>
                <a:close/>
                <a:moveTo>
                  <a:pt x="89" y="196"/>
                </a:moveTo>
                <a:cubicBezTo>
                  <a:pt x="89" y="196"/>
                  <a:pt x="90" y="197"/>
                  <a:pt x="90" y="197"/>
                </a:cubicBezTo>
                <a:cubicBezTo>
                  <a:pt x="90" y="196"/>
                  <a:pt x="90" y="196"/>
                  <a:pt x="89" y="196"/>
                </a:cubicBezTo>
                <a:close/>
                <a:moveTo>
                  <a:pt x="70" y="180"/>
                </a:moveTo>
                <a:cubicBezTo>
                  <a:pt x="70" y="180"/>
                  <a:pt x="70" y="180"/>
                  <a:pt x="70" y="179"/>
                </a:cubicBezTo>
                <a:cubicBezTo>
                  <a:pt x="70" y="179"/>
                  <a:pt x="69" y="179"/>
                  <a:pt x="69" y="180"/>
                </a:cubicBezTo>
                <a:cubicBezTo>
                  <a:pt x="69" y="180"/>
                  <a:pt x="69" y="180"/>
                  <a:pt x="70" y="180"/>
                </a:cubicBezTo>
                <a:close/>
                <a:moveTo>
                  <a:pt x="63" y="175"/>
                </a:moveTo>
                <a:cubicBezTo>
                  <a:pt x="62" y="175"/>
                  <a:pt x="61" y="176"/>
                  <a:pt x="61" y="177"/>
                </a:cubicBezTo>
                <a:cubicBezTo>
                  <a:pt x="62" y="177"/>
                  <a:pt x="63" y="175"/>
                  <a:pt x="63" y="174"/>
                </a:cubicBezTo>
                <a:cubicBezTo>
                  <a:pt x="63" y="174"/>
                  <a:pt x="63" y="175"/>
                  <a:pt x="63" y="175"/>
                </a:cubicBezTo>
                <a:close/>
                <a:moveTo>
                  <a:pt x="88" y="201"/>
                </a:moveTo>
                <a:cubicBezTo>
                  <a:pt x="88" y="202"/>
                  <a:pt x="88" y="202"/>
                  <a:pt x="89" y="202"/>
                </a:cubicBezTo>
                <a:cubicBezTo>
                  <a:pt x="89" y="201"/>
                  <a:pt x="89" y="201"/>
                  <a:pt x="90" y="200"/>
                </a:cubicBezTo>
                <a:cubicBezTo>
                  <a:pt x="90" y="200"/>
                  <a:pt x="90" y="200"/>
                  <a:pt x="90" y="199"/>
                </a:cubicBezTo>
                <a:cubicBezTo>
                  <a:pt x="90" y="199"/>
                  <a:pt x="90" y="199"/>
                  <a:pt x="90" y="199"/>
                </a:cubicBezTo>
                <a:cubicBezTo>
                  <a:pt x="89" y="200"/>
                  <a:pt x="89" y="201"/>
                  <a:pt x="88" y="201"/>
                </a:cubicBezTo>
                <a:close/>
                <a:moveTo>
                  <a:pt x="92" y="203"/>
                </a:moveTo>
                <a:cubicBezTo>
                  <a:pt x="92" y="203"/>
                  <a:pt x="93" y="202"/>
                  <a:pt x="93" y="202"/>
                </a:cubicBezTo>
                <a:cubicBezTo>
                  <a:pt x="92" y="202"/>
                  <a:pt x="92" y="202"/>
                  <a:pt x="92" y="203"/>
                </a:cubicBezTo>
                <a:close/>
                <a:moveTo>
                  <a:pt x="62" y="177"/>
                </a:moveTo>
                <a:cubicBezTo>
                  <a:pt x="62" y="177"/>
                  <a:pt x="63" y="177"/>
                  <a:pt x="63" y="176"/>
                </a:cubicBezTo>
                <a:cubicBezTo>
                  <a:pt x="62" y="176"/>
                  <a:pt x="62" y="177"/>
                  <a:pt x="62" y="177"/>
                </a:cubicBezTo>
                <a:close/>
                <a:moveTo>
                  <a:pt x="62" y="177"/>
                </a:moveTo>
                <a:cubicBezTo>
                  <a:pt x="62" y="178"/>
                  <a:pt x="63" y="178"/>
                  <a:pt x="63" y="178"/>
                </a:cubicBezTo>
                <a:cubicBezTo>
                  <a:pt x="63" y="177"/>
                  <a:pt x="63" y="177"/>
                  <a:pt x="62" y="177"/>
                </a:cubicBezTo>
                <a:close/>
                <a:moveTo>
                  <a:pt x="90" y="205"/>
                </a:moveTo>
                <a:cubicBezTo>
                  <a:pt x="90" y="205"/>
                  <a:pt x="92" y="204"/>
                  <a:pt x="91" y="203"/>
                </a:cubicBezTo>
                <a:cubicBezTo>
                  <a:pt x="91" y="203"/>
                  <a:pt x="90" y="204"/>
                  <a:pt x="90" y="205"/>
                </a:cubicBezTo>
                <a:close/>
                <a:moveTo>
                  <a:pt x="89" y="203"/>
                </a:moveTo>
                <a:cubicBezTo>
                  <a:pt x="90" y="204"/>
                  <a:pt x="91" y="202"/>
                  <a:pt x="90" y="202"/>
                </a:cubicBezTo>
                <a:cubicBezTo>
                  <a:pt x="90" y="203"/>
                  <a:pt x="90" y="203"/>
                  <a:pt x="89" y="203"/>
                </a:cubicBezTo>
                <a:close/>
                <a:moveTo>
                  <a:pt x="78" y="193"/>
                </a:moveTo>
                <a:cubicBezTo>
                  <a:pt x="76" y="194"/>
                  <a:pt x="79" y="195"/>
                  <a:pt x="78" y="196"/>
                </a:cubicBezTo>
                <a:cubicBezTo>
                  <a:pt x="79" y="196"/>
                  <a:pt x="80" y="194"/>
                  <a:pt x="80" y="194"/>
                </a:cubicBezTo>
                <a:cubicBezTo>
                  <a:pt x="79" y="195"/>
                  <a:pt x="78" y="194"/>
                  <a:pt x="78" y="193"/>
                </a:cubicBezTo>
                <a:close/>
                <a:moveTo>
                  <a:pt x="70" y="188"/>
                </a:moveTo>
                <a:cubicBezTo>
                  <a:pt x="69" y="188"/>
                  <a:pt x="70" y="188"/>
                  <a:pt x="69" y="188"/>
                </a:cubicBezTo>
                <a:cubicBezTo>
                  <a:pt x="69" y="189"/>
                  <a:pt x="67" y="189"/>
                  <a:pt x="68" y="190"/>
                </a:cubicBezTo>
                <a:cubicBezTo>
                  <a:pt x="68" y="189"/>
                  <a:pt x="70" y="190"/>
                  <a:pt x="70" y="188"/>
                </a:cubicBezTo>
                <a:cubicBezTo>
                  <a:pt x="70" y="188"/>
                  <a:pt x="70" y="188"/>
                  <a:pt x="70" y="188"/>
                </a:cubicBezTo>
                <a:close/>
                <a:moveTo>
                  <a:pt x="66" y="185"/>
                </a:moveTo>
                <a:cubicBezTo>
                  <a:pt x="65" y="185"/>
                  <a:pt x="65" y="185"/>
                  <a:pt x="66" y="186"/>
                </a:cubicBezTo>
                <a:cubicBezTo>
                  <a:pt x="66" y="185"/>
                  <a:pt x="66" y="184"/>
                  <a:pt x="66" y="185"/>
                </a:cubicBezTo>
                <a:close/>
                <a:moveTo>
                  <a:pt x="79" y="199"/>
                </a:moveTo>
                <a:cubicBezTo>
                  <a:pt x="80" y="199"/>
                  <a:pt x="81" y="198"/>
                  <a:pt x="81" y="198"/>
                </a:cubicBezTo>
                <a:cubicBezTo>
                  <a:pt x="80" y="198"/>
                  <a:pt x="79" y="199"/>
                  <a:pt x="79" y="199"/>
                </a:cubicBezTo>
                <a:close/>
                <a:moveTo>
                  <a:pt x="84" y="202"/>
                </a:moveTo>
                <a:cubicBezTo>
                  <a:pt x="85" y="202"/>
                  <a:pt x="85" y="201"/>
                  <a:pt x="85" y="201"/>
                </a:cubicBezTo>
                <a:cubicBezTo>
                  <a:pt x="84" y="201"/>
                  <a:pt x="84" y="202"/>
                  <a:pt x="84" y="202"/>
                </a:cubicBezTo>
                <a:close/>
                <a:moveTo>
                  <a:pt x="58" y="182"/>
                </a:moveTo>
                <a:cubicBezTo>
                  <a:pt x="58" y="183"/>
                  <a:pt x="60" y="181"/>
                  <a:pt x="59" y="181"/>
                </a:cubicBezTo>
                <a:cubicBezTo>
                  <a:pt x="59" y="181"/>
                  <a:pt x="57" y="182"/>
                  <a:pt x="58" y="182"/>
                </a:cubicBezTo>
                <a:close/>
                <a:moveTo>
                  <a:pt x="76" y="197"/>
                </a:moveTo>
                <a:cubicBezTo>
                  <a:pt x="77" y="198"/>
                  <a:pt x="78" y="196"/>
                  <a:pt x="77" y="197"/>
                </a:cubicBezTo>
                <a:cubicBezTo>
                  <a:pt x="77" y="197"/>
                  <a:pt x="76" y="197"/>
                  <a:pt x="76" y="197"/>
                </a:cubicBezTo>
                <a:close/>
                <a:moveTo>
                  <a:pt x="68" y="191"/>
                </a:moveTo>
                <a:cubicBezTo>
                  <a:pt x="68" y="191"/>
                  <a:pt x="68" y="191"/>
                  <a:pt x="69" y="191"/>
                </a:cubicBezTo>
                <a:cubicBezTo>
                  <a:pt x="68" y="191"/>
                  <a:pt x="69" y="190"/>
                  <a:pt x="69" y="190"/>
                </a:cubicBezTo>
                <a:cubicBezTo>
                  <a:pt x="68" y="190"/>
                  <a:pt x="68" y="191"/>
                  <a:pt x="68" y="191"/>
                </a:cubicBezTo>
                <a:close/>
                <a:moveTo>
                  <a:pt x="69" y="194"/>
                </a:moveTo>
                <a:cubicBezTo>
                  <a:pt x="70" y="195"/>
                  <a:pt x="70" y="194"/>
                  <a:pt x="71" y="194"/>
                </a:cubicBezTo>
                <a:cubicBezTo>
                  <a:pt x="70" y="193"/>
                  <a:pt x="71" y="193"/>
                  <a:pt x="70" y="193"/>
                </a:cubicBezTo>
                <a:cubicBezTo>
                  <a:pt x="70" y="193"/>
                  <a:pt x="70" y="194"/>
                  <a:pt x="69" y="194"/>
                </a:cubicBezTo>
                <a:close/>
                <a:moveTo>
                  <a:pt x="64" y="195"/>
                </a:moveTo>
                <a:cubicBezTo>
                  <a:pt x="64" y="194"/>
                  <a:pt x="64" y="195"/>
                  <a:pt x="64" y="194"/>
                </a:cubicBezTo>
                <a:cubicBezTo>
                  <a:pt x="65" y="193"/>
                  <a:pt x="65" y="191"/>
                  <a:pt x="67" y="190"/>
                </a:cubicBezTo>
                <a:cubicBezTo>
                  <a:pt x="67" y="191"/>
                  <a:pt x="67" y="192"/>
                  <a:pt x="68" y="191"/>
                </a:cubicBezTo>
                <a:cubicBezTo>
                  <a:pt x="67" y="193"/>
                  <a:pt x="66" y="194"/>
                  <a:pt x="65" y="195"/>
                </a:cubicBezTo>
                <a:cubicBezTo>
                  <a:pt x="65" y="194"/>
                  <a:pt x="66" y="194"/>
                  <a:pt x="66" y="193"/>
                </a:cubicBezTo>
                <a:cubicBezTo>
                  <a:pt x="65" y="192"/>
                  <a:pt x="65" y="195"/>
                  <a:pt x="64" y="195"/>
                </a:cubicBezTo>
                <a:cubicBezTo>
                  <a:pt x="64" y="195"/>
                  <a:pt x="64" y="195"/>
                  <a:pt x="64" y="195"/>
                </a:cubicBezTo>
                <a:close/>
                <a:moveTo>
                  <a:pt x="66" y="192"/>
                </a:moveTo>
                <a:cubicBezTo>
                  <a:pt x="66" y="192"/>
                  <a:pt x="68" y="192"/>
                  <a:pt x="67" y="191"/>
                </a:cubicBezTo>
                <a:cubicBezTo>
                  <a:pt x="67" y="192"/>
                  <a:pt x="66" y="192"/>
                  <a:pt x="66" y="192"/>
                </a:cubicBezTo>
                <a:close/>
                <a:moveTo>
                  <a:pt x="68" y="196"/>
                </a:moveTo>
                <a:cubicBezTo>
                  <a:pt x="69" y="196"/>
                  <a:pt x="69" y="195"/>
                  <a:pt x="69" y="195"/>
                </a:cubicBezTo>
                <a:cubicBezTo>
                  <a:pt x="69" y="195"/>
                  <a:pt x="68" y="196"/>
                  <a:pt x="68" y="196"/>
                </a:cubicBezTo>
                <a:close/>
                <a:moveTo>
                  <a:pt x="81" y="205"/>
                </a:moveTo>
                <a:cubicBezTo>
                  <a:pt x="81" y="206"/>
                  <a:pt x="80" y="206"/>
                  <a:pt x="80" y="207"/>
                </a:cubicBezTo>
                <a:cubicBezTo>
                  <a:pt x="81" y="207"/>
                  <a:pt x="81" y="206"/>
                  <a:pt x="81" y="205"/>
                </a:cubicBezTo>
                <a:close/>
                <a:moveTo>
                  <a:pt x="85" y="210"/>
                </a:moveTo>
                <a:cubicBezTo>
                  <a:pt x="85" y="211"/>
                  <a:pt x="84" y="211"/>
                  <a:pt x="84" y="213"/>
                </a:cubicBezTo>
                <a:cubicBezTo>
                  <a:pt x="84" y="212"/>
                  <a:pt x="87" y="210"/>
                  <a:pt x="86" y="210"/>
                </a:cubicBezTo>
                <a:cubicBezTo>
                  <a:pt x="86" y="210"/>
                  <a:pt x="85" y="210"/>
                  <a:pt x="85" y="210"/>
                </a:cubicBezTo>
                <a:close/>
                <a:moveTo>
                  <a:pt x="81" y="210"/>
                </a:moveTo>
                <a:cubicBezTo>
                  <a:pt x="82" y="210"/>
                  <a:pt x="83" y="209"/>
                  <a:pt x="83" y="207"/>
                </a:cubicBezTo>
                <a:cubicBezTo>
                  <a:pt x="82" y="208"/>
                  <a:pt x="81" y="209"/>
                  <a:pt x="81" y="210"/>
                </a:cubicBezTo>
                <a:close/>
                <a:moveTo>
                  <a:pt x="67" y="196"/>
                </a:moveTo>
                <a:cubicBezTo>
                  <a:pt x="67" y="195"/>
                  <a:pt x="67" y="195"/>
                  <a:pt x="67" y="195"/>
                </a:cubicBezTo>
                <a:cubicBezTo>
                  <a:pt x="66" y="194"/>
                  <a:pt x="67" y="195"/>
                  <a:pt x="67" y="196"/>
                </a:cubicBezTo>
                <a:close/>
                <a:moveTo>
                  <a:pt x="54" y="186"/>
                </a:moveTo>
                <a:cubicBezTo>
                  <a:pt x="55" y="186"/>
                  <a:pt x="55" y="186"/>
                  <a:pt x="55" y="186"/>
                </a:cubicBezTo>
                <a:cubicBezTo>
                  <a:pt x="55" y="186"/>
                  <a:pt x="55" y="187"/>
                  <a:pt x="55" y="187"/>
                </a:cubicBezTo>
                <a:cubicBezTo>
                  <a:pt x="56" y="186"/>
                  <a:pt x="55" y="186"/>
                  <a:pt x="55" y="186"/>
                </a:cubicBezTo>
                <a:cubicBezTo>
                  <a:pt x="55" y="185"/>
                  <a:pt x="55" y="186"/>
                  <a:pt x="54" y="186"/>
                </a:cubicBezTo>
                <a:cubicBezTo>
                  <a:pt x="54" y="186"/>
                  <a:pt x="54" y="186"/>
                  <a:pt x="54" y="186"/>
                </a:cubicBezTo>
                <a:close/>
                <a:moveTo>
                  <a:pt x="63" y="194"/>
                </a:moveTo>
                <a:cubicBezTo>
                  <a:pt x="63" y="194"/>
                  <a:pt x="64" y="194"/>
                  <a:pt x="64" y="193"/>
                </a:cubicBezTo>
                <a:cubicBezTo>
                  <a:pt x="63" y="193"/>
                  <a:pt x="62" y="194"/>
                  <a:pt x="63" y="194"/>
                </a:cubicBezTo>
                <a:close/>
                <a:moveTo>
                  <a:pt x="68" y="198"/>
                </a:moveTo>
                <a:cubicBezTo>
                  <a:pt x="68" y="197"/>
                  <a:pt x="68" y="197"/>
                  <a:pt x="68" y="197"/>
                </a:cubicBezTo>
                <a:cubicBezTo>
                  <a:pt x="68" y="197"/>
                  <a:pt x="67" y="198"/>
                  <a:pt x="68" y="198"/>
                </a:cubicBezTo>
                <a:close/>
                <a:moveTo>
                  <a:pt x="68" y="200"/>
                </a:moveTo>
                <a:cubicBezTo>
                  <a:pt x="69" y="201"/>
                  <a:pt x="69" y="200"/>
                  <a:pt x="70" y="200"/>
                </a:cubicBezTo>
                <a:cubicBezTo>
                  <a:pt x="70" y="200"/>
                  <a:pt x="70" y="199"/>
                  <a:pt x="70" y="199"/>
                </a:cubicBezTo>
                <a:cubicBezTo>
                  <a:pt x="70" y="199"/>
                  <a:pt x="70" y="199"/>
                  <a:pt x="70" y="198"/>
                </a:cubicBezTo>
                <a:cubicBezTo>
                  <a:pt x="69" y="199"/>
                  <a:pt x="69" y="200"/>
                  <a:pt x="68" y="200"/>
                </a:cubicBezTo>
                <a:close/>
                <a:moveTo>
                  <a:pt x="53" y="186"/>
                </a:moveTo>
                <a:cubicBezTo>
                  <a:pt x="53" y="185"/>
                  <a:pt x="54" y="185"/>
                  <a:pt x="53" y="184"/>
                </a:cubicBezTo>
                <a:cubicBezTo>
                  <a:pt x="53" y="184"/>
                  <a:pt x="53" y="185"/>
                  <a:pt x="53" y="186"/>
                </a:cubicBezTo>
                <a:close/>
                <a:moveTo>
                  <a:pt x="66" y="197"/>
                </a:moveTo>
                <a:cubicBezTo>
                  <a:pt x="67" y="196"/>
                  <a:pt x="66" y="197"/>
                  <a:pt x="66" y="196"/>
                </a:cubicBezTo>
                <a:cubicBezTo>
                  <a:pt x="66" y="196"/>
                  <a:pt x="66" y="197"/>
                  <a:pt x="66" y="197"/>
                </a:cubicBezTo>
                <a:close/>
                <a:moveTo>
                  <a:pt x="71" y="202"/>
                </a:moveTo>
                <a:cubicBezTo>
                  <a:pt x="71" y="202"/>
                  <a:pt x="72" y="202"/>
                  <a:pt x="72" y="201"/>
                </a:cubicBezTo>
                <a:cubicBezTo>
                  <a:pt x="71" y="201"/>
                  <a:pt x="70" y="202"/>
                  <a:pt x="71" y="202"/>
                </a:cubicBezTo>
                <a:close/>
                <a:moveTo>
                  <a:pt x="60" y="193"/>
                </a:moveTo>
                <a:cubicBezTo>
                  <a:pt x="61" y="193"/>
                  <a:pt x="61" y="193"/>
                  <a:pt x="61" y="194"/>
                </a:cubicBezTo>
                <a:cubicBezTo>
                  <a:pt x="61" y="193"/>
                  <a:pt x="61" y="194"/>
                  <a:pt x="61" y="194"/>
                </a:cubicBezTo>
                <a:cubicBezTo>
                  <a:pt x="61" y="194"/>
                  <a:pt x="62" y="193"/>
                  <a:pt x="61" y="193"/>
                </a:cubicBezTo>
                <a:cubicBezTo>
                  <a:pt x="61" y="193"/>
                  <a:pt x="61" y="193"/>
                  <a:pt x="60" y="193"/>
                </a:cubicBezTo>
                <a:close/>
                <a:moveTo>
                  <a:pt x="54" y="191"/>
                </a:moveTo>
                <a:cubicBezTo>
                  <a:pt x="55" y="191"/>
                  <a:pt x="56" y="190"/>
                  <a:pt x="56" y="189"/>
                </a:cubicBezTo>
                <a:cubicBezTo>
                  <a:pt x="55" y="189"/>
                  <a:pt x="54" y="190"/>
                  <a:pt x="54" y="191"/>
                </a:cubicBezTo>
                <a:close/>
                <a:moveTo>
                  <a:pt x="76" y="210"/>
                </a:moveTo>
                <a:cubicBezTo>
                  <a:pt x="77" y="209"/>
                  <a:pt x="78" y="209"/>
                  <a:pt x="78" y="208"/>
                </a:cubicBezTo>
                <a:cubicBezTo>
                  <a:pt x="78" y="208"/>
                  <a:pt x="76" y="210"/>
                  <a:pt x="76" y="210"/>
                </a:cubicBezTo>
                <a:close/>
                <a:moveTo>
                  <a:pt x="75" y="208"/>
                </a:moveTo>
                <a:cubicBezTo>
                  <a:pt x="75" y="208"/>
                  <a:pt x="75" y="208"/>
                  <a:pt x="75" y="208"/>
                </a:cubicBezTo>
                <a:cubicBezTo>
                  <a:pt x="75" y="208"/>
                  <a:pt x="75" y="207"/>
                  <a:pt x="75" y="207"/>
                </a:cubicBezTo>
                <a:cubicBezTo>
                  <a:pt x="75" y="207"/>
                  <a:pt x="75" y="207"/>
                  <a:pt x="75" y="207"/>
                </a:cubicBezTo>
                <a:cubicBezTo>
                  <a:pt x="74" y="207"/>
                  <a:pt x="75" y="207"/>
                  <a:pt x="74" y="208"/>
                </a:cubicBezTo>
                <a:lnTo>
                  <a:pt x="75" y="208"/>
                </a:lnTo>
                <a:close/>
                <a:moveTo>
                  <a:pt x="74" y="206"/>
                </a:moveTo>
                <a:cubicBezTo>
                  <a:pt x="73" y="207"/>
                  <a:pt x="73" y="205"/>
                  <a:pt x="73" y="206"/>
                </a:cubicBezTo>
                <a:cubicBezTo>
                  <a:pt x="73" y="206"/>
                  <a:pt x="72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4" y="207"/>
                  <a:pt x="74" y="206"/>
                  <a:pt x="74" y="206"/>
                </a:cubicBezTo>
                <a:close/>
                <a:moveTo>
                  <a:pt x="50" y="189"/>
                </a:moveTo>
                <a:cubicBezTo>
                  <a:pt x="51" y="190"/>
                  <a:pt x="52" y="189"/>
                  <a:pt x="51" y="188"/>
                </a:cubicBezTo>
                <a:cubicBezTo>
                  <a:pt x="51" y="189"/>
                  <a:pt x="51" y="189"/>
                  <a:pt x="50" y="189"/>
                </a:cubicBezTo>
                <a:close/>
                <a:moveTo>
                  <a:pt x="53" y="192"/>
                </a:moveTo>
                <a:cubicBezTo>
                  <a:pt x="54" y="193"/>
                  <a:pt x="54" y="192"/>
                  <a:pt x="54" y="192"/>
                </a:cubicBezTo>
                <a:cubicBezTo>
                  <a:pt x="54" y="192"/>
                  <a:pt x="54" y="191"/>
                  <a:pt x="54" y="191"/>
                </a:cubicBezTo>
                <a:lnTo>
                  <a:pt x="53" y="192"/>
                </a:lnTo>
                <a:close/>
                <a:moveTo>
                  <a:pt x="73" y="209"/>
                </a:moveTo>
                <a:cubicBezTo>
                  <a:pt x="73" y="209"/>
                  <a:pt x="73" y="210"/>
                  <a:pt x="73" y="209"/>
                </a:cubicBezTo>
                <a:cubicBezTo>
                  <a:pt x="73" y="209"/>
                  <a:pt x="74" y="210"/>
                  <a:pt x="74" y="209"/>
                </a:cubicBezTo>
                <a:cubicBezTo>
                  <a:pt x="74" y="209"/>
                  <a:pt x="74" y="208"/>
                  <a:pt x="74" y="208"/>
                </a:cubicBezTo>
                <a:cubicBezTo>
                  <a:pt x="73" y="209"/>
                  <a:pt x="73" y="208"/>
                  <a:pt x="73" y="208"/>
                </a:cubicBezTo>
                <a:cubicBezTo>
                  <a:pt x="73" y="208"/>
                  <a:pt x="73" y="209"/>
                  <a:pt x="73" y="209"/>
                </a:cubicBezTo>
                <a:cubicBezTo>
                  <a:pt x="73" y="209"/>
                  <a:pt x="73" y="209"/>
                  <a:pt x="73" y="209"/>
                </a:cubicBezTo>
                <a:close/>
                <a:moveTo>
                  <a:pt x="49" y="190"/>
                </a:moveTo>
                <a:cubicBezTo>
                  <a:pt x="49" y="190"/>
                  <a:pt x="50" y="189"/>
                  <a:pt x="50" y="189"/>
                </a:cubicBezTo>
                <a:cubicBezTo>
                  <a:pt x="50" y="189"/>
                  <a:pt x="49" y="190"/>
                  <a:pt x="49" y="190"/>
                </a:cubicBezTo>
                <a:close/>
                <a:moveTo>
                  <a:pt x="52" y="194"/>
                </a:moveTo>
                <a:cubicBezTo>
                  <a:pt x="53" y="194"/>
                  <a:pt x="54" y="193"/>
                  <a:pt x="53" y="192"/>
                </a:cubicBezTo>
                <a:cubicBezTo>
                  <a:pt x="53" y="193"/>
                  <a:pt x="52" y="193"/>
                  <a:pt x="52" y="194"/>
                </a:cubicBezTo>
                <a:close/>
                <a:moveTo>
                  <a:pt x="66" y="205"/>
                </a:moveTo>
                <a:cubicBezTo>
                  <a:pt x="66" y="205"/>
                  <a:pt x="67" y="204"/>
                  <a:pt x="67" y="204"/>
                </a:cubicBezTo>
                <a:cubicBezTo>
                  <a:pt x="67" y="204"/>
                  <a:pt x="67" y="204"/>
                  <a:pt x="67" y="204"/>
                </a:cubicBezTo>
                <a:cubicBezTo>
                  <a:pt x="67" y="204"/>
                  <a:pt x="66" y="205"/>
                  <a:pt x="66" y="205"/>
                </a:cubicBezTo>
                <a:close/>
                <a:moveTo>
                  <a:pt x="58" y="198"/>
                </a:moveTo>
                <a:cubicBezTo>
                  <a:pt x="57" y="198"/>
                  <a:pt x="57" y="197"/>
                  <a:pt x="57" y="197"/>
                </a:cubicBezTo>
                <a:cubicBezTo>
                  <a:pt x="56" y="197"/>
                  <a:pt x="57" y="198"/>
                  <a:pt x="58" y="198"/>
                </a:cubicBezTo>
                <a:close/>
                <a:moveTo>
                  <a:pt x="50" y="197"/>
                </a:moveTo>
                <a:cubicBezTo>
                  <a:pt x="51" y="196"/>
                  <a:pt x="51" y="195"/>
                  <a:pt x="52" y="195"/>
                </a:cubicBezTo>
                <a:cubicBezTo>
                  <a:pt x="52" y="194"/>
                  <a:pt x="52" y="194"/>
                  <a:pt x="52" y="194"/>
                </a:cubicBezTo>
                <a:cubicBezTo>
                  <a:pt x="51" y="195"/>
                  <a:pt x="50" y="196"/>
                  <a:pt x="50" y="197"/>
                </a:cubicBezTo>
                <a:close/>
                <a:moveTo>
                  <a:pt x="79" y="218"/>
                </a:moveTo>
                <a:cubicBezTo>
                  <a:pt x="80" y="219"/>
                  <a:pt x="80" y="218"/>
                  <a:pt x="80" y="218"/>
                </a:cubicBezTo>
                <a:cubicBezTo>
                  <a:pt x="80" y="218"/>
                  <a:pt x="80" y="218"/>
                  <a:pt x="79" y="218"/>
                </a:cubicBezTo>
                <a:close/>
                <a:moveTo>
                  <a:pt x="45" y="192"/>
                </a:moveTo>
                <a:cubicBezTo>
                  <a:pt x="45" y="192"/>
                  <a:pt x="47" y="192"/>
                  <a:pt x="46" y="191"/>
                </a:cubicBezTo>
                <a:cubicBezTo>
                  <a:pt x="46" y="192"/>
                  <a:pt x="45" y="191"/>
                  <a:pt x="45" y="192"/>
                </a:cubicBezTo>
                <a:close/>
                <a:moveTo>
                  <a:pt x="42" y="196"/>
                </a:moveTo>
                <a:cubicBezTo>
                  <a:pt x="44" y="196"/>
                  <a:pt x="43" y="194"/>
                  <a:pt x="45" y="193"/>
                </a:cubicBezTo>
                <a:cubicBezTo>
                  <a:pt x="44" y="193"/>
                  <a:pt x="44" y="193"/>
                  <a:pt x="44" y="193"/>
                </a:cubicBezTo>
                <a:cubicBezTo>
                  <a:pt x="44" y="194"/>
                  <a:pt x="42" y="194"/>
                  <a:pt x="42" y="196"/>
                </a:cubicBezTo>
                <a:close/>
                <a:moveTo>
                  <a:pt x="49" y="199"/>
                </a:moveTo>
                <a:cubicBezTo>
                  <a:pt x="49" y="198"/>
                  <a:pt x="50" y="198"/>
                  <a:pt x="49" y="197"/>
                </a:cubicBezTo>
                <a:cubicBezTo>
                  <a:pt x="49" y="198"/>
                  <a:pt x="48" y="198"/>
                  <a:pt x="49" y="199"/>
                </a:cubicBezTo>
                <a:close/>
                <a:moveTo>
                  <a:pt x="67" y="214"/>
                </a:moveTo>
                <a:cubicBezTo>
                  <a:pt x="67" y="214"/>
                  <a:pt x="66" y="215"/>
                  <a:pt x="67" y="215"/>
                </a:cubicBezTo>
                <a:cubicBezTo>
                  <a:pt x="66" y="214"/>
                  <a:pt x="68" y="214"/>
                  <a:pt x="68" y="214"/>
                </a:cubicBezTo>
                <a:cubicBezTo>
                  <a:pt x="67" y="214"/>
                  <a:pt x="67" y="214"/>
                  <a:pt x="67" y="214"/>
                </a:cubicBezTo>
                <a:close/>
                <a:moveTo>
                  <a:pt x="72" y="224"/>
                </a:moveTo>
                <a:cubicBezTo>
                  <a:pt x="72" y="224"/>
                  <a:pt x="74" y="222"/>
                  <a:pt x="74" y="221"/>
                </a:cubicBezTo>
                <a:cubicBezTo>
                  <a:pt x="74" y="222"/>
                  <a:pt x="72" y="224"/>
                  <a:pt x="72" y="224"/>
                </a:cubicBezTo>
                <a:close/>
                <a:moveTo>
                  <a:pt x="59" y="212"/>
                </a:moveTo>
                <a:cubicBezTo>
                  <a:pt x="59" y="211"/>
                  <a:pt x="61" y="211"/>
                  <a:pt x="61" y="211"/>
                </a:cubicBezTo>
                <a:cubicBezTo>
                  <a:pt x="60" y="211"/>
                  <a:pt x="59" y="211"/>
                  <a:pt x="59" y="212"/>
                </a:cubicBezTo>
                <a:close/>
                <a:moveTo>
                  <a:pt x="71" y="219"/>
                </a:moveTo>
                <a:cubicBezTo>
                  <a:pt x="71" y="219"/>
                  <a:pt x="70" y="219"/>
                  <a:pt x="70" y="218"/>
                </a:cubicBezTo>
                <a:cubicBezTo>
                  <a:pt x="70" y="219"/>
                  <a:pt x="70" y="219"/>
                  <a:pt x="71" y="219"/>
                </a:cubicBezTo>
                <a:close/>
                <a:moveTo>
                  <a:pt x="41" y="197"/>
                </a:moveTo>
                <a:cubicBezTo>
                  <a:pt x="42" y="198"/>
                  <a:pt x="42" y="197"/>
                  <a:pt x="42" y="196"/>
                </a:cubicBezTo>
                <a:cubicBezTo>
                  <a:pt x="42" y="196"/>
                  <a:pt x="42" y="196"/>
                  <a:pt x="41" y="197"/>
                </a:cubicBezTo>
                <a:close/>
                <a:moveTo>
                  <a:pt x="57" y="214"/>
                </a:moveTo>
                <a:cubicBezTo>
                  <a:pt x="57" y="214"/>
                  <a:pt x="57" y="214"/>
                  <a:pt x="57" y="215"/>
                </a:cubicBezTo>
                <a:cubicBezTo>
                  <a:pt x="58" y="214"/>
                  <a:pt x="58" y="214"/>
                  <a:pt x="58" y="213"/>
                </a:cubicBezTo>
                <a:cubicBezTo>
                  <a:pt x="58" y="214"/>
                  <a:pt x="58" y="214"/>
                  <a:pt x="57" y="214"/>
                </a:cubicBezTo>
                <a:close/>
                <a:moveTo>
                  <a:pt x="62" y="219"/>
                </a:moveTo>
                <a:cubicBezTo>
                  <a:pt x="62" y="218"/>
                  <a:pt x="62" y="218"/>
                  <a:pt x="62" y="218"/>
                </a:cubicBezTo>
                <a:cubicBezTo>
                  <a:pt x="61" y="218"/>
                  <a:pt x="61" y="218"/>
                  <a:pt x="62" y="219"/>
                </a:cubicBezTo>
                <a:close/>
                <a:moveTo>
                  <a:pt x="62" y="219"/>
                </a:moveTo>
                <a:cubicBezTo>
                  <a:pt x="62" y="220"/>
                  <a:pt x="63" y="220"/>
                  <a:pt x="63" y="220"/>
                </a:cubicBezTo>
                <a:cubicBezTo>
                  <a:pt x="63" y="220"/>
                  <a:pt x="62" y="219"/>
                  <a:pt x="62" y="219"/>
                </a:cubicBezTo>
                <a:close/>
                <a:moveTo>
                  <a:pt x="43" y="206"/>
                </a:moveTo>
                <a:cubicBezTo>
                  <a:pt x="43" y="205"/>
                  <a:pt x="44" y="204"/>
                  <a:pt x="43" y="204"/>
                </a:cubicBezTo>
                <a:cubicBezTo>
                  <a:pt x="42" y="205"/>
                  <a:pt x="42" y="205"/>
                  <a:pt x="43" y="206"/>
                </a:cubicBezTo>
                <a:close/>
                <a:moveTo>
                  <a:pt x="59" y="218"/>
                </a:moveTo>
                <a:cubicBezTo>
                  <a:pt x="60" y="219"/>
                  <a:pt x="60" y="218"/>
                  <a:pt x="60" y="217"/>
                </a:cubicBezTo>
                <a:cubicBezTo>
                  <a:pt x="60" y="217"/>
                  <a:pt x="59" y="218"/>
                  <a:pt x="59" y="218"/>
                </a:cubicBezTo>
                <a:close/>
                <a:moveTo>
                  <a:pt x="57" y="218"/>
                </a:moveTo>
                <a:cubicBezTo>
                  <a:pt x="57" y="217"/>
                  <a:pt x="58" y="217"/>
                  <a:pt x="58" y="216"/>
                </a:cubicBezTo>
                <a:cubicBezTo>
                  <a:pt x="58" y="216"/>
                  <a:pt x="57" y="217"/>
                  <a:pt x="57" y="218"/>
                </a:cubicBezTo>
                <a:close/>
                <a:moveTo>
                  <a:pt x="64" y="226"/>
                </a:moveTo>
                <a:cubicBezTo>
                  <a:pt x="65" y="225"/>
                  <a:pt x="66" y="225"/>
                  <a:pt x="66" y="224"/>
                </a:cubicBezTo>
                <a:cubicBezTo>
                  <a:pt x="66" y="224"/>
                  <a:pt x="66" y="224"/>
                  <a:pt x="66" y="223"/>
                </a:cubicBezTo>
                <a:cubicBezTo>
                  <a:pt x="65" y="224"/>
                  <a:pt x="64" y="225"/>
                  <a:pt x="64" y="226"/>
                </a:cubicBezTo>
                <a:close/>
                <a:moveTo>
                  <a:pt x="49" y="214"/>
                </a:moveTo>
                <a:cubicBezTo>
                  <a:pt x="50" y="214"/>
                  <a:pt x="51" y="213"/>
                  <a:pt x="51" y="212"/>
                </a:cubicBezTo>
                <a:cubicBezTo>
                  <a:pt x="50" y="213"/>
                  <a:pt x="49" y="213"/>
                  <a:pt x="49" y="214"/>
                </a:cubicBezTo>
                <a:close/>
                <a:moveTo>
                  <a:pt x="57" y="221"/>
                </a:moveTo>
                <a:cubicBezTo>
                  <a:pt x="58" y="220"/>
                  <a:pt x="59" y="220"/>
                  <a:pt x="59" y="219"/>
                </a:cubicBezTo>
                <a:cubicBezTo>
                  <a:pt x="58" y="219"/>
                  <a:pt x="56" y="220"/>
                  <a:pt x="57" y="221"/>
                </a:cubicBezTo>
                <a:close/>
                <a:moveTo>
                  <a:pt x="41" y="208"/>
                </a:moveTo>
                <a:cubicBezTo>
                  <a:pt x="41" y="208"/>
                  <a:pt x="41" y="207"/>
                  <a:pt x="41" y="207"/>
                </a:cubicBezTo>
                <a:cubicBezTo>
                  <a:pt x="41" y="207"/>
                  <a:pt x="40" y="208"/>
                  <a:pt x="41" y="208"/>
                </a:cubicBezTo>
                <a:close/>
                <a:moveTo>
                  <a:pt x="62" y="226"/>
                </a:moveTo>
                <a:cubicBezTo>
                  <a:pt x="62" y="225"/>
                  <a:pt x="63" y="225"/>
                  <a:pt x="62" y="224"/>
                </a:cubicBezTo>
                <a:cubicBezTo>
                  <a:pt x="62" y="225"/>
                  <a:pt x="61" y="225"/>
                  <a:pt x="62" y="226"/>
                </a:cubicBezTo>
                <a:close/>
                <a:moveTo>
                  <a:pt x="53" y="219"/>
                </a:moveTo>
                <a:cubicBezTo>
                  <a:pt x="54" y="219"/>
                  <a:pt x="54" y="220"/>
                  <a:pt x="55" y="219"/>
                </a:cubicBezTo>
                <a:cubicBezTo>
                  <a:pt x="54" y="219"/>
                  <a:pt x="54" y="218"/>
                  <a:pt x="53" y="219"/>
                </a:cubicBezTo>
                <a:close/>
                <a:moveTo>
                  <a:pt x="68" y="232"/>
                </a:moveTo>
                <a:cubicBezTo>
                  <a:pt x="69" y="233"/>
                  <a:pt x="70" y="231"/>
                  <a:pt x="69" y="231"/>
                </a:cubicBezTo>
                <a:cubicBezTo>
                  <a:pt x="69" y="231"/>
                  <a:pt x="69" y="232"/>
                  <a:pt x="68" y="232"/>
                </a:cubicBezTo>
                <a:close/>
                <a:moveTo>
                  <a:pt x="55" y="224"/>
                </a:moveTo>
                <a:cubicBezTo>
                  <a:pt x="56" y="223"/>
                  <a:pt x="57" y="222"/>
                  <a:pt x="57" y="221"/>
                </a:cubicBezTo>
                <a:cubicBezTo>
                  <a:pt x="56" y="222"/>
                  <a:pt x="56" y="223"/>
                  <a:pt x="55" y="224"/>
                </a:cubicBezTo>
                <a:close/>
                <a:moveTo>
                  <a:pt x="62" y="228"/>
                </a:moveTo>
                <a:cubicBezTo>
                  <a:pt x="63" y="228"/>
                  <a:pt x="63" y="228"/>
                  <a:pt x="64" y="228"/>
                </a:cubicBezTo>
                <a:cubicBezTo>
                  <a:pt x="63" y="227"/>
                  <a:pt x="64" y="227"/>
                  <a:pt x="63" y="226"/>
                </a:cubicBezTo>
                <a:cubicBezTo>
                  <a:pt x="63" y="227"/>
                  <a:pt x="62" y="228"/>
                  <a:pt x="62" y="228"/>
                </a:cubicBezTo>
                <a:close/>
                <a:moveTo>
                  <a:pt x="53" y="220"/>
                </a:moveTo>
                <a:cubicBezTo>
                  <a:pt x="53" y="220"/>
                  <a:pt x="54" y="219"/>
                  <a:pt x="53" y="219"/>
                </a:cubicBezTo>
                <a:cubicBezTo>
                  <a:pt x="52" y="221"/>
                  <a:pt x="51" y="222"/>
                  <a:pt x="53" y="220"/>
                </a:cubicBezTo>
                <a:close/>
                <a:moveTo>
                  <a:pt x="47" y="216"/>
                </a:moveTo>
                <a:cubicBezTo>
                  <a:pt x="47" y="217"/>
                  <a:pt x="46" y="217"/>
                  <a:pt x="47" y="218"/>
                </a:cubicBezTo>
                <a:cubicBezTo>
                  <a:pt x="47" y="217"/>
                  <a:pt x="47" y="217"/>
                  <a:pt x="48" y="217"/>
                </a:cubicBezTo>
                <a:cubicBezTo>
                  <a:pt x="48" y="216"/>
                  <a:pt x="48" y="216"/>
                  <a:pt x="47" y="216"/>
                </a:cubicBezTo>
                <a:close/>
                <a:moveTo>
                  <a:pt x="59" y="227"/>
                </a:moveTo>
                <a:cubicBezTo>
                  <a:pt x="59" y="227"/>
                  <a:pt x="59" y="227"/>
                  <a:pt x="59" y="228"/>
                </a:cubicBezTo>
                <a:cubicBezTo>
                  <a:pt x="59" y="227"/>
                  <a:pt x="60" y="227"/>
                  <a:pt x="60" y="226"/>
                </a:cubicBezTo>
                <a:cubicBezTo>
                  <a:pt x="60" y="227"/>
                  <a:pt x="59" y="226"/>
                  <a:pt x="59" y="227"/>
                </a:cubicBezTo>
                <a:close/>
                <a:moveTo>
                  <a:pt x="57" y="227"/>
                </a:moveTo>
                <a:cubicBezTo>
                  <a:pt x="57" y="227"/>
                  <a:pt x="59" y="226"/>
                  <a:pt x="58" y="226"/>
                </a:cubicBezTo>
                <a:cubicBezTo>
                  <a:pt x="58" y="226"/>
                  <a:pt x="57" y="226"/>
                  <a:pt x="57" y="227"/>
                </a:cubicBezTo>
                <a:close/>
                <a:moveTo>
                  <a:pt x="51" y="223"/>
                </a:moveTo>
                <a:cubicBezTo>
                  <a:pt x="51" y="222"/>
                  <a:pt x="52" y="222"/>
                  <a:pt x="52" y="221"/>
                </a:cubicBezTo>
                <a:cubicBezTo>
                  <a:pt x="51" y="222"/>
                  <a:pt x="51" y="222"/>
                  <a:pt x="51" y="223"/>
                </a:cubicBezTo>
                <a:close/>
                <a:moveTo>
                  <a:pt x="33" y="211"/>
                </a:moveTo>
                <a:cubicBezTo>
                  <a:pt x="34" y="212"/>
                  <a:pt x="35" y="210"/>
                  <a:pt x="35" y="209"/>
                </a:cubicBezTo>
                <a:cubicBezTo>
                  <a:pt x="34" y="210"/>
                  <a:pt x="34" y="211"/>
                  <a:pt x="33" y="211"/>
                </a:cubicBezTo>
                <a:close/>
                <a:moveTo>
                  <a:pt x="40" y="214"/>
                </a:moveTo>
                <a:cubicBezTo>
                  <a:pt x="40" y="214"/>
                  <a:pt x="41" y="214"/>
                  <a:pt x="40" y="213"/>
                </a:cubicBezTo>
                <a:cubicBezTo>
                  <a:pt x="40" y="213"/>
                  <a:pt x="39" y="214"/>
                  <a:pt x="40" y="214"/>
                </a:cubicBezTo>
                <a:close/>
                <a:moveTo>
                  <a:pt x="35" y="215"/>
                </a:moveTo>
                <a:cubicBezTo>
                  <a:pt x="36" y="215"/>
                  <a:pt x="37" y="214"/>
                  <a:pt x="37" y="213"/>
                </a:cubicBezTo>
                <a:cubicBezTo>
                  <a:pt x="36" y="214"/>
                  <a:pt x="35" y="215"/>
                  <a:pt x="35" y="215"/>
                </a:cubicBezTo>
                <a:close/>
                <a:moveTo>
                  <a:pt x="48" y="223"/>
                </a:moveTo>
                <a:cubicBezTo>
                  <a:pt x="49" y="223"/>
                  <a:pt x="49" y="222"/>
                  <a:pt x="48" y="222"/>
                </a:cubicBezTo>
                <a:cubicBezTo>
                  <a:pt x="48" y="222"/>
                  <a:pt x="48" y="223"/>
                  <a:pt x="48" y="223"/>
                </a:cubicBezTo>
                <a:close/>
                <a:moveTo>
                  <a:pt x="38" y="217"/>
                </a:moveTo>
                <a:cubicBezTo>
                  <a:pt x="38" y="217"/>
                  <a:pt x="39" y="216"/>
                  <a:pt x="39" y="215"/>
                </a:cubicBezTo>
                <a:lnTo>
                  <a:pt x="38" y="217"/>
                </a:lnTo>
                <a:close/>
                <a:moveTo>
                  <a:pt x="43" y="223"/>
                </a:moveTo>
                <a:cubicBezTo>
                  <a:pt x="43" y="223"/>
                  <a:pt x="45" y="222"/>
                  <a:pt x="44" y="221"/>
                </a:cubicBezTo>
                <a:cubicBezTo>
                  <a:pt x="44" y="222"/>
                  <a:pt x="42" y="223"/>
                  <a:pt x="43" y="223"/>
                </a:cubicBezTo>
                <a:close/>
                <a:moveTo>
                  <a:pt x="62" y="237"/>
                </a:moveTo>
                <a:cubicBezTo>
                  <a:pt x="62" y="237"/>
                  <a:pt x="63" y="236"/>
                  <a:pt x="62" y="235"/>
                </a:cubicBezTo>
                <a:cubicBezTo>
                  <a:pt x="62" y="236"/>
                  <a:pt x="61" y="237"/>
                  <a:pt x="62" y="237"/>
                </a:cubicBezTo>
                <a:close/>
                <a:moveTo>
                  <a:pt x="30" y="213"/>
                </a:moveTo>
                <a:cubicBezTo>
                  <a:pt x="30" y="212"/>
                  <a:pt x="31" y="212"/>
                  <a:pt x="30" y="211"/>
                </a:cubicBezTo>
                <a:cubicBezTo>
                  <a:pt x="30" y="212"/>
                  <a:pt x="29" y="212"/>
                  <a:pt x="30" y="213"/>
                </a:cubicBezTo>
                <a:close/>
                <a:moveTo>
                  <a:pt x="49" y="228"/>
                </a:moveTo>
                <a:cubicBezTo>
                  <a:pt x="50" y="229"/>
                  <a:pt x="50" y="227"/>
                  <a:pt x="50" y="228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0" y="228"/>
                  <a:pt x="49" y="227"/>
                  <a:pt x="49" y="228"/>
                </a:cubicBezTo>
                <a:close/>
                <a:moveTo>
                  <a:pt x="44" y="225"/>
                </a:moveTo>
                <a:cubicBezTo>
                  <a:pt x="44" y="224"/>
                  <a:pt x="45" y="224"/>
                  <a:pt x="44" y="223"/>
                </a:cubicBezTo>
                <a:cubicBezTo>
                  <a:pt x="44" y="224"/>
                  <a:pt x="44" y="224"/>
                  <a:pt x="44" y="225"/>
                </a:cubicBezTo>
                <a:close/>
                <a:moveTo>
                  <a:pt x="64" y="238"/>
                </a:moveTo>
                <a:cubicBezTo>
                  <a:pt x="63" y="238"/>
                  <a:pt x="63" y="239"/>
                  <a:pt x="63" y="239"/>
                </a:cubicBezTo>
                <a:cubicBezTo>
                  <a:pt x="64" y="239"/>
                  <a:pt x="64" y="239"/>
                  <a:pt x="64" y="238"/>
                </a:cubicBezTo>
                <a:close/>
                <a:moveTo>
                  <a:pt x="29" y="217"/>
                </a:moveTo>
                <a:cubicBezTo>
                  <a:pt x="30" y="217"/>
                  <a:pt x="30" y="216"/>
                  <a:pt x="30" y="215"/>
                </a:cubicBezTo>
                <a:cubicBezTo>
                  <a:pt x="30" y="216"/>
                  <a:pt x="29" y="216"/>
                  <a:pt x="29" y="217"/>
                </a:cubicBezTo>
                <a:close/>
                <a:moveTo>
                  <a:pt x="55" y="237"/>
                </a:moveTo>
                <a:cubicBezTo>
                  <a:pt x="55" y="236"/>
                  <a:pt x="56" y="236"/>
                  <a:pt x="56" y="235"/>
                </a:cubicBezTo>
                <a:cubicBezTo>
                  <a:pt x="55" y="235"/>
                  <a:pt x="55" y="236"/>
                  <a:pt x="55" y="237"/>
                </a:cubicBezTo>
                <a:close/>
                <a:moveTo>
                  <a:pt x="47" y="231"/>
                </a:moveTo>
                <a:cubicBezTo>
                  <a:pt x="47" y="232"/>
                  <a:pt x="48" y="230"/>
                  <a:pt x="48" y="230"/>
                </a:cubicBezTo>
                <a:cubicBezTo>
                  <a:pt x="47" y="230"/>
                  <a:pt x="47" y="230"/>
                  <a:pt x="47" y="231"/>
                </a:cubicBezTo>
                <a:close/>
                <a:moveTo>
                  <a:pt x="61" y="240"/>
                </a:moveTo>
                <a:cubicBezTo>
                  <a:pt x="62" y="240"/>
                  <a:pt x="61" y="240"/>
                  <a:pt x="61" y="239"/>
                </a:cubicBezTo>
                <a:cubicBezTo>
                  <a:pt x="61" y="240"/>
                  <a:pt x="61" y="240"/>
                  <a:pt x="61" y="240"/>
                </a:cubicBezTo>
                <a:close/>
                <a:moveTo>
                  <a:pt x="34" y="223"/>
                </a:moveTo>
                <a:cubicBezTo>
                  <a:pt x="34" y="222"/>
                  <a:pt x="35" y="222"/>
                  <a:pt x="35" y="221"/>
                </a:cubicBezTo>
                <a:cubicBezTo>
                  <a:pt x="34" y="221"/>
                  <a:pt x="33" y="222"/>
                  <a:pt x="34" y="223"/>
                </a:cubicBezTo>
                <a:close/>
                <a:moveTo>
                  <a:pt x="26" y="217"/>
                </a:moveTo>
                <a:cubicBezTo>
                  <a:pt x="26" y="217"/>
                  <a:pt x="27" y="217"/>
                  <a:pt x="26" y="216"/>
                </a:cubicBezTo>
                <a:cubicBezTo>
                  <a:pt x="26" y="217"/>
                  <a:pt x="26" y="217"/>
                  <a:pt x="26" y="217"/>
                </a:cubicBezTo>
                <a:close/>
                <a:moveTo>
                  <a:pt x="32" y="222"/>
                </a:moveTo>
                <a:cubicBezTo>
                  <a:pt x="33" y="222"/>
                  <a:pt x="33" y="222"/>
                  <a:pt x="33" y="221"/>
                </a:cubicBezTo>
                <a:cubicBezTo>
                  <a:pt x="32" y="221"/>
                  <a:pt x="32" y="222"/>
                  <a:pt x="32" y="222"/>
                </a:cubicBezTo>
                <a:close/>
                <a:moveTo>
                  <a:pt x="27" y="218"/>
                </a:moveTo>
                <a:cubicBezTo>
                  <a:pt x="27" y="219"/>
                  <a:pt x="26" y="220"/>
                  <a:pt x="27" y="221"/>
                </a:cubicBezTo>
                <a:cubicBezTo>
                  <a:pt x="27" y="220"/>
                  <a:pt x="27" y="220"/>
                  <a:pt x="28" y="219"/>
                </a:cubicBezTo>
                <a:cubicBezTo>
                  <a:pt x="28" y="219"/>
                  <a:pt x="28" y="218"/>
                  <a:pt x="27" y="218"/>
                </a:cubicBezTo>
                <a:close/>
                <a:moveTo>
                  <a:pt x="32" y="225"/>
                </a:moveTo>
                <a:cubicBezTo>
                  <a:pt x="33" y="224"/>
                  <a:pt x="33" y="224"/>
                  <a:pt x="34" y="223"/>
                </a:cubicBezTo>
                <a:cubicBezTo>
                  <a:pt x="33" y="223"/>
                  <a:pt x="33" y="223"/>
                  <a:pt x="33" y="223"/>
                </a:cubicBezTo>
                <a:cubicBezTo>
                  <a:pt x="32" y="223"/>
                  <a:pt x="32" y="224"/>
                  <a:pt x="32" y="225"/>
                </a:cubicBezTo>
                <a:close/>
                <a:moveTo>
                  <a:pt x="23" y="221"/>
                </a:moveTo>
                <a:cubicBezTo>
                  <a:pt x="24" y="220"/>
                  <a:pt x="25" y="219"/>
                  <a:pt x="26" y="217"/>
                </a:cubicBezTo>
                <a:cubicBezTo>
                  <a:pt x="25" y="219"/>
                  <a:pt x="24" y="220"/>
                  <a:pt x="23" y="221"/>
                </a:cubicBezTo>
                <a:close/>
                <a:moveTo>
                  <a:pt x="57" y="242"/>
                </a:moveTo>
                <a:cubicBezTo>
                  <a:pt x="58" y="243"/>
                  <a:pt x="58" y="243"/>
                  <a:pt x="58" y="243"/>
                </a:cubicBezTo>
                <a:cubicBezTo>
                  <a:pt x="59" y="243"/>
                  <a:pt x="58" y="242"/>
                  <a:pt x="58" y="241"/>
                </a:cubicBezTo>
                <a:lnTo>
                  <a:pt x="57" y="242"/>
                </a:lnTo>
                <a:close/>
                <a:moveTo>
                  <a:pt x="25" y="220"/>
                </a:moveTo>
                <a:cubicBezTo>
                  <a:pt x="26" y="220"/>
                  <a:pt x="26" y="219"/>
                  <a:pt x="26" y="218"/>
                </a:cubicBezTo>
                <a:cubicBezTo>
                  <a:pt x="26" y="218"/>
                  <a:pt x="25" y="219"/>
                  <a:pt x="25" y="220"/>
                </a:cubicBezTo>
                <a:close/>
                <a:moveTo>
                  <a:pt x="44" y="234"/>
                </a:moveTo>
                <a:cubicBezTo>
                  <a:pt x="44" y="234"/>
                  <a:pt x="45" y="233"/>
                  <a:pt x="45" y="233"/>
                </a:cubicBezTo>
                <a:cubicBezTo>
                  <a:pt x="44" y="233"/>
                  <a:pt x="43" y="233"/>
                  <a:pt x="44" y="234"/>
                </a:cubicBezTo>
                <a:close/>
                <a:moveTo>
                  <a:pt x="49" y="243"/>
                </a:moveTo>
                <a:cubicBezTo>
                  <a:pt x="50" y="242"/>
                  <a:pt x="52" y="240"/>
                  <a:pt x="52" y="239"/>
                </a:cubicBezTo>
                <a:cubicBezTo>
                  <a:pt x="51" y="241"/>
                  <a:pt x="49" y="241"/>
                  <a:pt x="49" y="243"/>
                </a:cubicBezTo>
                <a:close/>
                <a:moveTo>
                  <a:pt x="31" y="225"/>
                </a:moveTo>
                <a:cubicBezTo>
                  <a:pt x="32" y="225"/>
                  <a:pt x="31" y="226"/>
                  <a:pt x="31" y="226"/>
                </a:cubicBezTo>
                <a:cubicBezTo>
                  <a:pt x="32" y="226"/>
                  <a:pt x="32" y="226"/>
                  <a:pt x="32" y="225"/>
                </a:cubicBezTo>
                <a:cubicBezTo>
                  <a:pt x="32" y="225"/>
                  <a:pt x="32" y="225"/>
                  <a:pt x="31" y="225"/>
                </a:cubicBezTo>
                <a:close/>
                <a:moveTo>
                  <a:pt x="42" y="242"/>
                </a:moveTo>
                <a:cubicBezTo>
                  <a:pt x="43" y="241"/>
                  <a:pt x="45" y="239"/>
                  <a:pt x="46" y="236"/>
                </a:cubicBezTo>
                <a:cubicBezTo>
                  <a:pt x="46" y="237"/>
                  <a:pt x="46" y="238"/>
                  <a:pt x="47" y="237"/>
                </a:cubicBezTo>
                <a:cubicBezTo>
                  <a:pt x="47" y="236"/>
                  <a:pt x="46" y="236"/>
                  <a:pt x="46" y="235"/>
                </a:cubicBezTo>
                <a:cubicBezTo>
                  <a:pt x="45" y="238"/>
                  <a:pt x="42" y="240"/>
                  <a:pt x="42" y="242"/>
                </a:cubicBezTo>
                <a:close/>
                <a:moveTo>
                  <a:pt x="23" y="220"/>
                </a:moveTo>
                <a:cubicBezTo>
                  <a:pt x="23" y="220"/>
                  <a:pt x="22" y="220"/>
                  <a:pt x="23" y="219"/>
                </a:cubicBezTo>
                <a:cubicBezTo>
                  <a:pt x="22" y="219"/>
                  <a:pt x="22" y="219"/>
                  <a:pt x="22" y="219"/>
                </a:cubicBezTo>
                <a:cubicBezTo>
                  <a:pt x="22" y="219"/>
                  <a:pt x="22" y="221"/>
                  <a:pt x="23" y="220"/>
                </a:cubicBezTo>
                <a:close/>
                <a:moveTo>
                  <a:pt x="30" y="227"/>
                </a:moveTo>
                <a:cubicBezTo>
                  <a:pt x="30" y="227"/>
                  <a:pt x="30" y="227"/>
                  <a:pt x="31" y="228"/>
                </a:cubicBezTo>
                <a:cubicBezTo>
                  <a:pt x="31" y="227"/>
                  <a:pt x="31" y="227"/>
                  <a:pt x="31" y="227"/>
                </a:cubicBezTo>
                <a:cubicBezTo>
                  <a:pt x="31" y="226"/>
                  <a:pt x="32" y="227"/>
                  <a:pt x="31" y="226"/>
                </a:cubicBezTo>
                <a:cubicBezTo>
                  <a:pt x="31" y="226"/>
                  <a:pt x="31" y="226"/>
                  <a:pt x="30" y="227"/>
                </a:cubicBezTo>
                <a:close/>
                <a:moveTo>
                  <a:pt x="31" y="230"/>
                </a:moveTo>
                <a:cubicBezTo>
                  <a:pt x="32" y="229"/>
                  <a:pt x="33" y="228"/>
                  <a:pt x="33" y="228"/>
                </a:cubicBezTo>
                <a:cubicBezTo>
                  <a:pt x="32" y="228"/>
                  <a:pt x="31" y="229"/>
                  <a:pt x="31" y="230"/>
                </a:cubicBezTo>
                <a:close/>
                <a:moveTo>
                  <a:pt x="57" y="246"/>
                </a:moveTo>
                <a:cubicBezTo>
                  <a:pt x="57" y="246"/>
                  <a:pt x="57" y="246"/>
                  <a:pt x="58" y="246"/>
                </a:cubicBezTo>
                <a:cubicBezTo>
                  <a:pt x="57" y="246"/>
                  <a:pt x="57" y="246"/>
                  <a:pt x="57" y="246"/>
                </a:cubicBezTo>
                <a:close/>
                <a:moveTo>
                  <a:pt x="21" y="224"/>
                </a:moveTo>
                <a:cubicBezTo>
                  <a:pt x="22" y="224"/>
                  <a:pt x="22" y="223"/>
                  <a:pt x="22" y="223"/>
                </a:cubicBezTo>
                <a:cubicBezTo>
                  <a:pt x="22" y="223"/>
                  <a:pt x="21" y="224"/>
                  <a:pt x="21" y="224"/>
                </a:cubicBezTo>
                <a:close/>
                <a:moveTo>
                  <a:pt x="52" y="249"/>
                </a:moveTo>
                <a:cubicBezTo>
                  <a:pt x="52" y="249"/>
                  <a:pt x="52" y="249"/>
                  <a:pt x="51" y="249"/>
                </a:cubicBezTo>
                <a:cubicBezTo>
                  <a:pt x="52" y="250"/>
                  <a:pt x="52" y="249"/>
                  <a:pt x="52" y="250"/>
                </a:cubicBezTo>
                <a:cubicBezTo>
                  <a:pt x="53" y="248"/>
                  <a:pt x="53" y="248"/>
                  <a:pt x="54" y="247"/>
                </a:cubicBezTo>
                <a:cubicBezTo>
                  <a:pt x="53" y="247"/>
                  <a:pt x="52" y="248"/>
                  <a:pt x="52" y="249"/>
                </a:cubicBezTo>
                <a:close/>
                <a:moveTo>
                  <a:pt x="29" y="230"/>
                </a:moveTo>
                <a:cubicBezTo>
                  <a:pt x="29" y="230"/>
                  <a:pt x="29" y="230"/>
                  <a:pt x="29" y="230"/>
                </a:cubicBezTo>
                <a:cubicBezTo>
                  <a:pt x="29" y="229"/>
                  <a:pt x="28" y="230"/>
                  <a:pt x="29" y="230"/>
                </a:cubicBezTo>
                <a:close/>
                <a:moveTo>
                  <a:pt x="54" y="249"/>
                </a:moveTo>
                <a:cubicBezTo>
                  <a:pt x="55" y="250"/>
                  <a:pt x="54" y="251"/>
                  <a:pt x="55" y="250"/>
                </a:cubicBezTo>
                <a:cubicBezTo>
                  <a:pt x="56" y="251"/>
                  <a:pt x="55" y="250"/>
                  <a:pt x="55" y="251"/>
                </a:cubicBezTo>
                <a:cubicBezTo>
                  <a:pt x="56" y="251"/>
                  <a:pt x="56" y="250"/>
                  <a:pt x="56" y="250"/>
                </a:cubicBezTo>
                <a:cubicBezTo>
                  <a:pt x="55" y="249"/>
                  <a:pt x="55" y="249"/>
                  <a:pt x="54" y="249"/>
                </a:cubicBezTo>
                <a:close/>
                <a:moveTo>
                  <a:pt x="47" y="245"/>
                </a:moveTo>
                <a:cubicBezTo>
                  <a:pt x="47" y="246"/>
                  <a:pt x="46" y="246"/>
                  <a:pt x="47" y="246"/>
                </a:cubicBezTo>
                <a:cubicBezTo>
                  <a:pt x="48" y="245"/>
                  <a:pt x="48" y="245"/>
                  <a:pt x="48" y="245"/>
                </a:cubicBezTo>
                <a:cubicBezTo>
                  <a:pt x="48" y="245"/>
                  <a:pt x="47" y="245"/>
                  <a:pt x="47" y="245"/>
                </a:cubicBezTo>
                <a:close/>
                <a:moveTo>
                  <a:pt x="28" y="231"/>
                </a:moveTo>
                <a:cubicBezTo>
                  <a:pt x="28" y="232"/>
                  <a:pt x="27" y="232"/>
                  <a:pt x="27" y="233"/>
                </a:cubicBezTo>
                <a:cubicBezTo>
                  <a:pt x="28" y="232"/>
                  <a:pt x="28" y="231"/>
                  <a:pt x="28" y="231"/>
                </a:cubicBezTo>
                <a:cubicBezTo>
                  <a:pt x="28" y="231"/>
                  <a:pt x="28" y="230"/>
                  <a:pt x="28" y="231"/>
                </a:cubicBezTo>
                <a:close/>
                <a:moveTo>
                  <a:pt x="28" y="235"/>
                </a:moveTo>
                <a:cubicBezTo>
                  <a:pt x="29" y="234"/>
                  <a:pt x="30" y="233"/>
                  <a:pt x="29" y="232"/>
                </a:cubicBezTo>
                <a:cubicBezTo>
                  <a:pt x="29" y="233"/>
                  <a:pt x="29" y="234"/>
                  <a:pt x="28" y="235"/>
                </a:cubicBezTo>
                <a:close/>
                <a:moveTo>
                  <a:pt x="48" y="247"/>
                </a:moveTo>
                <a:cubicBezTo>
                  <a:pt x="48" y="248"/>
                  <a:pt x="49" y="248"/>
                  <a:pt x="49" y="248"/>
                </a:cubicBezTo>
                <a:cubicBezTo>
                  <a:pt x="49" y="248"/>
                  <a:pt x="49" y="248"/>
                  <a:pt x="49" y="248"/>
                </a:cubicBezTo>
                <a:cubicBezTo>
                  <a:pt x="49" y="248"/>
                  <a:pt x="49" y="247"/>
                  <a:pt x="48" y="247"/>
                </a:cubicBezTo>
                <a:close/>
                <a:moveTo>
                  <a:pt x="17" y="226"/>
                </a:moveTo>
                <a:cubicBezTo>
                  <a:pt x="17" y="226"/>
                  <a:pt x="17" y="227"/>
                  <a:pt x="17" y="227"/>
                </a:cubicBezTo>
                <a:cubicBezTo>
                  <a:pt x="17" y="226"/>
                  <a:pt x="18" y="227"/>
                  <a:pt x="18" y="227"/>
                </a:cubicBezTo>
                <a:cubicBezTo>
                  <a:pt x="18" y="226"/>
                  <a:pt x="17" y="226"/>
                  <a:pt x="17" y="225"/>
                </a:cubicBezTo>
                <a:lnTo>
                  <a:pt x="17" y="226"/>
                </a:lnTo>
                <a:close/>
                <a:moveTo>
                  <a:pt x="41" y="244"/>
                </a:moveTo>
                <a:cubicBezTo>
                  <a:pt x="41" y="244"/>
                  <a:pt x="42" y="243"/>
                  <a:pt x="41" y="243"/>
                </a:cubicBezTo>
                <a:cubicBezTo>
                  <a:pt x="40" y="245"/>
                  <a:pt x="39" y="245"/>
                  <a:pt x="41" y="244"/>
                </a:cubicBezTo>
                <a:close/>
                <a:moveTo>
                  <a:pt x="50" y="252"/>
                </a:moveTo>
                <a:cubicBezTo>
                  <a:pt x="50" y="251"/>
                  <a:pt x="51" y="252"/>
                  <a:pt x="51" y="252"/>
                </a:cubicBezTo>
                <a:cubicBezTo>
                  <a:pt x="50" y="252"/>
                  <a:pt x="51" y="251"/>
                  <a:pt x="51" y="250"/>
                </a:cubicBezTo>
                <a:cubicBezTo>
                  <a:pt x="51" y="252"/>
                  <a:pt x="49" y="251"/>
                  <a:pt x="50" y="252"/>
                </a:cubicBezTo>
                <a:close/>
                <a:moveTo>
                  <a:pt x="42" y="245"/>
                </a:moveTo>
                <a:cubicBezTo>
                  <a:pt x="42" y="246"/>
                  <a:pt x="42" y="246"/>
                  <a:pt x="43" y="246"/>
                </a:cubicBezTo>
                <a:cubicBezTo>
                  <a:pt x="43" y="245"/>
                  <a:pt x="42" y="245"/>
                  <a:pt x="42" y="245"/>
                </a:cubicBezTo>
                <a:close/>
                <a:moveTo>
                  <a:pt x="53" y="255"/>
                </a:moveTo>
                <a:cubicBezTo>
                  <a:pt x="53" y="254"/>
                  <a:pt x="54" y="254"/>
                  <a:pt x="53" y="253"/>
                </a:cubicBezTo>
                <a:cubicBezTo>
                  <a:pt x="53" y="254"/>
                  <a:pt x="52" y="254"/>
                  <a:pt x="53" y="255"/>
                </a:cubicBezTo>
                <a:close/>
                <a:moveTo>
                  <a:pt x="40" y="247"/>
                </a:moveTo>
                <a:cubicBezTo>
                  <a:pt x="41" y="247"/>
                  <a:pt x="42" y="246"/>
                  <a:pt x="41" y="246"/>
                </a:cubicBezTo>
                <a:lnTo>
                  <a:pt x="40" y="247"/>
                </a:lnTo>
                <a:close/>
                <a:moveTo>
                  <a:pt x="43" y="248"/>
                </a:moveTo>
                <a:cubicBezTo>
                  <a:pt x="44" y="249"/>
                  <a:pt x="44" y="249"/>
                  <a:pt x="44" y="249"/>
                </a:cubicBezTo>
                <a:cubicBezTo>
                  <a:pt x="44" y="248"/>
                  <a:pt x="43" y="248"/>
                  <a:pt x="43" y="248"/>
                </a:cubicBezTo>
                <a:close/>
                <a:moveTo>
                  <a:pt x="15" y="234"/>
                </a:moveTo>
                <a:cubicBezTo>
                  <a:pt x="15" y="233"/>
                  <a:pt x="15" y="233"/>
                  <a:pt x="15" y="232"/>
                </a:cubicBezTo>
                <a:cubicBezTo>
                  <a:pt x="15" y="233"/>
                  <a:pt x="15" y="233"/>
                  <a:pt x="15" y="233"/>
                </a:cubicBezTo>
                <a:cubicBezTo>
                  <a:pt x="16" y="234"/>
                  <a:pt x="16" y="234"/>
                  <a:pt x="16" y="234"/>
                </a:cubicBezTo>
                <a:cubicBezTo>
                  <a:pt x="17" y="232"/>
                  <a:pt x="17" y="233"/>
                  <a:pt x="18" y="231"/>
                </a:cubicBezTo>
                <a:cubicBezTo>
                  <a:pt x="18" y="231"/>
                  <a:pt x="17" y="231"/>
                  <a:pt x="17" y="230"/>
                </a:cubicBezTo>
                <a:cubicBezTo>
                  <a:pt x="17" y="230"/>
                  <a:pt x="17" y="231"/>
                  <a:pt x="17" y="230"/>
                </a:cubicBezTo>
                <a:cubicBezTo>
                  <a:pt x="17" y="232"/>
                  <a:pt x="16" y="232"/>
                  <a:pt x="15" y="234"/>
                </a:cubicBezTo>
                <a:close/>
                <a:moveTo>
                  <a:pt x="51" y="255"/>
                </a:moveTo>
                <a:cubicBezTo>
                  <a:pt x="51" y="256"/>
                  <a:pt x="50" y="257"/>
                  <a:pt x="51" y="257"/>
                </a:cubicBezTo>
                <a:cubicBezTo>
                  <a:pt x="51" y="256"/>
                  <a:pt x="52" y="256"/>
                  <a:pt x="52" y="255"/>
                </a:cubicBezTo>
                <a:cubicBezTo>
                  <a:pt x="51" y="255"/>
                  <a:pt x="51" y="255"/>
                  <a:pt x="51" y="255"/>
                </a:cubicBezTo>
                <a:close/>
                <a:moveTo>
                  <a:pt x="20" y="235"/>
                </a:moveTo>
                <a:cubicBezTo>
                  <a:pt x="19" y="235"/>
                  <a:pt x="19" y="236"/>
                  <a:pt x="19" y="236"/>
                </a:cubicBezTo>
                <a:cubicBezTo>
                  <a:pt x="20" y="236"/>
                  <a:pt x="20" y="236"/>
                  <a:pt x="20" y="236"/>
                </a:cubicBezTo>
                <a:cubicBezTo>
                  <a:pt x="20" y="236"/>
                  <a:pt x="21" y="235"/>
                  <a:pt x="21" y="235"/>
                </a:cubicBezTo>
                <a:cubicBezTo>
                  <a:pt x="20" y="235"/>
                  <a:pt x="20" y="236"/>
                  <a:pt x="20" y="235"/>
                </a:cubicBezTo>
                <a:close/>
                <a:moveTo>
                  <a:pt x="21" y="238"/>
                </a:moveTo>
                <a:cubicBezTo>
                  <a:pt x="21" y="237"/>
                  <a:pt x="22" y="237"/>
                  <a:pt x="22" y="236"/>
                </a:cubicBezTo>
                <a:cubicBezTo>
                  <a:pt x="21" y="236"/>
                  <a:pt x="21" y="237"/>
                  <a:pt x="21" y="238"/>
                </a:cubicBezTo>
                <a:close/>
                <a:moveTo>
                  <a:pt x="17" y="236"/>
                </a:moveTo>
                <a:cubicBezTo>
                  <a:pt x="18" y="236"/>
                  <a:pt x="18" y="235"/>
                  <a:pt x="18" y="235"/>
                </a:cubicBezTo>
                <a:cubicBezTo>
                  <a:pt x="18" y="235"/>
                  <a:pt x="17" y="236"/>
                  <a:pt x="17" y="236"/>
                </a:cubicBezTo>
                <a:close/>
                <a:moveTo>
                  <a:pt x="23" y="243"/>
                </a:moveTo>
                <a:cubicBezTo>
                  <a:pt x="24" y="243"/>
                  <a:pt x="25" y="241"/>
                  <a:pt x="26" y="240"/>
                </a:cubicBezTo>
                <a:cubicBezTo>
                  <a:pt x="25" y="240"/>
                  <a:pt x="25" y="240"/>
                  <a:pt x="25" y="240"/>
                </a:cubicBezTo>
                <a:cubicBezTo>
                  <a:pt x="24" y="241"/>
                  <a:pt x="24" y="242"/>
                  <a:pt x="23" y="243"/>
                </a:cubicBezTo>
                <a:close/>
                <a:moveTo>
                  <a:pt x="17" y="238"/>
                </a:moveTo>
                <a:cubicBezTo>
                  <a:pt x="17" y="237"/>
                  <a:pt x="18" y="237"/>
                  <a:pt x="18" y="236"/>
                </a:cubicBezTo>
                <a:cubicBezTo>
                  <a:pt x="17" y="236"/>
                  <a:pt x="16" y="237"/>
                  <a:pt x="17" y="238"/>
                </a:cubicBezTo>
                <a:close/>
                <a:moveTo>
                  <a:pt x="35" y="251"/>
                </a:moveTo>
                <a:cubicBezTo>
                  <a:pt x="35" y="252"/>
                  <a:pt x="36" y="250"/>
                  <a:pt x="36" y="250"/>
                </a:cubicBezTo>
                <a:lnTo>
                  <a:pt x="35" y="251"/>
                </a:lnTo>
                <a:close/>
                <a:moveTo>
                  <a:pt x="38" y="255"/>
                </a:moveTo>
                <a:cubicBezTo>
                  <a:pt x="39" y="254"/>
                  <a:pt x="39" y="254"/>
                  <a:pt x="39" y="254"/>
                </a:cubicBezTo>
                <a:cubicBezTo>
                  <a:pt x="39" y="254"/>
                  <a:pt x="38" y="254"/>
                  <a:pt x="38" y="255"/>
                </a:cubicBezTo>
                <a:close/>
                <a:moveTo>
                  <a:pt x="12" y="236"/>
                </a:moveTo>
                <a:cubicBezTo>
                  <a:pt x="12" y="236"/>
                  <a:pt x="12" y="237"/>
                  <a:pt x="12" y="237"/>
                </a:cubicBezTo>
                <a:cubicBezTo>
                  <a:pt x="13" y="236"/>
                  <a:pt x="13" y="236"/>
                  <a:pt x="13" y="236"/>
                </a:cubicBezTo>
                <a:cubicBezTo>
                  <a:pt x="13" y="236"/>
                  <a:pt x="12" y="236"/>
                  <a:pt x="12" y="236"/>
                </a:cubicBezTo>
                <a:close/>
                <a:moveTo>
                  <a:pt x="38" y="253"/>
                </a:moveTo>
                <a:cubicBezTo>
                  <a:pt x="36" y="252"/>
                  <a:pt x="36" y="252"/>
                  <a:pt x="36" y="252"/>
                </a:cubicBezTo>
                <a:cubicBezTo>
                  <a:pt x="36" y="253"/>
                  <a:pt x="37" y="254"/>
                  <a:pt x="38" y="253"/>
                </a:cubicBezTo>
                <a:close/>
                <a:moveTo>
                  <a:pt x="12" y="239"/>
                </a:moveTo>
                <a:cubicBezTo>
                  <a:pt x="13" y="238"/>
                  <a:pt x="13" y="238"/>
                  <a:pt x="13" y="238"/>
                </a:cubicBezTo>
                <a:cubicBezTo>
                  <a:pt x="13" y="238"/>
                  <a:pt x="13" y="239"/>
                  <a:pt x="13" y="238"/>
                </a:cubicBezTo>
                <a:cubicBezTo>
                  <a:pt x="12" y="238"/>
                  <a:pt x="14" y="237"/>
                  <a:pt x="13" y="237"/>
                </a:cubicBezTo>
                <a:cubicBezTo>
                  <a:pt x="12" y="237"/>
                  <a:pt x="12" y="238"/>
                  <a:pt x="12" y="239"/>
                </a:cubicBezTo>
                <a:close/>
                <a:moveTo>
                  <a:pt x="35" y="256"/>
                </a:moveTo>
                <a:cubicBezTo>
                  <a:pt x="35" y="256"/>
                  <a:pt x="36" y="257"/>
                  <a:pt x="36" y="257"/>
                </a:cubicBezTo>
                <a:cubicBezTo>
                  <a:pt x="36" y="256"/>
                  <a:pt x="35" y="256"/>
                  <a:pt x="35" y="256"/>
                </a:cubicBezTo>
                <a:close/>
                <a:moveTo>
                  <a:pt x="27" y="255"/>
                </a:moveTo>
                <a:cubicBezTo>
                  <a:pt x="27" y="255"/>
                  <a:pt x="28" y="254"/>
                  <a:pt x="28" y="254"/>
                </a:cubicBezTo>
                <a:cubicBezTo>
                  <a:pt x="27" y="254"/>
                  <a:pt x="27" y="254"/>
                  <a:pt x="27" y="255"/>
                </a:cubicBezTo>
                <a:close/>
                <a:moveTo>
                  <a:pt x="8" y="244"/>
                </a:moveTo>
                <a:cubicBezTo>
                  <a:pt x="7" y="244"/>
                  <a:pt x="7" y="244"/>
                  <a:pt x="7" y="244"/>
                </a:cubicBezTo>
                <a:cubicBezTo>
                  <a:pt x="8" y="245"/>
                  <a:pt x="8" y="243"/>
                  <a:pt x="7" y="243"/>
                </a:cubicBezTo>
                <a:cubicBezTo>
                  <a:pt x="7" y="243"/>
                  <a:pt x="7" y="243"/>
                  <a:pt x="8" y="244"/>
                </a:cubicBezTo>
                <a:close/>
                <a:moveTo>
                  <a:pt x="6" y="247"/>
                </a:moveTo>
                <a:cubicBezTo>
                  <a:pt x="7" y="248"/>
                  <a:pt x="9" y="244"/>
                  <a:pt x="8" y="244"/>
                </a:cubicBezTo>
                <a:cubicBezTo>
                  <a:pt x="7" y="245"/>
                  <a:pt x="7" y="246"/>
                  <a:pt x="6" y="247"/>
                </a:cubicBezTo>
                <a:close/>
                <a:moveTo>
                  <a:pt x="11" y="248"/>
                </a:moveTo>
                <a:cubicBezTo>
                  <a:pt x="12" y="248"/>
                  <a:pt x="12" y="247"/>
                  <a:pt x="11" y="247"/>
                </a:cubicBezTo>
                <a:cubicBezTo>
                  <a:pt x="11" y="247"/>
                  <a:pt x="11" y="248"/>
                  <a:pt x="11" y="248"/>
                </a:cubicBezTo>
                <a:close/>
                <a:moveTo>
                  <a:pt x="32" y="264"/>
                </a:moveTo>
                <a:cubicBezTo>
                  <a:pt x="33" y="264"/>
                  <a:pt x="33" y="264"/>
                  <a:pt x="33" y="263"/>
                </a:cubicBezTo>
                <a:cubicBezTo>
                  <a:pt x="32" y="263"/>
                  <a:pt x="32" y="263"/>
                  <a:pt x="32" y="264"/>
                </a:cubicBezTo>
                <a:close/>
                <a:moveTo>
                  <a:pt x="10" y="250"/>
                </a:moveTo>
                <a:cubicBezTo>
                  <a:pt x="10" y="250"/>
                  <a:pt x="11" y="249"/>
                  <a:pt x="11" y="249"/>
                </a:cubicBezTo>
                <a:cubicBezTo>
                  <a:pt x="10" y="248"/>
                  <a:pt x="10" y="248"/>
                  <a:pt x="10" y="248"/>
                </a:cubicBezTo>
                <a:cubicBezTo>
                  <a:pt x="10" y="249"/>
                  <a:pt x="9" y="249"/>
                  <a:pt x="10" y="250"/>
                </a:cubicBezTo>
                <a:close/>
                <a:moveTo>
                  <a:pt x="7" y="252"/>
                </a:moveTo>
                <a:cubicBezTo>
                  <a:pt x="7" y="251"/>
                  <a:pt x="9" y="249"/>
                  <a:pt x="8" y="248"/>
                </a:cubicBezTo>
                <a:cubicBezTo>
                  <a:pt x="8" y="249"/>
                  <a:pt x="6" y="251"/>
                  <a:pt x="7" y="252"/>
                </a:cubicBezTo>
                <a:close/>
                <a:moveTo>
                  <a:pt x="3" y="247"/>
                </a:moveTo>
                <a:cubicBezTo>
                  <a:pt x="3" y="246"/>
                  <a:pt x="4" y="246"/>
                  <a:pt x="4" y="246"/>
                </a:cubicBezTo>
                <a:cubicBezTo>
                  <a:pt x="3" y="246"/>
                  <a:pt x="2" y="246"/>
                  <a:pt x="3" y="247"/>
                </a:cubicBezTo>
                <a:close/>
                <a:moveTo>
                  <a:pt x="0" y="255"/>
                </a:moveTo>
                <a:cubicBezTo>
                  <a:pt x="1" y="253"/>
                  <a:pt x="3" y="253"/>
                  <a:pt x="2" y="251"/>
                </a:cubicBezTo>
                <a:cubicBezTo>
                  <a:pt x="2" y="253"/>
                  <a:pt x="0" y="254"/>
                  <a:pt x="0" y="255"/>
                </a:cubicBezTo>
                <a:close/>
                <a:moveTo>
                  <a:pt x="30" y="271"/>
                </a:moveTo>
                <a:cubicBezTo>
                  <a:pt x="30" y="271"/>
                  <a:pt x="31" y="271"/>
                  <a:pt x="31" y="271"/>
                </a:cubicBezTo>
                <a:cubicBezTo>
                  <a:pt x="31" y="271"/>
                  <a:pt x="30" y="270"/>
                  <a:pt x="30" y="271"/>
                </a:cubicBezTo>
                <a:close/>
                <a:moveTo>
                  <a:pt x="34" y="274"/>
                </a:moveTo>
                <a:cubicBezTo>
                  <a:pt x="35" y="275"/>
                  <a:pt x="34" y="275"/>
                  <a:pt x="35" y="275"/>
                </a:cubicBezTo>
                <a:cubicBezTo>
                  <a:pt x="36" y="275"/>
                  <a:pt x="35" y="275"/>
                  <a:pt x="35" y="274"/>
                </a:cubicBezTo>
                <a:cubicBezTo>
                  <a:pt x="35" y="274"/>
                  <a:pt x="35" y="274"/>
                  <a:pt x="34" y="274"/>
                </a:cubicBezTo>
                <a:close/>
                <a:moveTo>
                  <a:pt x="3" y="254"/>
                </a:moveTo>
                <a:cubicBezTo>
                  <a:pt x="2" y="254"/>
                  <a:pt x="2" y="254"/>
                  <a:pt x="2" y="253"/>
                </a:cubicBezTo>
                <a:cubicBezTo>
                  <a:pt x="2" y="254"/>
                  <a:pt x="2" y="254"/>
                  <a:pt x="2" y="254"/>
                </a:cubicBezTo>
                <a:cubicBezTo>
                  <a:pt x="2" y="254"/>
                  <a:pt x="4" y="254"/>
                  <a:pt x="3" y="253"/>
                </a:cubicBezTo>
                <a:lnTo>
                  <a:pt x="3" y="254"/>
                </a:lnTo>
                <a:close/>
                <a:moveTo>
                  <a:pt x="27" y="271"/>
                </a:moveTo>
                <a:cubicBezTo>
                  <a:pt x="27" y="271"/>
                  <a:pt x="27" y="272"/>
                  <a:pt x="28" y="271"/>
                </a:cubicBezTo>
                <a:cubicBezTo>
                  <a:pt x="28" y="271"/>
                  <a:pt x="27" y="270"/>
                  <a:pt x="27" y="271"/>
                </a:cubicBezTo>
                <a:close/>
                <a:moveTo>
                  <a:pt x="31" y="278"/>
                </a:moveTo>
                <a:cubicBezTo>
                  <a:pt x="31" y="277"/>
                  <a:pt x="30" y="277"/>
                  <a:pt x="30" y="276"/>
                </a:cubicBezTo>
                <a:cubicBezTo>
                  <a:pt x="30" y="277"/>
                  <a:pt x="31" y="277"/>
                  <a:pt x="31" y="278"/>
                </a:cubicBezTo>
                <a:close/>
                <a:moveTo>
                  <a:pt x="31" y="281"/>
                </a:moveTo>
                <a:cubicBezTo>
                  <a:pt x="32" y="281"/>
                  <a:pt x="32" y="281"/>
                  <a:pt x="32" y="281"/>
                </a:cubicBezTo>
                <a:cubicBezTo>
                  <a:pt x="32" y="280"/>
                  <a:pt x="32" y="280"/>
                  <a:pt x="33" y="280"/>
                </a:cubicBezTo>
                <a:cubicBezTo>
                  <a:pt x="33" y="280"/>
                  <a:pt x="33" y="279"/>
                  <a:pt x="33" y="279"/>
                </a:cubicBezTo>
                <a:cubicBezTo>
                  <a:pt x="32" y="280"/>
                  <a:pt x="32" y="281"/>
                  <a:pt x="31" y="281"/>
                </a:cubicBezTo>
                <a:close/>
                <a:moveTo>
                  <a:pt x="782" y="255"/>
                </a:moveTo>
                <a:cubicBezTo>
                  <a:pt x="781" y="255"/>
                  <a:pt x="779" y="253"/>
                  <a:pt x="779" y="256"/>
                </a:cubicBezTo>
                <a:cubicBezTo>
                  <a:pt x="781" y="259"/>
                  <a:pt x="782" y="261"/>
                  <a:pt x="783" y="263"/>
                </a:cubicBezTo>
                <a:cubicBezTo>
                  <a:pt x="781" y="263"/>
                  <a:pt x="777" y="259"/>
                  <a:pt x="774" y="258"/>
                </a:cubicBezTo>
                <a:cubicBezTo>
                  <a:pt x="775" y="259"/>
                  <a:pt x="777" y="263"/>
                  <a:pt x="778" y="264"/>
                </a:cubicBezTo>
                <a:cubicBezTo>
                  <a:pt x="779" y="267"/>
                  <a:pt x="779" y="268"/>
                  <a:pt x="780" y="271"/>
                </a:cubicBezTo>
                <a:cubicBezTo>
                  <a:pt x="779" y="271"/>
                  <a:pt x="779" y="271"/>
                  <a:pt x="779" y="272"/>
                </a:cubicBezTo>
                <a:cubicBezTo>
                  <a:pt x="776" y="269"/>
                  <a:pt x="775" y="267"/>
                  <a:pt x="772" y="264"/>
                </a:cubicBezTo>
                <a:cubicBezTo>
                  <a:pt x="771" y="262"/>
                  <a:pt x="772" y="262"/>
                  <a:pt x="771" y="260"/>
                </a:cubicBezTo>
                <a:cubicBezTo>
                  <a:pt x="770" y="259"/>
                  <a:pt x="767" y="254"/>
                  <a:pt x="766" y="252"/>
                </a:cubicBezTo>
                <a:cubicBezTo>
                  <a:pt x="766" y="254"/>
                  <a:pt x="763" y="249"/>
                  <a:pt x="762" y="246"/>
                </a:cubicBezTo>
                <a:cubicBezTo>
                  <a:pt x="763" y="250"/>
                  <a:pt x="761" y="249"/>
                  <a:pt x="764" y="255"/>
                </a:cubicBezTo>
                <a:cubicBezTo>
                  <a:pt x="763" y="252"/>
                  <a:pt x="764" y="254"/>
                  <a:pt x="765" y="256"/>
                </a:cubicBezTo>
                <a:cubicBezTo>
                  <a:pt x="765" y="257"/>
                  <a:pt x="765" y="255"/>
                  <a:pt x="765" y="255"/>
                </a:cubicBezTo>
                <a:cubicBezTo>
                  <a:pt x="766" y="256"/>
                  <a:pt x="766" y="257"/>
                  <a:pt x="766" y="258"/>
                </a:cubicBezTo>
                <a:cubicBezTo>
                  <a:pt x="767" y="259"/>
                  <a:pt x="768" y="260"/>
                  <a:pt x="770" y="260"/>
                </a:cubicBezTo>
                <a:cubicBezTo>
                  <a:pt x="770" y="262"/>
                  <a:pt x="771" y="264"/>
                  <a:pt x="772" y="267"/>
                </a:cubicBezTo>
                <a:cubicBezTo>
                  <a:pt x="771" y="267"/>
                  <a:pt x="768" y="261"/>
                  <a:pt x="769" y="264"/>
                </a:cubicBezTo>
                <a:cubicBezTo>
                  <a:pt x="768" y="262"/>
                  <a:pt x="766" y="259"/>
                  <a:pt x="766" y="260"/>
                </a:cubicBezTo>
                <a:cubicBezTo>
                  <a:pt x="766" y="259"/>
                  <a:pt x="764" y="256"/>
                  <a:pt x="764" y="255"/>
                </a:cubicBezTo>
                <a:cubicBezTo>
                  <a:pt x="763" y="254"/>
                  <a:pt x="762" y="254"/>
                  <a:pt x="761" y="253"/>
                </a:cubicBezTo>
                <a:cubicBezTo>
                  <a:pt x="761" y="252"/>
                  <a:pt x="762" y="253"/>
                  <a:pt x="762" y="252"/>
                </a:cubicBezTo>
                <a:cubicBezTo>
                  <a:pt x="762" y="251"/>
                  <a:pt x="761" y="249"/>
                  <a:pt x="761" y="249"/>
                </a:cubicBezTo>
                <a:cubicBezTo>
                  <a:pt x="757" y="243"/>
                  <a:pt x="757" y="246"/>
                  <a:pt x="752" y="241"/>
                </a:cubicBezTo>
                <a:cubicBezTo>
                  <a:pt x="752" y="241"/>
                  <a:pt x="755" y="244"/>
                  <a:pt x="755" y="245"/>
                </a:cubicBezTo>
                <a:cubicBezTo>
                  <a:pt x="755" y="246"/>
                  <a:pt x="755" y="245"/>
                  <a:pt x="755" y="244"/>
                </a:cubicBezTo>
                <a:cubicBezTo>
                  <a:pt x="755" y="244"/>
                  <a:pt x="755" y="246"/>
                  <a:pt x="756" y="246"/>
                </a:cubicBezTo>
                <a:cubicBezTo>
                  <a:pt x="757" y="248"/>
                  <a:pt x="756" y="247"/>
                  <a:pt x="757" y="249"/>
                </a:cubicBezTo>
                <a:cubicBezTo>
                  <a:pt x="755" y="246"/>
                  <a:pt x="755" y="248"/>
                  <a:pt x="753" y="248"/>
                </a:cubicBezTo>
                <a:cubicBezTo>
                  <a:pt x="752" y="245"/>
                  <a:pt x="751" y="244"/>
                  <a:pt x="750" y="245"/>
                </a:cubicBezTo>
                <a:cubicBezTo>
                  <a:pt x="748" y="242"/>
                  <a:pt x="747" y="243"/>
                  <a:pt x="745" y="239"/>
                </a:cubicBezTo>
                <a:cubicBezTo>
                  <a:pt x="744" y="239"/>
                  <a:pt x="744" y="239"/>
                  <a:pt x="744" y="239"/>
                </a:cubicBezTo>
                <a:cubicBezTo>
                  <a:pt x="743" y="237"/>
                  <a:pt x="741" y="236"/>
                  <a:pt x="739" y="233"/>
                </a:cubicBezTo>
                <a:cubicBezTo>
                  <a:pt x="739" y="232"/>
                  <a:pt x="739" y="231"/>
                  <a:pt x="740" y="231"/>
                </a:cubicBezTo>
                <a:cubicBezTo>
                  <a:pt x="741" y="233"/>
                  <a:pt x="741" y="234"/>
                  <a:pt x="742" y="234"/>
                </a:cubicBezTo>
                <a:cubicBezTo>
                  <a:pt x="742" y="234"/>
                  <a:pt x="741" y="231"/>
                  <a:pt x="743" y="234"/>
                </a:cubicBezTo>
                <a:cubicBezTo>
                  <a:pt x="743" y="233"/>
                  <a:pt x="742" y="232"/>
                  <a:pt x="741" y="231"/>
                </a:cubicBezTo>
                <a:cubicBezTo>
                  <a:pt x="740" y="230"/>
                  <a:pt x="741" y="231"/>
                  <a:pt x="740" y="231"/>
                </a:cubicBezTo>
                <a:cubicBezTo>
                  <a:pt x="739" y="227"/>
                  <a:pt x="737" y="229"/>
                  <a:pt x="736" y="226"/>
                </a:cubicBezTo>
                <a:cubicBezTo>
                  <a:pt x="736" y="227"/>
                  <a:pt x="735" y="226"/>
                  <a:pt x="733" y="224"/>
                </a:cubicBezTo>
                <a:cubicBezTo>
                  <a:pt x="734" y="226"/>
                  <a:pt x="737" y="229"/>
                  <a:pt x="738" y="231"/>
                </a:cubicBezTo>
                <a:cubicBezTo>
                  <a:pt x="735" y="229"/>
                  <a:pt x="728" y="217"/>
                  <a:pt x="726" y="218"/>
                </a:cubicBezTo>
                <a:cubicBezTo>
                  <a:pt x="724" y="215"/>
                  <a:pt x="723" y="213"/>
                  <a:pt x="721" y="210"/>
                </a:cubicBezTo>
                <a:cubicBezTo>
                  <a:pt x="715" y="205"/>
                  <a:pt x="707" y="195"/>
                  <a:pt x="698" y="186"/>
                </a:cubicBezTo>
                <a:cubicBezTo>
                  <a:pt x="698" y="186"/>
                  <a:pt x="701" y="188"/>
                  <a:pt x="700" y="188"/>
                </a:cubicBezTo>
                <a:cubicBezTo>
                  <a:pt x="696" y="184"/>
                  <a:pt x="693" y="182"/>
                  <a:pt x="688" y="177"/>
                </a:cubicBezTo>
                <a:cubicBezTo>
                  <a:pt x="689" y="178"/>
                  <a:pt x="690" y="178"/>
                  <a:pt x="690" y="177"/>
                </a:cubicBezTo>
                <a:cubicBezTo>
                  <a:pt x="689" y="176"/>
                  <a:pt x="689" y="176"/>
                  <a:pt x="689" y="176"/>
                </a:cubicBezTo>
                <a:cubicBezTo>
                  <a:pt x="687" y="174"/>
                  <a:pt x="689" y="177"/>
                  <a:pt x="688" y="177"/>
                </a:cubicBezTo>
                <a:cubicBezTo>
                  <a:pt x="686" y="175"/>
                  <a:pt x="687" y="175"/>
                  <a:pt x="686" y="174"/>
                </a:cubicBezTo>
                <a:cubicBezTo>
                  <a:pt x="684" y="172"/>
                  <a:pt x="686" y="174"/>
                  <a:pt x="684" y="173"/>
                </a:cubicBezTo>
                <a:cubicBezTo>
                  <a:pt x="683" y="172"/>
                  <a:pt x="682" y="169"/>
                  <a:pt x="681" y="170"/>
                </a:cubicBezTo>
                <a:cubicBezTo>
                  <a:pt x="680" y="169"/>
                  <a:pt x="681" y="169"/>
                  <a:pt x="681" y="169"/>
                </a:cubicBezTo>
                <a:cubicBezTo>
                  <a:pt x="680" y="168"/>
                  <a:pt x="679" y="168"/>
                  <a:pt x="678" y="168"/>
                </a:cubicBezTo>
                <a:cubicBezTo>
                  <a:pt x="676" y="165"/>
                  <a:pt x="672" y="163"/>
                  <a:pt x="672" y="161"/>
                </a:cubicBezTo>
                <a:cubicBezTo>
                  <a:pt x="670" y="160"/>
                  <a:pt x="662" y="154"/>
                  <a:pt x="657" y="149"/>
                </a:cubicBezTo>
                <a:cubicBezTo>
                  <a:pt x="660" y="152"/>
                  <a:pt x="654" y="146"/>
                  <a:pt x="654" y="146"/>
                </a:cubicBezTo>
                <a:cubicBezTo>
                  <a:pt x="653" y="145"/>
                  <a:pt x="653" y="145"/>
                  <a:pt x="652" y="145"/>
                </a:cubicBezTo>
                <a:cubicBezTo>
                  <a:pt x="648" y="142"/>
                  <a:pt x="644" y="139"/>
                  <a:pt x="645" y="138"/>
                </a:cubicBezTo>
                <a:cubicBezTo>
                  <a:pt x="641" y="135"/>
                  <a:pt x="641" y="135"/>
                  <a:pt x="641" y="135"/>
                </a:cubicBezTo>
                <a:cubicBezTo>
                  <a:pt x="642" y="137"/>
                  <a:pt x="641" y="136"/>
                  <a:pt x="640" y="136"/>
                </a:cubicBezTo>
                <a:cubicBezTo>
                  <a:pt x="637" y="133"/>
                  <a:pt x="636" y="133"/>
                  <a:pt x="633" y="130"/>
                </a:cubicBezTo>
                <a:cubicBezTo>
                  <a:pt x="633" y="130"/>
                  <a:pt x="632" y="129"/>
                  <a:pt x="633" y="129"/>
                </a:cubicBezTo>
                <a:cubicBezTo>
                  <a:pt x="629" y="126"/>
                  <a:pt x="631" y="129"/>
                  <a:pt x="629" y="128"/>
                </a:cubicBezTo>
                <a:cubicBezTo>
                  <a:pt x="628" y="126"/>
                  <a:pt x="625" y="124"/>
                  <a:pt x="622" y="123"/>
                </a:cubicBezTo>
                <a:cubicBezTo>
                  <a:pt x="626" y="124"/>
                  <a:pt x="620" y="120"/>
                  <a:pt x="618" y="120"/>
                </a:cubicBezTo>
                <a:cubicBezTo>
                  <a:pt x="618" y="120"/>
                  <a:pt x="620" y="122"/>
                  <a:pt x="621" y="122"/>
                </a:cubicBezTo>
                <a:cubicBezTo>
                  <a:pt x="623" y="124"/>
                  <a:pt x="615" y="119"/>
                  <a:pt x="617" y="119"/>
                </a:cubicBezTo>
                <a:cubicBezTo>
                  <a:pt x="614" y="117"/>
                  <a:pt x="614" y="117"/>
                  <a:pt x="614" y="117"/>
                </a:cubicBezTo>
                <a:cubicBezTo>
                  <a:pt x="613" y="116"/>
                  <a:pt x="614" y="118"/>
                  <a:pt x="611" y="116"/>
                </a:cubicBezTo>
                <a:cubicBezTo>
                  <a:pt x="611" y="116"/>
                  <a:pt x="613" y="116"/>
                  <a:pt x="612" y="115"/>
                </a:cubicBezTo>
                <a:cubicBezTo>
                  <a:pt x="610" y="114"/>
                  <a:pt x="612" y="116"/>
                  <a:pt x="610" y="115"/>
                </a:cubicBezTo>
                <a:cubicBezTo>
                  <a:pt x="607" y="112"/>
                  <a:pt x="602" y="111"/>
                  <a:pt x="596" y="106"/>
                </a:cubicBezTo>
                <a:cubicBezTo>
                  <a:pt x="596" y="106"/>
                  <a:pt x="595" y="106"/>
                  <a:pt x="595" y="105"/>
                </a:cubicBezTo>
                <a:cubicBezTo>
                  <a:pt x="594" y="105"/>
                  <a:pt x="594" y="105"/>
                  <a:pt x="594" y="106"/>
                </a:cubicBezTo>
                <a:cubicBezTo>
                  <a:pt x="587" y="101"/>
                  <a:pt x="583" y="99"/>
                  <a:pt x="576" y="95"/>
                </a:cubicBezTo>
                <a:cubicBezTo>
                  <a:pt x="573" y="94"/>
                  <a:pt x="576" y="96"/>
                  <a:pt x="575" y="96"/>
                </a:cubicBezTo>
                <a:cubicBezTo>
                  <a:pt x="575" y="95"/>
                  <a:pt x="571" y="94"/>
                  <a:pt x="571" y="94"/>
                </a:cubicBezTo>
                <a:cubicBezTo>
                  <a:pt x="568" y="92"/>
                  <a:pt x="566" y="90"/>
                  <a:pt x="562" y="88"/>
                </a:cubicBezTo>
                <a:cubicBezTo>
                  <a:pt x="555" y="85"/>
                  <a:pt x="548" y="82"/>
                  <a:pt x="540" y="79"/>
                </a:cubicBezTo>
                <a:cubicBezTo>
                  <a:pt x="540" y="78"/>
                  <a:pt x="540" y="78"/>
                  <a:pt x="540" y="78"/>
                </a:cubicBezTo>
                <a:cubicBezTo>
                  <a:pt x="537" y="77"/>
                  <a:pt x="535" y="76"/>
                  <a:pt x="533" y="75"/>
                </a:cubicBezTo>
                <a:cubicBezTo>
                  <a:pt x="530" y="74"/>
                  <a:pt x="529" y="74"/>
                  <a:pt x="526" y="73"/>
                </a:cubicBezTo>
                <a:cubicBezTo>
                  <a:pt x="526" y="72"/>
                  <a:pt x="526" y="72"/>
                  <a:pt x="526" y="72"/>
                </a:cubicBezTo>
                <a:cubicBezTo>
                  <a:pt x="521" y="71"/>
                  <a:pt x="517" y="70"/>
                  <a:pt x="514" y="68"/>
                </a:cubicBezTo>
                <a:cubicBezTo>
                  <a:pt x="510" y="68"/>
                  <a:pt x="504" y="65"/>
                  <a:pt x="502" y="64"/>
                </a:cubicBezTo>
                <a:cubicBezTo>
                  <a:pt x="500" y="63"/>
                  <a:pt x="502" y="65"/>
                  <a:pt x="502" y="65"/>
                </a:cubicBezTo>
                <a:cubicBezTo>
                  <a:pt x="497" y="64"/>
                  <a:pt x="493" y="62"/>
                  <a:pt x="488" y="60"/>
                </a:cubicBezTo>
                <a:cubicBezTo>
                  <a:pt x="485" y="60"/>
                  <a:pt x="481" y="60"/>
                  <a:pt x="480" y="59"/>
                </a:cubicBezTo>
                <a:cubicBezTo>
                  <a:pt x="483" y="59"/>
                  <a:pt x="485" y="60"/>
                  <a:pt x="484" y="59"/>
                </a:cubicBezTo>
                <a:cubicBezTo>
                  <a:pt x="482" y="58"/>
                  <a:pt x="480" y="59"/>
                  <a:pt x="480" y="58"/>
                </a:cubicBezTo>
                <a:cubicBezTo>
                  <a:pt x="479" y="58"/>
                  <a:pt x="479" y="58"/>
                  <a:pt x="479" y="59"/>
                </a:cubicBezTo>
                <a:cubicBezTo>
                  <a:pt x="474" y="58"/>
                  <a:pt x="470" y="57"/>
                  <a:pt x="468" y="56"/>
                </a:cubicBezTo>
                <a:cubicBezTo>
                  <a:pt x="466" y="56"/>
                  <a:pt x="469" y="57"/>
                  <a:pt x="464" y="56"/>
                </a:cubicBezTo>
                <a:cubicBezTo>
                  <a:pt x="465" y="55"/>
                  <a:pt x="461" y="54"/>
                  <a:pt x="459" y="54"/>
                </a:cubicBezTo>
                <a:cubicBezTo>
                  <a:pt x="459" y="54"/>
                  <a:pt x="459" y="54"/>
                  <a:pt x="458" y="54"/>
                </a:cubicBezTo>
                <a:cubicBezTo>
                  <a:pt x="458" y="54"/>
                  <a:pt x="459" y="54"/>
                  <a:pt x="461" y="54"/>
                </a:cubicBezTo>
                <a:cubicBezTo>
                  <a:pt x="461" y="53"/>
                  <a:pt x="460" y="53"/>
                  <a:pt x="458" y="53"/>
                </a:cubicBezTo>
                <a:cubicBezTo>
                  <a:pt x="457" y="53"/>
                  <a:pt x="456" y="53"/>
                  <a:pt x="456" y="54"/>
                </a:cubicBezTo>
                <a:cubicBezTo>
                  <a:pt x="453" y="53"/>
                  <a:pt x="452" y="52"/>
                  <a:pt x="450" y="52"/>
                </a:cubicBezTo>
                <a:cubicBezTo>
                  <a:pt x="448" y="51"/>
                  <a:pt x="451" y="52"/>
                  <a:pt x="450" y="52"/>
                </a:cubicBezTo>
                <a:cubicBezTo>
                  <a:pt x="442" y="51"/>
                  <a:pt x="434" y="51"/>
                  <a:pt x="428" y="49"/>
                </a:cubicBezTo>
                <a:cubicBezTo>
                  <a:pt x="426" y="49"/>
                  <a:pt x="429" y="50"/>
                  <a:pt x="427" y="50"/>
                </a:cubicBezTo>
                <a:cubicBezTo>
                  <a:pt x="424" y="50"/>
                  <a:pt x="424" y="49"/>
                  <a:pt x="426" y="49"/>
                </a:cubicBezTo>
                <a:cubicBezTo>
                  <a:pt x="426" y="48"/>
                  <a:pt x="425" y="49"/>
                  <a:pt x="423" y="48"/>
                </a:cubicBezTo>
                <a:cubicBezTo>
                  <a:pt x="423" y="49"/>
                  <a:pt x="423" y="49"/>
                  <a:pt x="423" y="49"/>
                </a:cubicBezTo>
                <a:cubicBezTo>
                  <a:pt x="416" y="48"/>
                  <a:pt x="410" y="48"/>
                  <a:pt x="402" y="48"/>
                </a:cubicBezTo>
                <a:cubicBezTo>
                  <a:pt x="404" y="47"/>
                  <a:pt x="401" y="47"/>
                  <a:pt x="397" y="47"/>
                </a:cubicBezTo>
                <a:cubicBezTo>
                  <a:pt x="397" y="46"/>
                  <a:pt x="397" y="46"/>
                  <a:pt x="397" y="46"/>
                </a:cubicBezTo>
                <a:cubicBezTo>
                  <a:pt x="394" y="47"/>
                  <a:pt x="393" y="46"/>
                  <a:pt x="391" y="46"/>
                </a:cubicBezTo>
                <a:cubicBezTo>
                  <a:pt x="389" y="46"/>
                  <a:pt x="395" y="47"/>
                  <a:pt x="393" y="48"/>
                </a:cubicBezTo>
                <a:cubicBezTo>
                  <a:pt x="390" y="47"/>
                  <a:pt x="390" y="47"/>
                  <a:pt x="388" y="47"/>
                </a:cubicBezTo>
                <a:cubicBezTo>
                  <a:pt x="386" y="47"/>
                  <a:pt x="388" y="47"/>
                  <a:pt x="388" y="48"/>
                </a:cubicBezTo>
                <a:cubicBezTo>
                  <a:pt x="385" y="48"/>
                  <a:pt x="385" y="47"/>
                  <a:pt x="382" y="48"/>
                </a:cubicBezTo>
                <a:cubicBezTo>
                  <a:pt x="382" y="47"/>
                  <a:pt x="383" y="47"/>
                  <a:pt x="384" y="47"/>
                </a:cubicBezTo>
                <a:cubicBezTo>
                  <a:pt x="383" y="47"/>
                  <a:pt x="380" y="48"/>
                  <a:pt x="380" y="47"/>
                </a:cubicBezTo>
                <a:cubicBezTo>
                  <a:pt x="379" y="47"/>
                  <a:pt x="380" y="48"/>
                  <a:pt x="377" y="48"/>
                </a:cubicBezTo>
                <a:cubicBezTo>
                  <a:pt x="376" y="47"/>
                  <a:pt x="377" y="47"/>
                  <a:pt x="376" y="47"/>
                </a:cubicBezTo>
                <a:cubicBezTo>
                  <a:pt x="375" y="47"/>
                  <a:pt x="371" y="48"/>
                  <a:pt x="375" y="48"/>
                </a:cubicBezTo>
                <a:cubicBezTo>
                  <a:pt x="374" y="48"/>
                  <a:pt x="373" y="49"/>
                  <a:pt x="371" y="49"/>
                </a:cubicBezTo>
                <a:cubicBezTo>
                  <a:pt x="372" y="48"/>
                  <a:pt x="370" y="48"/>
                  <a:pt x="371" y="47"/>
                </a:cubicBezTo>
                <a:cubicBezTo>
                  <a:pt x="370" y="47"/>
                  <a:pt x="367" y="48"/>
                  <a:pt x="368" y="47"/>
                </a:cubicBezTo>
                <a:cubicBezTo>
                  <a:pt x="365" y="48"/>
                  <a:pt x="363" y="48"/>
                  <a:pt x="361" y="48"/>
                </a:cubicBezTo>
                <a:cubicBezTo>
                  <a:pt x="361" y="47"/>
                  <a:pt x="362" y="47"/>
                  <a:pt x="363" y="47"/>
                </a:cubicBezTo>
                <a:cubicBezTo>
                  <a:pt x="363" y="47"/>
                  <a:pt x="361" y="47"/>
                  <a:pt x="359" y="47"/>
                </a:cubicBezTo>
                <a:cubicBezTo>
                  <a:pt x="358" y="48"/>
                  <a:pt x="355" y="48"/>
                  <a:pt x="351" y="48"/>
                </a:cubicBezTo>
                <a:cubicBezTo>
                  <a:pt x="351" y="49"/>
                  <a:pt x="354" y="48"/>
                  <a:pt x="354" y="49"/>
                </a:cubicBezTo>
                <a:cubicBezTo>
                  <a:pt x="350" y="50"/>
                  <a:pt x="351" y="49"/>
                  <a:pt x="348" y="49"/>
                </a:cubicBezTo>
                <a:cubicBezTo>
                  <a:pt x="350" y="50"/>
                  <a:pt x="344" y="50"/>
                  <a:pt x="342" y="50"/>
                </a:cubicBezTo>
                <a:cubicBezTo>
                  <a:pt x="340" y="50"/>
                  <a:pt x="343" y="50"/>
                  <a:pt x="341" y="51"/>
                </a:cubicBezTo>
                <a:cubicBezTo>
                  <a:pt x="336" y="52"/>
                  <a:pt x="334" y="52"/>
                  <a:pt x="332" y="51"/>
                </a:cubicBezTo>
                <a:cubicBezTo>
                  <a:pt x="334" y="50"/>
                  <a:pt x="335" y="51"/>
                  <a:pt x="335" y="51"/>
                </a:cubicBezTo>
                <a:cubicBezTo>
                  <a:pt x="336" y="51"/>
                  <a:pt x="336" y="51"/>
                  <a:pt x="336" y="51"/>
                </a:cubicBezTo>
                <a:cubicBezTo>
                  <a:pt x="336" y="50"/>
                  <a:pt x="334" y="51"/>
                  <a:pt x="335" y="50"/>
                </a:cubicBezTo>
                <a:cubicBezTo>
                  <a:pt x="331" y="51"/>
                  <a:pt x="331" y="51"/>
                  <a:pt x="331" y="52"/>
                </a:cubicBezTo>
                <a:cubicBezTo>
                  <a:pt x="330" y="51"/>
                  <a:pt x="326" y="51"/>
                  <a:pt x="326" y="52"/>
                </a:cubicBezTo>
                <a:cubicBezTo>
                  <a:pt x="323" y="53"/>
                  <a:pt x="325" y="52"/>
                  <a:pt x="326" y="51"/>
                </a:cubicBezTo>
                <a:cubicBezTo>
                  <a:pt x="326" y="51"/>
                  <a:pt x="322" y="52"/>
                  <a:pt x="321" y="53"/>
                </a:cubicBezTo>
                <a:cubicBezTo>
                  <a:pt x="321" y="53"/>
                  <a:pt x="322" y="53"/>
                  <a:pt x="323" y="53"/>
                </a:cubicBezTo>
                <a:cubicBezTo>
                  <a:pt x="321" y="53"/>
                  <a:pt x="315" y="54"/>
                  <a:pt x="316" y="55"/>
                </a:cubicBezTo>
                <a:cubicBezTo>
                  <a:pt x="314" y="56"/>
                  <a:pt x="314" y="55"/>
                  <a:pt x="312" y="55"/>
                </a:cubicBezTo>
                <a:cubicBezTo>
                  <a:pt x="313" y="55"/>
                  <a:pt x="314" y="54"/>
                  <a:pt x="315" y="54"/>
                </a:cubicBezTo>
                <a:cubicBezTo>
                  <a:pt x="317" y="53"/>
                  <a:pt x="317" y="53"/>
                  <a:pt x="320" y="52"/>
                </a:cubicBezTo>
                <a:cubicBezTo>
                  <a:pt x="319" y="52"/>
                  <a:pt x="314" y="54"/>
                  <a:pt x="313" y="54"/>
                </a:cubicBezTo>
                <a:cubicBezTo>
                  <a:pt x="310" y="54"/>
                  <a:pt x="314" y="54"/>
                  <a:pt x="312" y="55"/>
                </a:cubicBezTo>
                <a:cubicBezTo>
                  <a:pt x="308" y="56"/>
                  <a:pt x="308" y="56"/>
                  <a:pt x="304" y="57"/>
                </a:cubicBezTo>
                <a:cubicBezTo>
                  <a:pt x="305" y="57"/>
                  <a:pt x="307" y="57"/>
                  <a:pt x="307" y="56"/>
                </a:cubicBezTo>
                <a:cubicBezTo>
                  <a:pt x="305" y="56"/>
                  <a:pt x="302" y="58"/>
                  <a:pt x="302" y="58"/>
                </a:cubicBezTo>
                <a:cubicBezTo>
                  <a:pt x="299" y="59"/>
                  <a:pt x="304" y="57"/>
                  <a:pt x="301" y="58"/>
                </a:cubicBezTo>
                <a:cubicBezTo>
                  <a:pt x="301" y="57"/>
                  <a:pt x="304" y="57"/>
                  <a:pt x="303" y="57"/>
                </a:cubicBezTo>
                <a:cubicBezTo>
                  <a:pt x="303" y="57"/>
                  <a:pt x="298" y="58"/>
                  <a:pt x="297" y="58"/>
                </a:cubicBezTo>
                <a:cubicBezTo>
                  <a:pt x="298" y="59"/>
                  <a:pt x="301" y="57"/>
                  <a:pt x="301" y="58"/>
                </a:cubicBezTo>
                <a:cubicBezTo>
                  <a:pt x="296" y="59"/>
                  <a:pt x="295" y="60"/>
                  <a:pt x="292" y="60"/>
                </a:cubicBezTo>
                <a:cubicBezTo>
                  <a:pt x="290" y="61"/>
                  <a:pt x="289" y="61"/>
                  <a:pt x="289" y="62"/>
                </a:cubicBezTo>
                <a:cubicBezTo>
                  <a:pt x="288" y="62"/>
                  <a:pt x="283" y="62"/>
                  <a:pt x="283" y="63"/>
                </a:cubicBezTo>
                <a:cubicBezTo>
                  <a:pt x="279" y="65"/>
                  <a:pt x="279" y="64"/>
                  <a:pt x="276" y="65"/>
                </a:cubicBezTo>
                <a:cubicBezTo>
                  <a:pt x="274" y="66"/>
                  <a:pt x="277" y="66"/>
                  <a:pt x="276" y="66"/>
                </a:cubicBezTo>
                <a:cubicBezTo>
                  <a:pt x="273" y="67"/>
                  <a:pt x="273" y="67"/>
                  <a:pt x="273" y="67"/>
                </a:cubicBezTo>
                <a:cubicBezTo>
                  <a:pt x="275" y="65"/>
                  <a:pt x="264" y="71"/>
                  <a:pt x="260" y="71"/>
                </a:cubicBezTo>
                <a:cubicBezTo>
                  <a:pt x="259" y="72"/>
                  <a:pt x="259" y="72"/>
                  <a:pt x="259" y="73"/>
                </a:cubicBezTo>
                <a:cubicBezTo>
                  <a:pt x="257" y="73"/>
                  <a:pt x="254" y="74"/>
                  <a:pt x="253" y="75"/>
                </a:cubicBezTo>
                <a:cubicBezTo>
                  <a:pt x="253" y="75"/>
                  <a:pt x="253" y="75"/>
                  <a:pt x="253" y="74"/>
                </a:cubicBezTo>
                <a:cubicBezTo>
                  <a:pt x="248" y="77"/>
                  <a:pt x="246" y="78"/>
                  <a:pt x="239" y="81"/>
                </a:cubicBezTo>
                <a:cubicBezTo>
                  <a:pt x="240" y="80"/>
                  <a:pt x="244" y="78"/>
                  <a:pt x="245" y="78"/>
                </a:cubicBezTo>
                <a:cubicBezTo>
                  <a:pt x="244" y="78"/>
                  <a:pt x="244" y="76"/>
                  <a:pt x="243" y="77"/>
                </a:cubicBezTo>
                <a:cubicBezTo>
                  <a:pt x="243" y="77"/>
                  <a:pt x="242" y="76"/>
                  <a:pt x="243" y="75"/>
                </a:cubicBezTo>
                <a:cubicBezTo>
                  <a:pt x="244" y="75"/>
                  <a:pt x="244" y="75"/>
                  <a:pt x="245" y="75"/>
                </a:cubicBezTo>
                <a:cubicBezTo>
                  <a:pt x="247" y="74"/>
                  <a:pt x="243" y="74"/>
                  <a:pt x="246" y="73"/>
                </a:cubicBezTo>
                <a:cubicBezTo>
                  <a:pt x="245" y="73"/>
                  <a:pt x="244" y="74"/>
                  <a:pt x="243" y="75"/>
                </a:cubicBezTo>
                <a:cubicBezTo>
                  <a:pt x="243" y="73"/>
                  <a:pt x="250" y="71"/>
                  <a:pt x="252" y="71"/>
                </a:cubicBezTo>
                <a:cubicBezTo>
                  <a:pt x="254" y="70"/>
                  <a:pt x="251" y="70"/>
                  <a:pt x="254" y="69"/>
                </a:cubicBezTo>
                <a:cubicBezTo>
                  <a:pt x="247" y="70"/>
                  <a:pt x="242" y="74"/>
                  <a:pt x="237" y="76"/>
                </a:cubicBezTo>
                <a:cubicBezTo>
                  <a:pt x="236" y="76"/>
                  <a:pt x="237" y="76"/>
                  <a:pt x="237" y="76"/>
                </a:cubicBezTo>
                <a:cubicBezTo>
                  <a:pt x="235" y="77"/>
                  <a:pt x="233" y="78"/>
                  <a:pt x="233" y="78"/>
                </a:cubicBezTo>
                <a:cubicBezTo>
                  <a:pt x="234" y="77"/>
                  <a:pt x="235" y="77"/>
                  <a:pt x="235" y="76"/>
                </a:cubicBezTo>
                <a:cubicBezTo>
                  <a:pt x="232" y="77"/>
                  <a:pt x="234" y="77"/>
                  <a:pt x="231" y="78"/>
                </a:cubicBezTo>
                <a:cubicBezTo>
                  <a:pt x="229" y="78"/>
                  <a:pt x="231" y="77"/>
                  <a:pt x="227" y="79"/>
                </a:cubicBezTo>
                <a:cubicBezTo>
                  <a:pt x="227" y="78"/>
                  <a:pt x="230" y="77"/>
                  <a:pt x="231" y="76"/>
                </a:cubicBezTo>
                <a:cubicBezTo>
                  <a:pt x="229" y="77"/>
                  <a:pt x="228" y="77"/>
                  <a:pt x="224" y="79"/>
                </a:cubicBezTo>
                <a:cubicBezTo>
                  <a:pt x="227" y="76"/>
                  <a:pt x="236" y="73"/>
                  <a:pt x="233" y="72"/>
                </a:cubicBezTo>
                <a:cubicBezTo>
                  <a:pt x="233" y="72"/>
                  <a:pt x="231" y="72"/>
                  <a:pt x="231" y="72"/>
                </a:cubicBezTo>
                <a:cubicBezTo>
                  <a:pt x="229" y="73"/>
                  <a:pt x="233" y="72"/>
                  <a:pt x="230" y="73"/>
                </a:cubicBezTo>
                <a:cubicBezTo>
                  <a:pt x="230" y="73"/>
                  <a:pt x="232" y="73"/>
                  <a:pt x="232" y="73"/>
                </a:cubicBezTo>
                <a:cubicBezTo>
                  <a:pt x="227" y="76"/>
                  <a:pt x="222" y="80"/>
                  <a:pt x="219" y="80"/>
                </a:cubicBezTo>
                <a:cubicBezTo>
                  <a:pt x="223" y="79"/>
                  <a:pt x="216" y="80"/>
                  <a:pt x="222" y="77"/>
                </a:cubicBezTo>
                <a:cubicBezTo>
                  <a:pt x="221" y="76"/>
                  <a:pt x="216" y="78"/>
                  <a:pt x="218" y="76"/>
                </a:cubicBezTo>
                <a:cubicBezTo>
                  <a:pt x="217" y="77"/>
                  <a:pt x="210" y="80"/>
                  <a:pt x="210" y="82"/>
                </a:cubicBezTo>
                <a:cubicBezTo>
                  <a:pt x="205" y="84"/>
                  <a:pt x="210" y="81"/>
                  <a:pt x="203" y="85"/>
                </a:cubicBezTo>
                <a:cubicBezTo>
                  <a:pt x="207" y="83"/>
                  <a:pt x="205" y="85"/>
                  <a:pt x="206" y="85"/>
                </a:cubicBezTo>
                <a:cubicBezTo>
                  <a:pt x="203" y="87"/>
                  <a:pt x="205" y="85"/>
                  <a:pt x="204" y="85"/>
                </a:cubicBezTo>
                <a:cubicBezTo>
                  <a:pt x="202" y="86"/>
                  <a:pt x="201" y="88"/>
                  <a:pt x="199" y="88"/>
                </a:cubicBezTo>
                <a:cubicBezTo>
                  <a:pt x="199" y="89"/>
                  <a:pt x="199" y="89"/>
                  <a:pt x="198" y="89"/>
                </a:cubicBezTo>
                <a:cubicBezTo>
                  <a:pt x="200" y="89"/>
                  <a:pt x="202" y="86"/>
                  <a:pt x="203" y="86"/>
                </a:cubicBezTo>
                <a:cubicBezTo>
                  <a:pt x="204" y="87"/>
                  <a:pt x="202" y="88"/>
                  <a:pt x="201" y="88"/>
                </a:cubicBezTo>
                <a:cubicBezTo>
                  <a:pt x="201" y="89"/>
                  <a:pt x="205" y="87"/>
                  <a:pt x="202" y="89"/>
                </a:cubicBezTo>
                <a:cubicBezTo>
                  <a:pt x="202" y="89"/>
                  <a:pt x="204" y="88"/>
                  <a:pt x="205" y="87"/>
                </a:cubicBezTo>
                <a:cubicBezTo>
                  <a:pt x="203" y="89"/>
                  <a:pt x="198" y="91"/>
                  <a:pt x="198" y="92"/>
                </a:cubicBezTo>
                <a:cubicBezTo>
                  <a:pt x="198" y="92"/>
                  <a:pt x="198" y="91"/>
                  <a:pt x="195" y="93"/>
                </a:cubicBezTo>
                <a:cubicBezTo>
                  <a:pt x="195" y="92"/>
                  <a:pt x="196" y="92"/>
                  <a:pt x="197" y="91"/>
                </a:cubicBezTo>
                <a:cubicBezTo>
                  <a:pt x="196" y="91"/>
                  <a:pt x="194" y="92"/>
                  <a:pt x="192" y="94"/>
                </a:cubicBezTo>
                <a:cubicBezTo>
                  <a:pt x="191" y="94"/>
                  <a:pt x="190" y="94"/>
                  <a:pt x="190" y="93"/>
                </a:cubicBezTo>
                <a:cubicBezTo>
                  <a:pt x="187" y="95"/>
                  <a:pt x="190" y="94"/>
                  <a:pt x="187" y="96"/>
                </a:cubicBezTo>
                <a:cubicBezTo>
                  <a:pt x="189" y="94"/>
                  <a:pt x="184" y="97"/>
                  <a:pt x="184" y="96"/>
                </a:cubicBezTo>
                <a:cubicBezTo>
                  <a:pt x="182" y="98"/>
                  <a:pt x="180" y="99"/>
                  <a:pt x="179" y="100"/>
                </a:cubicBezTo>
                <a:cubicBezTo>
                  <a:pt x="179" y="99"/>
                  <a:pt x="179" y="98"/>
                  <a:pt x="181" y="98"/>
                </a:cubicBezTo>
                <a:cubicBezTo>
                  <a:pt x="184" y="96"/>
                  <a:pt x="180" y="98"/>
                  <a:pt x="180" y="97"/>
                </a:cubicBezTo>
                <a:cubicBezTo>
                  <a:pt x="184" y="95"/>
                  <a:pt x="186" y="93"/>
                  <a:pt x="191" y="90"/>
                </a:cubicBezTo>
                <a:cubicBezTo>
                  <a:pt x="188" y="92"/>
                  <a:pt x="189" y="92"/>
                  <a:pt x="192" y="90"/>
                </a:cubicBezTo>
                <a:cubicBezTo>
                  <a:pt x="194" y="88"/>
                  <a:pt x="194" y="88"/>
                  <a:pt x="198" y="86"/>
                </a:cubicBezTo>
                <a:cubicBezTo>
                  <a:pt x="200" y="85"/>
                  <a:pt x="196" y="86"/>
                  <a:pt x="200" y="84"/>
                </a:cubicBezTo>
                <a:cubicBezTo>
                  <a:pt x="199" y="85"/>
                  <a:pt x="204" y="82"/>
                  <a:pt x="204" y="84"/>
                </a:cubicBezTo>
                <a:cubicBezTo>
                  <a:pt x="204" y="84"/>
                  <a:pt x="206" y="83"/>
                  <a:pt x="208" y="82"/>
                </a:cubicBezTo>
                <a:cubicBezTo>
                  <a:pt x="208" y="81"/>
                  <a:pt x="209" y="81"/>
                  <a:pt x="209" y="81"/>
                </a:cubicBezTo>
                <a:cubicBezTo>
                  <a:pt x="209" y="80"/>
                  <a:pt x="205" y="82"/>
                  <a:pt x="207" y="82"/>
                </a:cubicBezTo>
                <a:cubicBezTo>
                  <a:pt x="205" y="83"/>
                  <a:pt x="203" y="84"/>
                  <a:pt x="203" y="83"/>
                </a:cubicBezTo>
                <a:cubicBezTo>
                  <a:pt x="206" y="81"/>
                  <a:pt x="206" y="81"/>
                  <a:pt x="206" y="81"/>
                </a:cubicBezTo>
                <a:cubicBezTo>
                  <a:pt x="206" y="81"/>
                  <a:pt x="205" y="82"/>
                  <a:pt x="206" y="82"/>
                </a:cubicBezTo>
                <a:cubicBezTo>
                  <a:pt x="208" y="81"/>
                  <a:pt x="207" y="81"/>
                  <a:pt x="207" y="80"/>
                </a:cubicBezTo>
                <a:cubicBezTo>
                  <a:pt x="208" y="79"/>
                  <a:pt x="209" y="80"/>
                  <a:pt x="210" y="79"/>
                </a:cubicBezTo>
                <a:cubicBezTo>
                  <a:pt x="212" y="78"/>
                  <a:pt x="209" y="81"/>
                  <a:pt x="213" y="79"/>
                </a:cubicBezTo>
                <a:cubicBezTo>
                  <a:pt x="215" y="78"/>
                  <a:pt x="214" y="77"/>
                  <a:pt x="216" y="77"/>
                </a:cubicBezTo>
                <a:cubicBezTo>
                  <a:pt x="218" y="75"/>
                  <a:pt x="218" y="73"/>
                  <a:pt x="217" y="73"/>
                </a:cubicBezTo>
                <a:cubicBezTo>
                  <a:pt x="216" y="74"/>
                  <a:pt x="216" y="74"/>
                  <a:pt x="213" y="75"/>
                </a:cubicBezTo>
                <a:cubicBezTo>
                  <a:pt x="213" y="74"/>
                  <a:pt x="213" y="74"/>
                  <a:pt x="213" y="74"/>
                </a:cubicBezTo>
                <a:cubicBezTo>
                  <a:pt x="219" y="70"/>
                  <a:pt x="218" y="72"/>
                  <a:pt x="221" y="70"/>
                </a:cubicBezTo>
                <a:cubicBezTo>
                  <a:pt x="222" y="70"/>
                  <a:pt x="220" y="71"/>
                  <a:pt x="219" y="72"/>
                </a:cubicBezTo>
                <a:cubicBezTo>
                  <a:pt x="218" y="73"/>
                  <a:pt x="221" y="71"/>
                  <a:pt x="219" y="73"/>
                </a:cubicBezTo>
                <a:cubicBezTo>
                  <a:pt x="219" y="73"/>
                  <a:pt x="223" y="71"/>
                  <a:pt x="222" y="72"/>
                </a:cubicBezTo>
                <a:cubicBezTo>
                  <a:pt x="224" y="71"/>
                  <a:pt x="221" y="72"/>
                  <a:pt x="221" y="71"/>
                </a:cubicBezTo>
                <a:cubicBezTo>
                  <a:pt x="224" y="70"/>
                  <a:pt x="221" y="70"/>
                  <a:pt x="224" y="68"/>
                </a:cubicBezTo>
                <a:cubicBezTo>
                  <a:pt x="224" y="68"/>
                  <a:pt x="224" y="68"/>
                  <a:pt x="224" y="68"/>
                </a:cubicBezTo>
                <a:cubicBezTo>
                  <a:pt x="223" y="68"/>
                  <a:pt x="223" y="69"/>
                  <a:pt x="221" y="70"/>
                </a:cubicBezTo>
                <a:cubicBezTo>
                  <a:pt x="224" y="66"/>
                  <a:pt x="231" y="66"/>
                  <a:pt x="235" y="63"/>
                </a:cubicBezTo>
                <a:cubicBezTo>
                  <a:pt x="234" y="63"/>
                  <a:pt x="233" y="64"/>
                  <a:pt x="234" y="62"/>
                </a:cubicBezTo>
                <a:cubicBezTo>
                  <a:pt x="231" y="63"/>
                  <a:pt x="234" y="63"/>
                  <a:pt x="231" y="64"/>
                </a:cubicBezTo>
                <a:cubicBezTo>
                  <a:pt x="233" y="63"/>
                  <a:pt x="232" y="63"/>
                  <a:pt x="234" y="61"/>
                </a:cubicBezTo>
                <a:cubicBezTo>
                  <a:pt x="236" y="60"/>
                  <a:pt x="235" y="61"/>
                  <a:pt x="234" y="61"/>
                </a:cubicBezTo>
                <a:cubicBezTo>
                  <a:pt x="235" y="61"/>
                  <a:pt x="236" y="61"/>
                  <a:pt x="236" y="62"/>
                </a:cubicBezTo>
                <a:cubicBezTo>
                  <a:pt x="239" y="60"/>
                  <a:pt x="239" y="60"/>
                  <a:pt x="241" y="59"/>
                </a:cubicBezTo>
                <a:cubicBezTo>
                  <a:pt x="240" y="60"/>
                  <a:pt x="244" y="58"/>
                  <a:pt x="245" y="58"/>
                </a:cubicBezTo>
                <a:cubicBezTo>
                  <a:pt x="248" y="57"/>
                  <a:pt x="244" y="57"/>
                  <a:pt x="247" y="57"/>
                </a:cubicBezTo>
                <a:cubicBezTo>
                  <a:pt x="249" y="55"/>
                  <a:pt x="249" y="56"/>
                  <a:pt x="249" y="56"/>
                </a:cubicBezTo>
                <a:cubicBezTo>
                  <a:pt x="248" y="58"/>
                  <a:pt x="246" y="58"/>
                  <a:pt x="244" y="59"/>
                </a:cubicBezTo>
                <a:cubicBezTo>
                  <a:pt x="245" y="59"/>
                  <a:pt x="246" y="59"/>
                  <a:pt x="244" y="61"/>
                </a:cubicBezTo>
                <a:cubicBezTo>
                  <a:pt x="244" y="61"/>
                  <a:pt x="245" y="60"/>
                  <a:pt x="245" y="61"/>
                </a:cubicBezTo>
                <a:cubicBezTo>
                  <a:pt x="245" y="60"/>
                  <a:pt x="245" y="60"/>
                  <a:pt x="246" y="59"/>
                </a:cubicBezTo>
                <a:cubicBezTo>
                  <a:pt x="247" y="59"/>
                  <a:pt x="248" y="59"/>
                  <a:pt x="248" y="59"/>
                </a:cubicBezTo>
                <a:cubicBezTo>
                  <a:pt x="250" y="58"/>
                  <a:pt x="245" y="59"/>
                  <a:pt x="246" y="59"/>
                </a:cubicBezTo>
                <a:cubicBezTo>
                  <a:pt x="248" y="57"/>
                  <a:pt x="253" y="56"/>
                  <a:pt x="253" y="55"/>
                </a:cubicBezTo>
                <a:cubicBezTo>
                  <a:pt x="255" y="54"/>
                  <a:pt x="255" y="55"/>
                  <a:pt x="257" y="55"/>
                </a:cubicBezTo>
                <a:cubicBezTo>
                  <a:pt x="257" y="54"/>
                  <a:pt x="264" y="50"/>
                  <a:pt x="267" y="50"/>
                </a:cubicBezTo>
                <a:cubicBezTo>
                  <a:pt x="271" y="49"/>
                  <a:pt x="268" y="48"/>
                  <a:pt x="268" y="48"/>
                </a:cubicBezTo>
                <a:cubicBezTo>
                  <a:pt x="266" y="49"/>
                  <a:pt x="263" y="49"/>
                  <a:pt x="263" y="50"/>
                </a:cubicBezTo>
                <a:cubicBezTo>
                  <a:pt x="263" y="50"/>
                  <a:pt x="265" y="50"/>
                  <a:pt x="266" y="49"/>
                </a:cubicBezTo>
                <a:cubicBezTo>
                  <a:pt x="263" y="51"/>
                  <a:pt x="256" y="53"/>
                  <a:pt x="253" y="55"/>
                </a:cubicBezTo>
                <a:cubicBezTo>
                  <a:pt x="253" y="54"/>
                  <a:pt x="252" y="54"/>
                  <a:pt x="254" y="53"/>
                </a:cubicBezTo>
                <a:cubicBezTo>
                  <a:pt x="256" y="52"/>
                  <a:pt x="258" y="52"/>
                  <a:pt x="258" y="51"/>
                </a:cubicBezTo>
                <a:cubicBezTo>
                  <a:pt x="261" y="50"/>
                  <a:pt x="259" y="52"/>
                  <a:pt x="257" y="52"/>
                </a:cubicBezTo>
                <a:cubicBezTo>
                  <a:pt x="261" y="51"/>
                  <a:pt x="263" y="49"/>
                  <a:pt x="267" y="48"/>
                </a:cubicBezTo>
                <a:cubicBezTo>
                  <a:pt x="262" y="49"/>
                  <a:pt x="253" y="52"/>
                  <a:pt x="247" y="55"/>
                </a:cubicBezTo>
                <a:cubicBezTo>
                  <a:pt x="244" y="56"/>
                  <a:pt x="242" y="56"/>
                  <a:pt x="242" y="55"/>
                </a:cubicBezTo>
                <a:cubicBezTo>
                  <a:pt x="240" y="56"/>
                  <a:pt x="242" y="56"/>
                  <a:pt x="242" y="57"/>
                </a:cubicBezTo>
                <a:cubicBezTo>
                  <a:pt x="240" y="57"/>
                  <a:pt x="241" y="58"/>
                  <a:pt x="239" y="58"/>
                </a:cubicBezTo>
                <a:cubicBezTo>
                  <a:pt x="238" y="58"/>
                  <a:pt x="240" y="57"/>
                  <a:pt x="239" y="57"/>
                </a:cubicBezTo>
                <a:cubicBezTo>
                  <a:pt x="238" y="57"/>
                  <a:pt x="236" y="58"/>
                  <a:pt x="234" y="59"/>
                </a:cubicBezTo>
                <a:cubicBezTo>
                  <a:pt x="233" y="60"/>
                  <a:pt x="235" y="59"/>
                  <a:pt x="234" y="60"/>
                </a:cubicBezTo>
                <a:cubicBezTo>
                  <a:pt x="236" y="59"/>
                  <a:pt x="235" y="59"/>
                  <a:pt x="235" y="59"/>
                </a:cubicBezTo>
                <a:cubicBezTo>
                  <a:pt x="237" y="57"/>
                  <a:pt x="237" y="58"/>
                  <a:pt x="239" y="58"/>
                </a:cubicBezTo>
                <a:cubicBezTo>
                  <a:pt x="238" y="59"/>
                  <a:pt x="227" y="63"/>
                  <a:pt x="229" y="64"/>
                </a:cubicBezTo>
                <a:cubicBezTo>
                  <a:pt x="228" y="64"/>
                  <a:pt x="227" y="64"/>
                  <a:pt x="226" y="64"/>
                </a:cubicBezTo>
                <a:cubicBezTo>
                  <a:pt x="229" y="61"/>
                  <a:pt x="225" y="63"/>
                  <a:pt x="223" y="62"/>
                </a:cubicBezTo>
                <a:cubicBezTo>
                  <a:pt x="222" y="63"/>
                  <a:pt x="222" y="63"/>
                  <a:pt x="220" y="64"/>
                </a:cubicBezTo>
                <a:cubicBezTo>
                  <a:pt x="220" y="64"/>
                  <a:pt x="221" y="63"/>
                  <a:pt x="221" y="63"/>
                </a:cubicBezTo>
                <a:cubicBezTo>
                  <a:pt x="216" y="65"/>
                  <a:pt x="222" y="64"/>
                  <a:pt x="217" y="66"/>
                </a:cubicBezTo>
                <a:cubicBezTo>
                  <a:pt x="217" y="65"/>
                  <a:pt x="218" y="65"/>
                  <a:pt x="218" y="64"/>
                </a:cubicBezTo>
                <a:cubicBezTo>
                  <a:pt x="213" y="68"/>
                  <a:pt x="214" y="68"/>
                  <a:pt x="210" y="70"/>
                </a:cubicBezTo>
                <a:cubicBezTo>
                  <a:pt x="209" y="69"/>
                  <a:pt x="209" y="69"/>
                  <a:pt x="209" y="69"/>
                </a:cubicBezTo>
                <a:cubicBezTo>
                  <a:pt x="209" y="69"/>
                  <a:pt x="207" y="71"/>
                  <a:pt x="205" y="72"/>
                </a:cubicBezTo>
                <a:cubicBezTo>
                  <a:pt x="205" y="72"/>
                  <a:pt x="207" y="72"/>
                  <a:pt x="204" y="74"/>
                </a:cubicBezTo>
                <a:cubicBezTo>
                  <a:pt x="204" y="73"/>
                  <a:pt x="205" y="72"/>
                  <a:pt x="203" y="73"/>
                </a:cubicBezTo>
                <a:cubicBezTo>
                  <a:pt x="201" y="75"/>
                  <a:pt x="199" y="76"/>
                  <a:pt x="198" y="77"/>
                </a:cubicBezTo>
                <a:cubicBezTo>
                  <a:pt x="199" y="76"/>
                  <a:pt x="202" y="75"/>
                  <a:pt x="198" y="78"/>
                </a:cubicBezTo>
                <a:cubicBezTo>
                  <a:pt x="199" y="78"/>
                  <a:pt x="201" y="77"/>
                  <a:pt x="203" y="75"/>
                </a:cubicBezTo>
                <a:cubicBezTo>
                  <a:pt x="203" y="76"/>
                  <a:pt x="196" y="80"/>
                  <a:pt x="194" y="81"/>
                </a:cubicBezTo>
                <a:cubicBezTo>
                  <a:pt x="197" y="79"/>
                  <a:pt x="196" y="79"/>
                  <a:pt x="197" y="77"/>
                </a:cubicBezTo>
                <a:cubicBezTo>
                  <a:pt x="194" y="79"/>
                  <a:pt x="195" y="78"/>
                  <a:pt x="192" y="80"/>
                </a:cubicBezTo>
                <a:cubicBezTo>
                  <a:pt x="191" y="80"/>
                  <a:pt x="192" y="80"/>
                  <a:pt x="192" y="81"/>
                </a:cubicBezTo>
                <a:cubicBezTo>
                  <a:pt x="187" y="83"/>
                  <a:pt x="184" y="85"/>
                  <a:pt x="179" y="89"/>
                </a:cubicBezTo>
                <a:cubicBezTo>
                  <a:pt x="179" y="89"/>
                  <a:pt x="180" y="89"/>
                  <a:pt x="180" y="89"/>
                </a:cubicBezTo>
                <a:cubicBezTo>
                  <a:pt x="181" y="88"/>
                  <a:pt x="181" y="88"/>
                  <a:pt x="183" y="87"/>
                </a:cubicBezTo>
                <a:cubicBezTo>
                  <a:pt x="182" y="88"/>
                  <a:pt x="182" y="89"/>
                  <a:pt x="182" y="90"/>
                </a:cubicBezTo>
                <a:cubicBezTo>
                  <a:pt x="179" y="91"/>
                  <a:pt x="178" y="93"/>
                  <a:pt x="177" y="92"/>
                </a:cubicBezTo>
                <a:cubicBezTo>
                  <a:pt x="176" y="94"/>
                  <a:pt x="174" y="95"/>
                  <a:pt x="172" y="96"/>
                </a:cubicBezTo>
                <a:cubicBezTo>
                  <a:pt x="171" y="96"/>
                  <a:pt x="173" y="94"/>
                  <a:pt x="173" y="94"/>
                </a:cubicBezTo>
                <a:cubicBezTo>
                  <a:pt x="169" y="96"/>
                  <a:pt x="172" y="96"/>
                  <a:pt x="171" y="97"/>
                </a:cubicBezTo>
                <a:cubicBezTo>
                  <a:pt x="171" y="97"/>
                  <a:pt x="172" y="96"/>
                  <a:pt x="173" y="95"/>
                </a:cubicBezTo>
                <a:cubicBezTo>
                  <a:pt x="173" y="96"/>
                  <a:pt x="169" y="100"/>
                  <a:pt x="173" y="97"/>
                </a:cubicBezTo>
                <a:cubicBezTo>
                  <a:pt x="171" y="99"/>
                  <a:pt x="166" y="102"/>
                  <a:pt x="166" y="101"/>
                </a:cubicBezTo>
                <a:cubicBezTo>
                  <a:pt x="169" y="98"/>
                  <a:pt x="167" y="98"/>
                  <a:pt x="169" y="97"/>
                </a:cubicBezTo>
                <a:cubicBezTo>
                  <a:pt x="168" y="96"/>
                  <a:pt x="165" y="99"/>
                  <a:pt x="163" y="101"/>
                </a:cubicBezTo>
                <a:cubicBezTo>
                  <a:pt x="163" y="101"/>
                  <a:pt x="162" y="101"/>
                  <a:pt x="162" y="101"/>
                </a:cubicBezTo>
                <a:cubicBezTo>
                  <a:pt x="162" y="101"/>
                  <a:pt x="163" y="100"/>
                  <a:pt x="163" y="100"/>
                </a:cubicBezTo>
                <a:cubicBezTo>
                  <a:pt x="163" y="100"/>
                  <a:pt x="162" y="100"/>
                  <a:pt x="161" y="101"/>
                </a:cubicBezTo>
                <a:cubicBezTo>
                  <a:pt x="162" y="102"/>
                  <a:pt x="162" y="102"/>
                  <a:pt x="158" y="102"/>
                </a:cubicBezTo>
                <a:cubicBezTo>
                  <a:pt x="157" y="104"/>
                  <a:pt x="161" y="102"/>
                  <a:pt x="157" y="105"/>
                </a:cubicBezTo>
                <a:cubicBezTo>
                  <a:pt x="157" y="104"/>
                  <a:pt x="155" y="105"/>
                  <a:pt x="154" y="106"/>
                </a:cubicBezTo>
                <a:cubicBezTo>
                  <a:pt x="157" y="105"/>
                  <a:pt x="154" y="107"/>
                  <a:pt x="154" y="107"/>
                </a:cubicBezTo>
                <a:cubicBezTo>
                  <a:pt x="152" y="109"/>
                  <a:pt x="153" y="108"/>
                  <a:pt x="151" y="109"/>
                </a:cubicBezTo>
                <a:cubicBezTo>
                  <a:pt x="151" y="109"/>
                  <a:pt x="153" y="108"/>
                  <a:pt x="152" y="108"/>
                </a:cubicBezTo>
                <a:cubicBezTo>
                  <a:pt x="152" y="108"/>
                  <a:pt x="152" y="108"/>
                  <a:pt x="151" y="108"/>
                </a:cubicBezTo>
                <a:cubicBezTo>
                  <a:pt x="150" y="109"/>
                  <a:pt x="151" y="109"/>
                  <a:pt x="150" y="110"/>
                </a:cubicBezTo>
                <a:cubicBezTo>
                  <a:pt x="150" y="111"/>
                  <a:pt x="153" y="108"/>
                  <a:pt x="150" y="111"/>
                </a:cubicBezTo>
                <a:cubicBezTo>
                  <a:pt x="151" y="111"/>
                  <a:pt x="154" y="109"/>
                  <a:pt x="154" y="108"/>
                </a:cubicBezTo>
                <a:cubicBezTo>
                  <a:pt x="154" y="109"/>
                  <a:pt x="156" y="108"/>
                  <a:pt x="156" y="108"/>
                </a:cubicBezTo>
                <a:cubicBezTo>
                  <a:pt x="154" y="110"/>
                  <a:pt x="154" y="109"/>
                  <a:pt x="153" y="110"/>
                </a:cubicBezTo>
                <a:cubicBezTo>
                  <a:pt x="152" y="111"/>
                  <a:pt x="149" y="113"/>
                  <a:pt x="149" y="114"/>
                </a:cubicBezTo>
                <a:cubicBezTo>
                  <a:pt x="150" y="113"/>
                  <a:pt x="153" y="110"/>
                  <a:pt x="154" y="111"/>
                </a:cubicBezTo>
                <a:cubicBezTo>
                  <a:pt x="151" y="113"/>
                  <a:pt x="152" y="113"/>
                  <a:pt x="153" y="113"/>
                </a:cubicBezTo>
                <a:cubicBezTo>
                  <a:pt x="153" y="113"/>
                  <a:pt x="152" y="113"/>
                  <a:pt x="152" y="113"/>
                </a:cubicBezTo>
                <a:cubicBezTo>
                  <a:pt x="152" y="113"/>
                  <a:pt x="152" y="114"/>
                  <a:pt x="152" y="114"/>
                </a:cubicBezTo>
                <a:cubicBezTo>
                  <a:pt x="150" y="114"/>
                  <a:pt x="153" y="111"/>
                  <a:pt x="149" y="114"/>
                </a:cubicBezTo>
                <a:cubicBezTo>
                  <a:pt x="149" y="116"/>
                  <a:pt x="146" y="119"/>
                  <a:pt x="150" y="117"/>
                </a:cubicBezTo>
                <a:cubicBezTo>
                  <a:pt x="149" y="118"/>
                  <a:pt x="149" y="118"/>
                  <a:pt x="149" y="118"/>
                </a:cubicBezTo>
                <a:cubicBezTo>
                  <a:pt x="147" y="120"/>
                  <a:pt x="146" y="119"/>
                  <a:pt x="147" y="118"/>
                </a:cubicBezTo>
                <a:cubicBezTo>
                  <a:pt x="144" y="118"/>
                  <a:pt x="140" y="124"/>
                  <a:pt x="138" y="124"/>
                </a:cubicBezTo>
                <a:cubicBezTo>
                  <a:pt x="139" y="124"/>
                  <a:pt x="136" y="126"/>
                  <a:pt x="136" y="127"/>
                </a:cubicBezTo>
                <a:cubicBezTo>
                  <a:pt x="137" y="127"/>
                  <a:pt x="140" y="125"/>
                  <a:pt x="143" y="122"/>
                </a:cubicBezTo>
                <a:cubicBezTo>
                  <a:pt x="143" y="122"/>
                  <a:pt x="143" y="122"/>
                  <a:pt x="143" y="122"/>
                </a:cubicBezTo>
                <a:cubicBezTo>
                  <a:pt x="144" y="121"/>
                  <a:pt x="142" y="123"/>
                  <a:pt x="144" y="123"/>
                </a:cubicBezTo>
                <a:cubicBezTo>
                  <a:pt x="142" y="122"/>
                  <a:pt x="139" y="127"/>
                  <a:pt x="138" y="126"/>
                </a:cubicBezTo>
                <a:cubicBezTo>
                  <a:pt x="135" y="128"/>
                  <a:pt x="135" y="129"/>
                  <a:pt x="134" y="130"/>
                </a:cubicBezTo>
                <a:cubicBezTo>
                  <a:pt x="137" y="129"/>
                  <a:pt x="137" y="128"/>
                  <a:pt x="139" y="127"/>
                </a:cubicBezTo>
                <a:cubicBezTo>
                  <a:pt x="139" y="128"/>
                  <a:pt x="140" y="127"/>
                  <a:pt x="139" y="128"/>
                </a:cubicBezTo>
                <a:cubicBezTo>
                  <a:pt x="140" y="128"/>
                  <a:pt x="141" y="127"/>
                  <a:pt x="141" y="127"/>
                </a:cubicBezTo>
                <a:cubicBezTo>
                  <a:pt x="142" y="126"/>
                  <a:pt x="142" y="126"/>
                  <a:pt x="142" y="126"/>
                </a:cubicBezTo>
                <a:cubicBezTo>
                  <a:pt x="143" y="125"/>
                  <a:pt x="144" y="125"/>
                  <a:pt x="146" y="123"/>
                </a:cubicBezTo>
                <a:cubicBezTo>
                  <a:pt x="147" y="121"/>
                  <a:pt x="151" y="120"/>
                  <a:pt x="154" y="116"/>
                </a:cubicBezTo>
                <a:cubicBezTo>
                  <a:pt x="159" y="114"/>
                  <a:pt x="160" y="110"/>
                  <a:pt x="162" y="111"/>
                </a:cubicBezTo>
                <a:cubicBezTo>
                  <a:pt x="165" y="107"/>
                  <a:pt x="169" y="106"/>
                  <a:pt x="173" y="103"/>
                </a:cubicBezTo>
                <a:cubicBezTo>
                  <a:pt x="175" y="101"/>
                  <a:pt x="172" y="103"/>
                  <a:pt x="174" y="102"/>
                </a:cubicBezTo>
                <a:cubicBezTo>
                  <a:pt x="175" y="101"/>
                  <a:pt x="176" y="101"/>
                  <a:pt x="178" y="100"/>
                </a:cubicBezTo>
                <a:cubicBezTo>
                  <a:pt x="174" y="104"/>
                  <a:pt x="169" y="106"/>
                  <a:pt x="163" y="111"/>
                </a:cubicBezTo>
                <a:cubicBezTo>
                  <a:pt x="166" y="111"/>
                  <a:pt x="178" y="99"/>
                  <a:pt x="183" y="98"/>
                </a:cubicBezTo>
                <a:cubicBezTo>
                  <a:pt x="183" y="98"/>
                  <a:pt x="180" y="101"/>
                  <a:pt x="183" y="99"/>
                </a:cubicBezTo>
                <a:cubicBezTo>
                  <a:pt x="183" y="100"/>
                  <a:pt x="177" y="103"/>
                  <a:pt x="177" y="104"/>
                </a:cubicBezTo>
                <a:cubicBezTo>
                  <a:pt x="173" y="106"/>
                  <a:pt x="172" y="108"/>
                  <a:pt x="168" y="110"/>
                </a:cubicBezTo>
                <a:cubicBezTo>
                  <a:pt x="168" y="111"/>
                  <a:pt x="168" y="111"/>
                  <a:pt x="168" y="111"/>
                </a:cubicBezTo>
                <a:cubicBezTo>
                  <a:pt x="170" y="109"/>
                  <a:pt x="173" y="108"/>
                  <a:pt x="176" y="106"/>
                </a:cubicBezTo>
                <a:cubicBezTo>
                  <a:pt x="175" y="107"/>
                  <a:pt x="175" y="107"/>
                  <a:pt x="176" y="107"/>
                </a:cubicBezTo>
                <a:cubicBezTo>
                  <a:pt x="173" y="109"/>
                  <a:pt x="173" y="109"/>
                  <a:pt x="169" y="112"/>
                </a:cubicBezTo>
                <a:cubicBezTo>
                  <a:pt x="168" y="112"/>
                  <a:pt x="168" y="112"/>
                  <a:pt x="168" y="112"/>
                </a:cubicBezTo>
                <a:cubicBezTo>
                  <a:pt x="166" y="114"/>
                  <a:pt x="163" y="116"/>
                  <a:pt x="159" y="119"/>
                </a:cubicBezTo>
                <a:cubicBezTo>
                  <a:pt x="160" y="120"/>
                  <a:pt x="165" y="115"/>
                  <a:pt x="166" y="114"/>
                </a:cubicBezTo>
                <a:cubicBezTo>
                  <a:pt x="167" y="114"/>
                  <a:pt x="166" y="114"/>
                  <a:pt x="166" y="114"/>
                </a:cubicBezTo>
                <a:cubicBezTo>
                  <a:pt x="164" y="116"/>
                  <a:pt x="168" y="113"/>
                  <a:pt x="168" y="114"/>
                </a:cubicBezTo>
                <a:cubicBezTo>
                  <a:pt x="169" y="112"/>
                  <a:pt x="172" y="111"/>
                  <a:pt x="175" y="108"/>
                </a:cubicBezTo>
                <a:cubicBezTo>
                  <a:pt x="175" y="109"/>
                  <a:pt x="174" y="110"/>
                  <a:pt x="174" y="110"/>
                </a:cubicBezTo>
                <a:cubicBezTo>
                  <a:pt x="176" y="108"/>
                  <a:pt x="181" y="104"/>
                  <a:pt x="183" y="104"/>
                </a:cubicBezTo>
                <a:cubicBezTo>
                  <a:pt x="185" y="102"/>
                  <a:pt x="189" y="100"/>
                  <a:pt x="190" y="98"/>
                </a:cubicBezTo>
                <a:cubicBezTo>
                  <a:pt x="191" y="98"/>
                  <a:pt x="196" y="95"/>
                  <a:pt x="199" y="93"/>
                </a:cubicBezTo>
                <a:cubicBezTo>
                  <a:pt x="199" y="93"/>
                  <a:pt x="198" y="94"/>
                  <a:pt x="198" y="94"/>
                </a:cubicBezTo>
                <a:cubicBezTo>
                  <a:pt x="203" y="90"/>
                  <a:pt x="208" y="88"/>
                  <a:pt x="215" y="83"/>
                </a:cubicBezTo>
                <a:cubicBezTo>
                  <a:pt x="214" y="84"/>
                  <a:pt x="214" y="85"/>
                  <a:pt x="215" y="84"/>
                </a:cubicBezTo>
                <a:cubicBezTo>
                  <a:pt x="218" y="83"/>
                  <a:pt x="214" y="85"/>
                  <a:pt x="215" y="85"/>
                </a:cubicBezTo>
                <a:cubicBezTo>
                  <a:pt x="212" y="86"/>
                  <a:pt x="211" y="87"/>
                  <a:pt x="208" y="88"/>
                </a:cubicBezTo>
                <a:cubicBezTo>
                  <a:pt x="206" y="89"/>
                  <a:pt x="209" y="88"/>
                  <a:pt x="209" y="89"/>
                </a:cubicBezTo>
                <a:cubicBezTo>
                  <a:pt x="204" y="91"/>
                  <a:pt x="202" y="93"/>
                  <a:pt x="200" y="95"/>
                </a:cubicBezTo>
                <a:cubicBezTo>
                  <a:pt x="198" y="95"/>
                  <a:pt x="196" y="97"/>
                  <a:pt x="194" y="98"/>
                </a:cubicBezTo>
                <a:cubicBezTo>
                  <a:pt x="193" y="99"/>
                  <a:pt x="193" y="99"/>
                  <a:pt x="193" y="99"/>
                </a:cubicBezTo>
                <a:cubicBezTo>
                  <a:pt x="190" y="100"/>
                  <a:pt x="188" y="102"/>
                  <a:pt x="184" y="105"/>
                </a:cubicBezTo>
                <a:cubicBezTo>
                  <a:pt x="184" y="104"/>
                  <a:pt x="184" y="104"/>
                  <a:pt x="184" y="104"/>
                </a:cubicBezTo>
                <a:cubicBezTo>
                  <a:pt x="183" y="105"/>
                  <a:pt x="182" y="106"/>
                  <a:pt x="182" y="106"/>
                </a:cubicBezTo>
                <a:cubicBezTo>
                  <a:pt x="182" y="106"/>
                  <a:pt x="175" y="111"/>
                  <a:pt x="170" y="115"/>
                </a:cubicBezTo>
                <a:cubicBezTo>
                  <a:pt x="170" y="115"/>
                  <a:pt x="170" y="115"/>
                  <a:pt x="170" y="115"/>
                </a:cubicBezTo>
                <a:cubicBezTo>
                  <a:pt x="164" y="119"/>
                  <a:pt x="167" y="119"/>
                  <a:pt x="161" y="123"/>
                </a:cubicBezTo>
                <a:cubicBezTo>
                  <a:pt x="162" y="123"/>
                  <a:pt x="161" y="124"/>
                  <a:pt x="162" y="123"/>
                </a:cubicBezTo>
                <a:cubicBezTo>
                  <a:pt x="161" y="124"/>
                  <a:pt x="156" y="128"/>
                  <a:pt x="156" y="128"/>
                </a:cubicBezTo>
                <a:cubicBezTo>
                  <a:pt x="155" y="128"/>
                  <a:pt x="156" y="129"/>
                  <a:pt x="155" y="130"/>
                </a:cubicBezTo>
                <a:cubicBezTo>
                  <a:pt x="152" y="130"/>
                  <a:pt x="154" y="128"/>
                  <a:pt x="154" y="127"/>
                </a:cubicBezTo>
                <a:cubicBezTo>
                  <a:pt x="151" y="129"/>
                  <a:pt x="154" y="128"/>
                  <a:pt x="151" y="131"/>
                </a:cubicBezTo>
                <a:cubicBezTo>
                  <a:pt x="151" y="131"/>
                  <a:pt x="152" y="130"/>
                  <a:pt x="152" y="131"/>
                </a:cubicBezTo>
                <a:cubicBezTo>
                  <a:pt x="149" y="133"/>
                  <a:pt x="150" y="133"/>
                  <a:pt x="148" y="135"/>
                </a:cubicBezTo>
                <a:cubicBezTo>
                  <a:pt x="146" y="136"/>
                  <a:pt x="146" y="137"/>
                  <a:pt x="145" y="138"/>
                </a:cubicBezTo>
                <a:cubicBezTo>
                  <a:pt x="145" y="137"/>
                  <a:pt x="145" y="137"/>
                  <a:pt x="142" y="139"/>
                </a:cubicBezTo>
                <a:cubicBezTo>
                  <a:pt x="140" y="141"/>
                  <a:pt x="144" y="138"/>
                  <a:pt x="143" y="139"/>
                </a:cubicBezTo>
                <a:cubicBezTo>
                  <a:pt x="142" y="140"/>
                  <a:pt x="139" y="142"/>
                  <a:pt x="141" y="141"/>
                </a:cubicBezTo>
                <a:cubicBezTo>
                  <a:pt x="141" y="141"/>
                  <a:pt x="139" y="143"/>
                  <a:pt x="139" y="142"/>
                </a:cubicBezTo>
                <a:cubicBezTo>
                  <a:pt x="138" y="144"/>
                  <a:pt x="137" y="145"/>
                  <a:pt x="135" y="148"/>
                </a:cubicBezTo>
                <a:cubicBezTo>
                  <a:pt x="139" y="145"/>
                  <a:pt x="143" y="141"/>
                  <a:pt x="147" y="137"/>
                </a:cubicBezTo>
                <a:cubicBezTo>
                  <a:pt x="149" y="137"/>
                  <a:pt x="147" y="138"/>
                  <a:pt x="149" y="137"/>
                </a:cubicBezTo>
                <a:cubicBezTo>
                  <a:pt x="151" y="135"/>
                  <a:pt x="151" y="135"/>
                  <a:pt x="151" y="134"/>
                </a:cubicBezTo>
                <a:cubicBezTo>
                  <a:pt x="154" y="132"/>
                  <a:pt x="152" y="134"/>
                  <a:pt x="151" y="135"/>
                </a:cubicBezTo>
                <a:cubicBezTo>
                  <a:pt x="152" y="135"/>
                  <a:pt x="154" y="133"/>
                  <a:pt x="156" y="132"/>
                </a:cubicBezTo>
                <a:cubicBezTo>
                  <a:pt x="153" y="132"/>
                  <a:pt x="159" y="128"/>
                  <a:pt x="161" y="127"/>
                </a:cubicBezTo>
                <a:cubicBezTo>
                  <a:pt x="163" y="125"/>
                  <a:pt x="159" y="129"/>
                  <a:pt x="157" y="130"/>
                </a:cubicBezTo>
                <a:cubicBezTo>
                  <a:pt x="159" y="130"/>
                  <a:pt x="156" y="132"/>
                  <a:pt x="156" y="133"/>
                </a:cubicBezTo>
                <a:cubicBezTo>
                  <a:pt x="155" y="134"/>
                  <a:pt x="150" y="138"/>
                  <a:pt x="150" y="139"/>
                </a:cubicBezTo>
                <a:cubicBezTo>
                  <a:pt x="148" y="140"/>
                  <a:pt x="146" y="141"/>
                  <a:pt x="145" y="143"/>
                </a:cubicBezTo>
                <a:cubicBezTo>
                  <a:pt x="144" y="143"/>
                  <a:pt x="145" y="143"/>
                  <a:pt x="145" y="142"/>
                </a:cubicBezTo>
                <a:cubicBezTo>
                  <a:pt x="144" y="145"/>
                  <a:pt x="143" y="144"/>
                  <a:pt x="141" y="145"/>
                </a:cubicBezTo>
                <a:cubicBezTo>
                  <a:pt x="139" y="147"/>
                  <a:pt x="142" y="145"/>
                  <a:pt x="142" y="146"/>
                </a:cubicBezTo>
                <a:cubicBezTo>
                  <a:pt x="140" y="147"/>
                  <a:pt x="141" y="147"/>
                  <a:pt x="139" y="148"/>
                </a:cubicBezTo>
                <a:cubicBezTo>
                  <a:pt x="138" y="148"/>
                  <a:pt x="138" y="147"/>
                  <a:pt x="140" y="145"/>
                </a:cubicBezTo>
                <a:cubicBezTo>
                  <a:pt x="140" y="145"/>
                  <a:pt x="139" y="145"/>
                  <a:pt x="139" y="145"/>
                </a:cubicBezTo>
                <a:cubicBezTo>
                  <a:pt x="137" y="148"/>
                  <a:pt x="135" y="150"/>
                  <a:pt x="136" y="151"/>
                </a:cubicBezTo>
                <a:cubicBezTo>
                  <a:pt x="134" y="153"/>
                  <a:pt x="135" y="151"/>
                  <a:pt x="133" y="152"/>
                </a:cubicBezTo>
                <a:cubicBezTo>
                  <a:pt x="133" y="153"/>
                  <a:pt x="134" y="153"/>
                  <a:pt x="131" y="156"/>
                </a:cubicBezTo>
                <a:cubicBezTo>
                  <a:pt x="131" y="155"/>
                  <a:pt x="131" y="155"/>
                  <a:pt x="130" y="155"/>
                </a:cubicBezTo>
                <a:cubicBezTo>
                  <a:pt x="130" y="156"/>
                  <a:pt x="129" y="157"/>
                  <a:pt x="129" y="158"/>
                </a:cubicBezTo>
                <a:cubicBezTo>
                  <a:pt x="125" y="161"/>
                  <a:pt x="122" y="164"/>
                  <a:pt x="119" y="167"/>
                </a:cubicBezTo>
                <a:cubicBezTo>
                  <a:pt x="118" y="168"/>
                  <a:pt x="118" y="168"/>
                  <a:pt x="118" y="168"/>
                </a:cubicBezTo>
                <a:cubicBezTo>
                  <a:pt x="116" y="169"/>
                  <a:pt x="117" y="169"/>
                  <a:pt x="115" y="171"/>
                </a:cubicBezTo>
                <a:cubicBezTo>
                  <a:pt x="113" y="171"/>
                  <a:pt x="111" y="174"/>
                  <a:pt x="109" y="175"/>
                </a:cubicBezTo>
                <a:cubicBezTo>
                  <a:pt x="110" y="174"/>
                  <a:pt x="110" y="174"/>
                  <a:pt x="110" y="173"/>
                </a:cubicBezTo>
                <a:cubicBezTo>
                  <a:pt x="114" y="170"/>
                  <a:pt x="118" y="163"/>
                  <a:pt x="121" y="162"/>
                </a:cubicBezTo>
                <a:cubicBezTo>
                  <a:pt x="125" y="157"/>
                  <a:pt x="129" y="153"/>
                  <a:pt x="133" y="151"/>
                </a:cubicBezTo>
                <a:cubicBezTo>
                  <a:pt x="134" y="150"/>
                  <a:pt x="134" y="149"/>
                  <a:pt x="134" y="149"/>
                </a:cubicBezTo>
                <a:cubicBezTo>
                  <a:pt x="134" y="148"/>
                  <a:pt x="130" y="152"/>
                  <a:pt x="130" y="150"/>
                </a:cubicBezTo>
                <a:cubicBezTo>
                  <a:pt x="131" y="150"/>
                  <a:pt x="131" y="150"/>
                  <a:pt x="131" y="150"/>
                </a:cubicBezTo>
                <a:cubicBezTo>
                  <a:pt x="133" y="149"/>
                  <a:pt x="133" y="148"/>
                  <a:pt x="135" y="147"/>
                </a:cubicBezTo>
                <a:cubicBezTo>
                  <a:pt x="126" y="153"/>
                  <a:pt x="125" y="155"/>
                  <a:pt x="119" y="161"/>
                </a:cubicBezTo>
                <a:cubicBezTo>
                  <a:pt x="118" y="160"/>
                  <a:pt x="122" y="157"/>
                  <a:pt x="123" y="155"/>
                </a:cubicBezTo>
                <a:cubicBezTo>
                  <a:pt x="121" y="157"/>
                  <a:pt x="123" y="155"/>
                  <a:pt x="121" y="156"/>
                </a:cubicBezTo>
                <a:cubicBezTo>
                  <a:pt x="121" y="155"/>
                  <a:pt x="123" y="153"/>
                  <a:pt x="123" y="153"/>
                </a:cubicBezTo>
                <a:cubicBezTo>
                  <a:pt x="125" y="151"/>
                  <a:pt x="125" y="153"/>
                  <a:pt x="123" y="155"/>
                </a:cubicBezTo>
                <a:cubicBezTo>
                  <a:pt x="123" y="155"/>
                  <a:pt x="127" y="151"/>
                  <a:pt x="125" y="153"/>
                </a:cubicBezTo>
                <a:cubicBezTo>
                  <a:pt x="128" y="151"/>
                  <a:pt x="128" y="151"/>
                  <a:pt x="131" y="148"/>
                </a:cubicBezTo>
                <a:cubicBezTo>
                  <a:pt x="132" y="145"/>
                  <a:pt x="130" y="145"/>
                  <a:pt x="125" y="149"/>
                </a:cubicBezTo>
                <a:cubicBezTo>
                  <a:pt x="120" y="156"/>
                  <a:pt x="111" y="162"/>
                  <a:pt x="106" y="170"/>
                </a:cubicBezTo>
                <a:cubicBezTo>
                  <a:pt x="104" y="170"/>
                  <a:pt x="103" y="171"/>
                  <a:pt x="102" y="172"/>
                </a:cubicBezTo>
                <a:cubicBezTo>
                  <a:pt x="101" y="173"/>
                  <a:pt x="100" y="174"/>
                  <a:pt x="100" y="174"/>
                </a:cubicBezTo>
                <a:cubicBezTo>
                  <a:pt x="100" y="175"/>
                  <a:pt x="100" y="175"/>
                  <a:pt x="99" y="176"/>
                </a:cubicBezTo>
                <a:cubicBezTo>
                  <a:pt x="100" y="176"/>
                  <a:pt x="100" y="176"/>
                  <a:pt x="100" y="175"/>
                </a:cubicBezTo>
                <a:cubicBezTo>
                  <a:pt x="101" y="176"/>
                  <a:pt x="99" y="176"/>
                  <a:pt x="100" y="177"/>
                </a:cubicBezTo>
                <a:cubicBezTo>
                  <a:pt x="99" y="176"/>
                  <a:pt x="98" y="175"/>
                  <a:pt x="97" y="175"/>
                </a:cubicBezTo>
                <a:cubicBezTo>
                  <a:pt x="97" y="175"/>
                  <a:pt x="97" y="176"/>
                  <a:pt x="97" y="176"/>
                </a:cubicBezTo>
                <a:cubicBezTo>
                  <a:pt x="97" y="175"/>
                  <a:pt x="96" y="177"/>
                  <a:pt x="96" y="176"/>
                </a:cubicBezTo>
                <a:cubicBezTo>
                  <a:pt x="97" y="175"/>
                  <a:pt x="97" y="174"/>
                  <a:pt x="98" y="175"/>
                </a:cubicBezTo>
                <a:cubicBezTo>
                  <a:pt x="98" y="174"/>
                  <a:pt x="97" y="174"/>
                  <a:pt x="98" y="174"/>
                </a:cubicBezTo>
                <a:cubicBezTo>
                  <a:pt x="97" y="173"/>
                  <a:pt x="96" y="175"/>
                  <a:pt x="95" y="176"/>
                </a:cubicBezTo>
                <a:cubicBezTo>
                  <a:pt x="95" y="176"/>
                  <a:pt x="95" y="177"/>
                  <a:pt x="94" y="177"/>
                </a:cubicBezTo>
                <a:cubicBezTo>
                  <a:pt x="95" y="178"/>
                  <a:pt x="95" y="177"/>
                  <a:pt x="96" y="177"/>
                </a:cubicBezTo>
                <a:cubicBezTo>
                  <a:pt x="95" y="178"/>
                  <a:pt x="95" y="178"/>
                  <a:pt x="94" y="178"/>
                </a:cubicBezTo>
                <a:cubicBezTo>
                  <a:pt x="94" y="179"/>
                  <a:pt x="95" y="179"/>
                  <a:pt x="95" y="179"/>
                </a:cubicBezTo>
                <a:cubicBezTo>
                  <a:pt x="94" y="179"/>
                  <a:pt x="92" y="179"/>
                  <a:pt x="92" y="180"/>
                </a:cubicBezTo>
                <a:cubicBezTo>
                  <a:pt x="92" y="180"/>
                  <a:pt x="92" y="180"/>
                  <a:pt x="93" y="180"/>
                </a:cubicBezTo>
                <a:cubicBezTo>
                  <a:pt x="93" y="180"/>
                  <a:pt x="93" y="181"/>
                  <a:pt x="93" y="181"/>
                </a:cubicBezTo>
                <a:cubicBezTo>
                  <a:pt x="92" y="181"/>
                  <a:pt x="92" y="180"/>
                  <a:pt x="92" y="181"/>
                </a:cubicBezTo>
                <a:cubicBezTo>
                  <a:pt x="91" y="181"/>
                  <a:pt x="92" y="181"/>
                  <a:pt x="92" y="181"/>
                </a:cubicBezTo>
                <a:cubicBezTo>
                  <a:pt x="92" y="182"/>
                  <a:pt x="91" y="181"/>
                  <a:pt x="91" y="182"/>
                </a:cubicBezTo>
                <a:cubicBezTo>
                  <a:pt x="90" y="182"/>
                  <a:pt x="90" y="183"/>
                  <a:pt x="89" y="183"/>
                </a:cubicBezTo>
                <a:cubicBezTo>
                  <a:pt x="89" y="183"/>
                  <a:pt x="90" y="182"/>
                  <a:pt x="90" y="183"/>
                </a:cubicBezTo>
                <a:cubicBezTo>
                  <a:pt x="89" y="183"/>
                  <a:pt x="89" y="183"/>
                  <a:pt x="88" y="183"/>
                </a:cubicBezTo>
                <a:cubicBezTo>
                  <a:pt x="87" y="184"/>
                  <a:pt x="88" y="184"/>
                  <a:pt x="88" y="184"/>
                </a:cubicBezTo>
                <a:cubicBezTo>
                  <a:pt x="87" y="184"/>
                  <a:pt x="87" y="186"/>
                  <a:pt x="86" y="186"/>
                </a:cubicBezTo>
                <a:cubicBezTo>
                  <a:pt x="86" y="186"/>
                  <a:pt x="86" y="186"/>
                  <a:pt x="86" y="186"/>
                </a:cubicBezTo>
                <a:cubicBezTo>
                  <a:pt x="86" y="186"/>
                  <a:pt x="86" y="186"/>
                  <a:pt x="85" y="186"/>
                </a:cubicBezTo>
                <a:cubicBezTo>
                  <a:pt x="85" y="186"/>
                  <a:pt x="86" y="186"/>
                  <a:pt x="86" y="186"/>
                </a:cubicBezTo>
                <a:cubicBezTo>
                  <a:pt x="84" y="188"/>
                  <a:pt x="83" y="190"/>
                  <a:pt x="81" y="192"/>
                </a:cubicBezTo>
                <a:cubicBezTo>
                  <a:pt x="81" y="192"/>
                  <a:pt x="81" y="192"/>
                  <a:pt x="81" y="192"/>
                </a:cubicBezTo>
                <a:cubicBezTo>
                  <a:pt x="81" y="193"/>
                  <a:pt x="82" y="192"/>
                  <a:pt x="81" y="193"/>
                </a:cubicBezTo>
                <a:cubicBezTo>
                  <a:pt x="81" y="193"/>
                  <a:pt x="81" y="193"/>
                  <a:pt x="81" y="193"/>
                </a:cubicBezTo>
                <a:cubicBezTo>
                  <a:pt x="80" y="193"/>
                  <a:pt x="80" y="194"/>
                  <a:pt x="80" y="193"/>
                </a:cubicBezTo>
                <a:cubicBezTo>
                  <a:pt x="79" y="193"/>
                  <a:pt x="81" y="192"/>
                  <a:pt x="80" y="192"/>
                </a:cubicBezTo>
                <a:cubicBezTo>
                  <a:pt x="80" y="191"/>
                  <a:pt x="80" y="192"/>
                  <a:pt x="80" y="192"/>
                </a:cubicBezTo>
                <a:cubicBezTo>
                  <a:pt x="79" y="191"/>
                  <a:pt x="80" y="191"/>
                  <a:pt x="81" y="190"/>
                </a:cubicBezTo>
                <a:cubicBezTo>
                  <a:pt x="81" y="191"/>
                  <a:pt x="80" y="191"/>
                  <a:pt x="81" y="191"/>
                </a:cubicBezTo>
                <a:cubicBezTo>
                  <a:pt x="81" y="191"/>
                  <a:pt x="82" y="191"/>
                  <a:pt x="82" y="190"/>
                </a:cubicBezTo>
                <a:cubicBezTo>
                  <a:pt x="82" y="190"/>
                  <a:pt x="81" y="191"/>
                  <a:pt x="81" y="190"/>
                </a:cubicBezTo>
                <a:cubicBezTo>
                  <a:pt x="81" y="189"/>
                  <a:pt x="82" y="190"/>
                  <a:pt x="82" y="190"/>
                </a:cubicBezTo>
                <a:cubicBezTo>
                  <a:pt x="83" y="189"/>
                  <a:pt x="82" y="189"/>
                  <a:pt x="81" y="189"/>
                </a:cubicBezTo>
                <a:cubicBezTo>
                  <a:pt x="81" y="189"/>
                  <a:pt x="81" y="190"/>
                  <a:pt x="81" y="190"/>
                </a:cubicBezTo>
                <a:cubicBezTo>
                  <a:pt x="80" y="190"/>
                  <a:pt x="82" y="188"/>
                  <a:pt x="82" y="188"/>
                </a:cubicBezTo>
                <a:cubicBezTo>
                  <a:pt x="83" y="188"/>
                  <a:pt x="82" y="189"/>
                  <a:pt x="82" y="189"/>
                </a:cubicBezTo>
                <a:cubicBezTo>
                  <a:pt x="83" y="189"/>
                  <a:pt x="83" y="188"/>
                  <a:pt x="83" y="189"/>
                </a:cubicBezTo>
                <a:cubicBezTo>
                  <a:pt x="83" y="188"/>
                  <a:pt x="83" y="188"/>
                  <a:pt x="83" y="187"/>
                </a:cubicBezTo>
                <a:cubicBezTo>
                  <a:pt x="86" y="183"/>
                  <a:pt x="86" y="183"/>
                  <a:pt x="86" y="183"/>
                </a:cubicBezTo>
                <a:cubicBezTo>
                  <a:pt x="86" y="184"/>
                  <a:pt x="86" y="183"/>
                  <a:pt x="87" y="184"/>
                </a:cubicBezTo>
                <a:cubicBezTo>
                  <a:pt x="87" y="183"/>
                  <a:pt x="87" y="183"/>
                  <a:pt x="86" y="183"/>
                </a:cubicBezTo>
                <a:cubicBezTo>
                  <a:pt x="87" y="183"/>
                  <a:pt x="86" y="182"/>
                  <a:pt x="87" y="182"/>
                </a:cubicBezTo>
                <a:cubicBezTo>
                  <a:pt x="87" y="182"/>
                  <a:pt x="87" y="182"/>
                  <a:pt x="87" y="183"/>
                </a:cubicBezTo>
                <a:cubicBezTo>
                  <a:pt x="88" y="182"/>
                  <a:pt x="87" y="182"/>
                  <a:pt x="87" y="182"/>
                </a:cubicBezTo>
                <a:cubicBezTo>
                  <a:pt x="89" y="179"/>
                  <a:pt x="92" y="175"/>
                  <a:pt x="95" y="172"/>
                </a:cubicBezTo>
                <a:cubicBezTo>
                  <a:pt x="95" y="172"/>
                  <a:pt x="95" y="172"/>
                  <a:pt x="95" y="172"/>
                </a:cubicBezTo>
                <a:cubicBezTo>
                  <a:pt x="95" y="172"/>
                  <a:pt x="95" y="171"/>
                  <a:pt x="95" y="171"/>
                </a:cubicBezTo>
                <a:cubicBezTo>
                  <a:pt x="95" y="170"/>
                  <a:pt x="95" y="171"/>
                  <a:pt x="95" y="171"/>
                </a:cubicBezTo>
                <a:cubicBezTo>
                  <a:pt x="95" y="171"/>
                  <a:pt x="95" y="171"/>
                  <a:pt x="95" y="170"/>
                </a:cubicBezTo>
                <a:cubicBezTo>
                  <a:pt x="94" y="170"/>
                  <a:pt x="94" y="170"/>
                  <a:pt x="94" y="171"/>
                </a:cubicBezTo>
                <a:cubicBezTo>
                  <a:pt x="93" y="170"/>
                  <a:pt x="94" y="169"/>
                  <a:pt x="95" y="169"/>
                </a:cubicBezTo>
                <a:cubicBezTo>
                  <a:pt x="95" y="169"/>
                  <a:pt x="94" y="169"/>
                  <a:pt x="95" y="170"/>
                </a:cubicBezTo>
                <a:cubicBezTo>
                  <a:pt x="95" y="170"/>
                  <a:pt x="95" y="169"/>
                  <a:pt x="95" y="169"/>
                </a:cubicBezTo>
                <a:cubicBezTo>
                  <a:pt x="96" y="170"/>
                  <a:pt x="95" y="170"/>
                  <a:pt x="95" y="170"/>
                </a:cubicBezTo>
                <a:cubicBezTo>
                  <a:pt x="96" y="170"/>
                  <a:pt x="96" y="170"/>
                  <a:pt x="96" y="170"/>
                </a:cubicBezTo>
                <a:cubicBezTo>
                  <a:pt x="96" y="168"/>
                  <a:pt x="103" y="164"/>
                  <a:pt x="102" y="163"/>
                </a:cubicBezTo>
                <a:cubicBezTo>
                  <a:pt x="105" y="161"/>
                  <a:pt x="102" y="163"/>
                  <a:pt x="105" y="161"/>
                </a:cubicBezTo>
                <a:cubicBezTo>
                  <a:pt x="107" y="157"/>
                  <a:pt x="113" y="152"/>
                  <a:pt x="118" y="147"/>
                </a:cubicBezTo>
                <a:cubicBezTo>
                  <a:pt x="116" y="151"/>
                  <a:pt x="121" y="145"/>
                  <a:pt x="123" y="143"/>
                </a:cubicBezTo>
                <a:cubicBezTo>
                  <a:pt x="123" y="143"/>
                  <a:pt x="123" y="143"/>
                  <a:pt x="123" y="143"/>
                </a:cubicBezTo>
                <a:cubicBezTo>
                  <a:pt x="124" y="142"/>
                  <a:pt x="124" y="143"/>
                  <a:pt x="126" y="141"/>
                </a:cubicBezTo>
                <a:cubicBezTo>
                  <a:pt x="124" y="141"/>
                  <a:pt x="130" y="137"/>
                  <a:pt x="128" y="138"/>
                </a:cubicBezTo>
                <a:cubicBezTo>
                  <a:pt x="129" y="136"/>
                  <a:pt x="131" y="136"/>
                  <a:pt x="131" y="136"/>
                </a:cubicBezTo>
                <a:cubicBezTo>
                  <a:pt x="132" y="135"/>
                  <a:pt x="131" y="135"/>
                  <a:pt x="131" y="135"/>
                </a:cubicBezTo>
                <a:cubicBezTo>
                  <a:pt x="133" y="134"/>
                  <a:pt x="133" y="133"/>
                  <a:pt x="136" y="131"/>
                </a:cubicBezTo>
                <a:cubicBezTo>
                  <a:pt x="135" y="132"/>
                  <a:pt x="136" y="132"/>
                  <a:pt x="137" y="131"/>
                </a:cubicBezTo>
                <a:cubicBezTo>
                  <a:pt x="141" y="128"/>
                  <a:pt x="136" y="130"/>
                  <a:pt x="139" y="128"/>
                </a:cubicBezTo>
                <a:cubicBezTo>
                  <a:pt x="138" y="128"/>
                  <a:pt x="136" y="130"/>
                  <a:pt x="135" y="130"/>
                </a:cubicBezTo>
                <a:cubicBezTo>
                  <a:pt x="134" y="131"/>
                  <a:pt x="134" y="132"/>
                  <a:pt x="134" y="132"/>
                </a:cubicBezTo>
                <a:cubicBezTo>
                  <a:pt x="130" y="134"/>
                  <a:pt x="128" y="137"/>
                  <a:pt x="123" y="141"/>
                </a:cubicBezTo>
                <a:cubicBezTo>
                  <a:pt x="122" y="141"/>
                  <a:pt x="121" y="143"/>
                  <a:pt x="122" y="141"/>
                </a:cubicBezTo>
                <a:cubicBezTo>
                  <a:pt x="121" y="142"/>
                  <a:pt x="120" y="143"/>
                  <a:pt x="117" y="145"/>
                </a:cubicBezTo>
                <a:cubicBezTo>
                  <a:pt x="121" y="141"/>
                  <a:pt x="127" y="135"/>
                  <a:pt x="130" y="134"/>
                </a:cubicBezTo>
                <a:cubicBezTo>
                  <a:pt x="131" y="133"/>
                  <a:pt x="130" y="132"/>
                  <a:pt x="131" y="132"/>
                </a:cubicBezTo>
                <a:cubicBezTo>
                  <a:pt x="129" y="133"/>
                  <a:pt x="130" y="133"/>
                  <a:pt x="128" y="135"/>
                </a:cubicBezTo>
                <a:cubicBezTo>
                  <a:pt x="131" y="131"/>
                  <a:pt x="126" y="134"/>
                  <a:pt x="127" y="132"/>
                </a:cubicBezTo>
                <a:cubicBezTo>
                  <a:pt x="125" y="133"/>
                  <a:pt x="125" y="133"/>
                  <a:pt x="125" y="133"/>
                </a:cubicBezTo>
                <a:cubicBezTo>
                  <a:pt x="124" y="134"/>
                  <a:pt x="127" y="133"/>
                  <a:pt x="125" y="135"/>
                </a:cubicBezTo>
                <a:cubicBezTo>
                  <a:pt x="126" y="134"/>
                  <a:pt x="126" y="134"/>
                  <a:pt x="126" y="134"/>
                </a:cubicBezTo>
                <a:cubicBezTo>
                  <a:pt x="113" y="146"/>
                  <a:pt x="113" y="146"/>
                  <a:pt x="113" y="146"/>
                </a:cubicBezTo>
                <a:cubicBezTo>
                  <a:pt x="112" y="146"/>
                  <a:pt x="112" y="146"/>
                  <a:pt x="113" y="145"/>
                </a:cubicBezTo>
                <a:cubicBezTo>
                  <a:pt x="111" y="147"/>
                  <a:pt x="111" y="147"/>
                  <a:pt x="111" y="147"/>
                </a:cubicBezTo>
                <a:cubicBezTo>
                  <a:pt x="111" y="148"/>
                  <a:pt x="112" y="146"/>
                  <a:pt x="113" y="146"/>
                </a:cubicBezTo>
                <a:cubicBezTo>
                  <a:pt x="113" y="147"/>
                  <a:pt x="111" y="147"/>
                  <a:pt x="110" y="148"/>
                </a:cubicBezTo>
                <a:cubicBezTo>
                  <a:pt x="106" y="153"/>
                  <a:pt x="106" y="153"/>
                  <a:pt x="106" y="153"/>
                </a:cubicBezTo>
                <a:cubicBezTo>
                  <a:pt x="106" y="150"/>
                  <a:pt x="103" y="155"/>
                  <a:pt x="100" y="157"/>
                </a:cubicBezTo>
                <a:cubicBezTo>
                  <a:pt x="101" y="156"/>
                  <a:pt x="104" y="154"/>
                  <a:pt x="104" y="152"/>
                </a:cubicBezTo>
                <a:cubicBezTo>
                  <a:pt x="108" y="149"/>
                  <a:pt x="109" y="148"/>
                  <a:pt x="111" y="145"/>
                </a:cubicBezTo>
                <a:cubicBezTo>
                  <a:pt x="110" y="145"/>
                  <a:pt x="109" y="147"/>
                  <a:pt x="108" y="148"/>
                </a:cubicBezTo>
                <a:cubicBezTo>
                  <a:pt x="108" y="145"/>
                  <a:pt x="106" y="148"/>
                  <a:pt x="103" y="152"/>
                </a:cubicBezTo>
                <a:cubicBezTo>
                  <a:pt x="105" y="150"/>
                  <a:pt x="103" y="150"/>
                  <a:pt x="101" y="151"/>
                </a:cubicBezTo>
                <a:cubicBezTo>
                  <a:pt x="103" y="149"/>
                  <a:pt x="103" y="149"/>
                  <a:pt x="104" y="149"/>
                </a:cubicBezTo>
                <a:cubicBezTo>
                  <a:pt x="105" y="148"/>
                  <a:pt x="105" y="147"/>
                  <a:pt x="107" y="145"/>
                </a:cubicBezTo>
                <a:cubicBezTo>
                  <a:pt x="108" y="144"/>
                  <a:pt x="108" y="146"/>
                  <a:pt x="109" y="144"/>
                </a:cubicBezTo>
                <a:cubicBezTo>
                  <a:pt x="111" y="142"/>
                  <a:pt x="109" y="141"/>
                  <a:pt x="113" y="139"/>
                </a:cubicBezTo>
                <a:cubicBezTo>
                  <a:pt x="113" y="139"/>
                  <a:pt x="111" y="141"/>
                  <a:pt x="111" y="141"/>
                </a:cubicBezTo>
                <a:cubicBezTo>
                  <a:pt x="114" y="139"/>
                  <a:pt x="114" y="138"/>
                  <a:pt x="113" y="138"/>
                </a:cubicBezTo>
                <a:cubicBezTo>
                  <a:pt x="115" y="136"/>
                  <a:pt x="115" y="137"/>
                  <a:pt x="115" y="137"/>
                </a:cubicBezTo>
                <a:cubicBezTo>
                  <a:pt x="115" y="136"/>
                  <a:pt x="118" y="134"/>
                  <a:pt x="118" y="133"/>
                </a:cubicBezTo>
                <a:cubicBezTo>
                  <a:pt x="118" y="133"/>
                  <a:pt x="116" y="134"/>
                  <a:pt x="115" y="135"/>
                </a:cubicBezTo>
                <a:cubicBezTo>
                  <a:pt x="116" y="134"/>
                  <a:pt x="116" y="134"/>
                  <a:pt x="117" y="132"/>
                </a:cubicBezTo>
                <a:cubicBezTo>
                  <a:pt x="115" y="134"/>
                  <a:pt x="115" y="134"/>
                  <a:pt x="116" y="132"/>
                </a:cubicBezTo>
                <a:cubicBezTo>
                  <a:pt x="115" y="132"/>
                  <a:pt x="115" y="132"/>
                  <a:pt x="115" y="132"/>
                </a:cubicBezTo>
                <a:cubicBezTo>
                  <a:pt x="114" y="133"/>
                  <a:pt x="113" y="134"/>
                  <a:pt x="112" y="135"/>
                </a:cubicBezTo>
                <a:cubicBezTo>
                  <a:pt x="111" y="136"/>
                  <a:pt x="112" y="134"/>
                  <a:pt x="109" y="137"/>
                </a:cubicBezTo>
                <a:cubicBezTo>
                  <a:pt x="111" y="135"/>
                  <a:pt x="109" y="136"/>
                  <a:pt x="110" y="134"/>
                </a:cubicBezTo>
                <a:cubicBezTo>
                  <a:pt x="112" y="133"/>
                  <a:pt x="110" y="133"/>
                  <a:pt x="111" y="133"/>
                </a:cubicBezTo>
                <a:cubicBezTo>
                  <a:pt x="112" y="131"/>
                  <a:pt x="115" y="128"/>
                  <a:pt x="116" y="127"/>
                </a:cubicBezTo>
                <a:cubicBezTo>
                  <a:pt x="118" y="126"/>
                  <a:pt x="119" y="125"/>
                  <a:pt x="120" y="126"/>
                </a:cubicBezTo>
                <a:cubicBezTo>
                  <a:pt x="121" y="125"/>
                  <a:pt x="121" y="124"/>
                  <a:pt x="121" y="124"/>
                </a:cubicBezTo>
                <a:cubicBezTo>
                  <a:pt x="121" y="124"/>
                  <a:pt x="119" y="125"/>
                  <a:pt x="119" y="124"/>
                </a:cubicBezTo>
                <a:cubicBezTo>
                  <a:pt x="122" y="121"/>
                  <a:pt x="125" y="119"/>
                  <a:pt x="126" y="117"/>
                </a:cubicBezTo>
                <a:cubicBezTo>
                  <a:pt x="127" y="116"/>
                  <a:pt x="127" y="116"/>
                  <a:pt x="128" y="116"/>
                </a:cubicBezTo>
                <a:cubicBezTo>
                  <a:pt x="142" y="104"/>
                  <a:pt x="148" y="99"/>
                  <a:pt x="162" y="88"/>
                </a:cubicBezTo>
                <a:cubicBezTo>
                  <a:pt x="163" y="89"/>
                  <a:pt x="163" y="89"/>
                  <a:pt x="164" y="88"/>
                </a:cubicBezTo>
                <a:cubicBezTo>
                  <a:pt x="166" y="86"/>
                  <a:pt x="163" y="88"/>
                  <a:pt x="163" y="88"/>
                </a:cubicBezTo>
                <a:cubicBezTo>
                  <a:pt x="175" y="79"/>
                  <a:pt x="184" y="73"/>
                  <a:pt x="197" y="65"/>
                </a:cubicBezTo>
                <a:cubicBezTo>
                  <a:pt x="197" y="65"/>
                  <a:pt x="196" y="65"/>
                  <a:pt x="195" y="66"/>
                </a:cubicBezTo>
                <a:cubicBezTo>
                  <a:pt x="196" y="65"/>
                  <a:pt x="197" y="65"/>
                  <a:pt x="199" y="63"/>
                </a:cubicBezTo>
                <a:cubicBezTo>
                  <a:pt x="199" y="64"/>
                  <a:pt x="199" y="64"/>
                  <a:pt x="201" y="63"/>
                </a:cubicBezTo>
                <a:cubicBezTo>
                  <a:pt x="202" y="63"/>
                  <a:pt x="201" y="62"/>
                  <a:pt x="201" y="62"/>
                </a:cubicBezTo>
                <a:cubicBezTo>
                  <a:pt x="203" y="61"/>
                  <a:pt x="203" y="61"/>
                  <a:pt x="203" y="62"/>
                </a:cubicBezTo>
                <a:cubicBezTo>
                  <a:pt x="207" y="60"/>
                  <a:pt x="211" y="58"/>
                  <a:pt x="214" y="56"/>
                </a:cubicBezTo>
                <a:cubicBezTo>
                  <a:pt x="213" y="56"/>
                  <a:pt x="212" y="57"/>
                  <a:pt x="210" y="57"/>
                </a:cubicBezTo>
                <a:cubicBezTo>
                  <a:pt x="214" y="54"/>
                  <a:pt x="214" y="57"/>
                  <a:pt x="222" y="53"/>
                </a:cubicBezTo>
                <a:cubicBezTo>
                  <a:pt x="222" y="52"/>
                  <a:pt x="218" y="54"/>
                  <a:pt x="217" y="54"/>
                </a:cubicBezTo>
                <a:cubicBezTo>
                  <a:pt x="219" y="52"/>
                  <a:pt x="216" y="54"/>
                  <a:pt x="216" y="53"/>
                </a:cubicBezTo>
                <a:cubicBezTo>
                  <a:pt x="215" y="53"/>
                  <a:pt x="214" y="54"/>
                  <a:pt x="214" y="54"/>
                </a:cubicBezTo>
                <a:cubicBezTo>
                  <a:pt x="212" y="54"/>
                  <a:pt x="215" y="53"/>
                  <a:pt x="210" y="56"/>
                </a:cubicBezTo>
                <a:cubicBezTo>
                  <a:pt x="211" y="54"/>
                  <a:pt x="217" y="52"/>
                  <a:pt x="219" y="50"/>
                </a:cubicBezTo>
                <a:cubicBezTo>
                  <a:pt x="220" y="50"/>
                  <a:pt x="219" y="51"/>
                  <a:pt x="221" y="50"/>
                </a:cubicBezTo>
                <a:cubicBezTo>
                  <a:pt x="227" y="46"/>
                  <a:pt x="237" y="41"/>
                  <a:pt x="245" y="39"/>
                </a:cubicBezTo>
                <a:cubicBezTo>
                  <a:pt x="246" y="40"/>
                  <a:pt x="242" y="40"/>
                  <a:pt x="241" y="41"/>
                </a:cubicBezTo>
                <a:cubicBezTo>
                  <a:pt x="242" y="41"/>
                  <a:pt x="244" y="40"/>
                  <a:pt x="245" y="40"/>
                </a:cubicBezTo>
                <a:cubicBezTo>
                  <a:pt x="247" y="39"/>
                  <a:pt x="249" y="39"/>
                  <a:pt x="254" y="37"/>
                </a:cubicBezTo>
                <a:cubicBezTo>
                  <a:pt x="252" y="37"/>
                  <a:pt x="247" y="38"/>
                  <a:pt x="253" y="36"/>
                </a:cubicBezTo>
                <a:cubicBezTo>
                  <a:pt x="252" y="36"/>
                  <a:pt x="250" y="37"/>
                  <a:pt x="251" y="36"/>
                </a:cubicBezTo>
                <a:cubicBezTo>
                  <a:pt x="252" y="36"/>
                  <a:pt x="254" y="35"/>
                  <a:pt x="255" y="35"/>
                </a:cubicBezTo>
                <a:cubicBezTo>
                  <a:pt x="257" y="35"/>
                  <a:pt x="255" y="34"/>
                  <a:pt x="258" y="33"/>
                </a:cubicBezTo>
                <a:cubicBezTo>
                  <a:pt x="259" y="34"/>
                  <a:pt x="259" y="34"/>
                  <a:pt x="259" y="34"/>
                </a:cubicBezTo>
                <a:cubicBezTo>
                  <a:pt x="263" y="32"/>
                  <a:pt x="265" y="32"/>
                  <a:pt x="267" y="31"/>
                </a:cubicBezTo>
                <a:cubicBezTo>
                  <a:pt x="273" y="28"/>
                  <a:pt x="273" y="30"/>
                  <a:pt x="279" y="27"/>
                </a:cubicBezTo>
                <a:cubicBezTo>
                  <a:pt x="280" y="27"/>
                  <a:pt x="279" y="27"/>
                  <a:pt x="279" y="28"/>
                </a:cubicBezTo>
                <a:cubicBezTo>
                  <a:pt x="282" y="27"/>
                  <a:pt x="285" y="26"/>
                  <a:pt x="285" y="25"/>
                </a:cubicBezTo>
                <a:cubicBezTo>
                  <a:pt x="288" y="26"/>
                  <a:pt x="294" y="23"/>
                  <a:pt x="301" y="22"/>
                </a:cubicBezTo>
                <a:cubicBezTo>
                  <a:pt x="301" y="21"/>
                  <a:pt x="301" y="21"/>
                  <a:pt x="301" y="21"/>
                </a:cubicBezTo>
                <a:cubicBezTo>
                  <a:pt x="301" y="21"/>
                  <a:pt x="297" y="22"/>
                  <a:pt x="296" y="22"/>
                </a:cubicBezTo>
                <a:cubicBezTo>
                  <a:pt x="298" y="21"/>
                  <a:pt x="297" y="22"/>
                  <a:pt x="298" y="21"/>
                </a:cubicBezTo>
                <a:cubicBezTo>
                  <a:pt x="301" y="20"/>
                  <a:pt x="301" y="20"/>
                  <a:pt x="301" y="20"/>
                </a:cubicBezTo>
                <a:cubicBezTo>
                  <a:pt x="301" y="20"/>
                  <a:pt x="297" y="21"/>
                  <a:pt x="297" y="21"/>
                </a:cubicBezTo>
                <a:cubicBezTo>
                  <a:pt x="300" y="19"/>
                  <a:pt x="301" y="19"/>
                  <a:pt x="305" y="18"/>
                </a:cubicBezTo>
                <a:cubicBezTo>
                  <a:pt x="305" y="19"/>
                  <a:pt x="307" y="18"/>
                  <a:pt x="306" y="19"/>
                </a:cubicBezTo>
                <a:cubicBezTo>
                  <a:pt x="308" y="18"/>
                  <a:pt x="309" y="17"/>
                  <a:pt x="309" y="18"/>
                </a:cubicBezTo>
                <a:cubicBezTo>
                  <a:pt x="316" y="16"/>
                  <a:pt x="316" y="16"/>
                  <a:pt x="322" y="15"/>
                </a:cubicBezTo>
                <a:cubicBezTo>
                  <a:pt x="325" y="15"/>
                  <a:pt x="325" y="14"/>
                  <a:pt x="327" y="13"/>
                </a:cubicBezTo>
                <a:cubicBezTo>
                  <a:pt x="329" y="12"/>
                  <a:pt x="329" y="13"/>
                  <a:pt x="330" y="13"/>
                </a:cubicBezTo>
                <a:cubicBezTo>
                  <a:pt x="332" y="13"/>
                  <a:pt x="332" y="12"/>
                  <a:pt x="334" y="12"/>
                </a:cubicBezTo>
                <a:cubicBezTo>
                  <a:pt x="336" y="12"/>
                  <a:pt x="338" y="11"/>
                  <a:pt x="338" y="12"/>
                </a:cubicBezTo>
                <a:cubicBezTo>
                  <a:pt x="337" y="12"/>
                  <a:pt x="338" y="12"/>
                  <a:pt x="337" y="12"/>
                </a:cubicBezTo>
                <a:cubicBezTo>
                  <a:pt x="337" y="12"/>
                  <a:pt x="336" y="12"/>
                  <a:pt x="336" y="12"/>
                </a:cubicBezTo>
                <a:cubicBezTo>
                  <a:pt x="336" y="13"/>
                  <a:pt x="340" y="11"/>
                  <a:pt x="341" y="12"/>
                </a:cubicBezTo>
                <a:cubicBezTo>
                  <a:pt x="343" y="12"/>
                  <a:pt x="337" y="12"/>
                  <a:pt x="340" y="11"/>
                </a:cubicBezTo>
                <a:cubicBezTo>
                  <a:pt x="342" y="11"/>
                  <a:pt x="342" y="11"/>
                  <a:pt x="342" y="11"/>
                </a:cubicBezTo>
                <a:cubicBezTo>
                  <a:pt x="344" y="11"/>
                  <a:pt x="344" y="11"/>
                  <a:pt x="345" y="11"/>
                </a:cubicBezTo>
                <a:cubicBezTo>
                  <a:pt x="346" y="10"/>
                  <a:pt x="340" y="11"/>
                  <a:pt x="342" y="10"/>
                </a:cubicBezTo>
                <a:cubicBezTo>
                  <a:pt x="347" y="10"/>
                  <a:pt x="347" y="10"/>
                  <a:pt x="347" y="10"/>
                </a:cubicBezTo>
                <a:cubicBezTo>
                  <a:pt x="347" y="9"/>
                  <a:pt x="347" y="9"/>
                  <a:pt x="345" y="9"/>
                </a:cubicBezTo>
                <a:cubicBezTo>
                  <a:pt x="349" y="8"/>
                  <a:pt x="350" y="10"/>
                  <a:pt x="354" y="10"/>
                </a:cubicBezTo>
                <a:cubicBezTo>
                  <a:pt x="356" y="10"/>
                  <a:pt x="358" y="9"/>
                  <a:pt x="360" y="9"/>
                </a:cubicBezTo>
                <a:cubicBezTo>
                  <a:pt x="361" y="9"/>
                  <a:pt x="359" y="9"/>
                  <a:pt x="361" y="9"/>
                </a:cubicBezTo>
                <a:cubicBezTo>
                  <a:pt x="360" y="9"/>
                  <a:pt x="359" y="9"/>
                  <a:pt x="358" y="9"/>
                </a:cubicBezTo>
                <a:cubicBezTo>
                  <a:pt x="355" y="8"/>
                  <a:pt x="363" y="8"/>
                  <a:pt x="360" y="8"/>
                </a:cubicBezTo>
                <a:cubicBezTo>
                  <a:pt x="361" y="7"/>
                  <a:pt x="362" y="9"/>
                  <a:pt x="364" y="8"/>
                </a:cubicBezTo>
                <a:cubicBezTo>
                  <a:pt x="367" y="8"/>
                  <a:pt x="362" y="8"/>
                  <a:pt x="363" y="7"/>
                </a:cubicBezTo>
                <a:cubicBezTo>
                  <a:pt x="364" y="7"/>
                  <a:pt x="365" y="7"/>
                  <a:pt x="365" y="7"/>
                </a:cubicBezTo>
                <a:cubicBezTo>
                  <a:pt x="366" y="7"/>
                  <a:pt x="367" y="8"/>
                  <a:pt x="367" y="8"/>
                </a:cubicBezTo>
                <a:cubicBezTo>
                  <a:pt x="367" y="9"/>
                  <a:pt x="370" y="8"/>
                  <a:pt x="371" y="9"/>
                </a:cubicBezTo>
                <a:cubicBezTo>
                  <a:pt x="374" y="8"/>
                  <a:pt x="371" y="8"/>
                  <a:pt x="372" y="8"/>
                </a:cubicBezTo>
                <a:cubicBezTo>
                  <a:pt x="372" y="7"/>
                  <a:pt x="371" y="8"/>
                  <a:pt x="371" y="8"/>
                </a:cubicBezTo>
                <a:cubicBezTo>
                  <a:pt x="371" y="7"/>
                  <a:pt x="379" y="9"/>
                  <a:pt x="381" y="7"/>
                </a:cubicBezTo>
                <a:cubicBezTo>
                  <a:pt x="384" y="7"/>
                  <a:pt x="386" y="8"/>
                  <a:pt x="390" y="7"/>
                </a:cubicBezTo>
                <a:cubicBezTo>
                  <a:pt x="390" y="7"/>
                  <a:pt x="389" y="7"/>
                  <a:pt x="390" y="7"/>
                </a:cubicBezTo>
                <a:cubicBezTo>
                  <a:pt x="387" y="6"/>
                  <a:pt x="389" y="6"/>
                  <a:pt x="386" y="5"/>
                </a:cubicBezTo>
                <a:cubicBezTo>
                  <a:pt x="388" y="6"/>
                  <a:pt x="389" y="7"/>
                  <a:pt x="391" y="6"/>
                </a:cubicBezTo>
                <a:cubicBezTo>
                  <a:pt x="392" y="6"/>
                  <a:pt x="392" y="7"/>
                  <a:pt x="394" y="7"/>
                </a:cubicBezTo>
                <a:cubicBezTo>
                  <a:pt x="395" y="7"/>
                  <a:pt x="395" y="6"/>
                  <a:pt x="395" y="6"/>
                </a:cubicBezTo>
                <a:cubicBezTo>
                  <a:pt x="396" y="6"/>
                  <a:pt x="399" y="6"/>
                  <a:pt x="397" y="6"/>
                </a:cubicBezTo>
                <a:cubicBezTo>
                  <a:pt x="401" y="5"/>
                  <a:pt x="402" y="7"/>
                  <a:pt x="401" y="7"/>
                </a:cubicBezTo>
                <a:cubicBezTo>
                  <a:pt x="408" y="7"/>
                  <a:pt x="400" y="5"/>
                  <a:pt x="400" y="4"/>
                </a:cubicBezTo>
                <a:cubicBezTo>
                  <a:pt x="402" y="5"/>
                  <a:pt x="404" y="4"/>
                  <a:pt x="401" y="4"/>
                </a:cubicBezTo>
                <a:cubicBezTo>
                  <a:pt x="406" y="3"/>
                  <a:pt x="402" y="5"/>
                  <a:pt x="407" y="5"/>
                </a:cubicBezTo>
                <a:cubicBezTo>
                  <a:pt x="411" y="4"/>
                  <a:pt x="406" y="3"/>
                  <a:pt x="410" y="3"/>
                </a:cubicBezTo>
                <a:cubicBezTo>
                  <a:pt x="408" y="2"/>
                  <a:pt x="400" y="3"/>
                  <a:pt x="399" y="2"/>
                </a:cubicBezTo>
                <a:cubicBezTo>
                  <a:pt x="400" y="1"/>
                  <a:pt x="404" y="2"/>
                  <a:pt x="404" y="2"/>
                </a:cubicBezTo>
                <a:cubicBezTo>
                  <a:pt x="407" y="2"/>
                  <a:pt x="407" y="1"/>
                  <a:pt x="412" y="2"/>
                </a:cubicBezTo>
                <a:cubicBezTo>
                  <a:pt x="411" y="2"/>
                  <a:pt x="413" y="2"/>
                  <a:pt x="412" y="3"/>
                </a:cubicBezTo>
                <a:cubicBezTo>
                  <a:pt x="415" y="3"/>
                  <a:pt x="415" y="1"/>
                  <a:pt x="419" y="1"/>
                </a:cubicBezTo>
                <a:cubicBezTo>
                  <a:pt x="417" y="2"/>
                  <a:pt x="416" y="2"/>
                  <a:pt x="421" y="2"/>
                </a:cubicBezTo>
                <a:cubicBezTo>
                  <a:pt x="420" y="3"/>
                  <a:pt x="417" y="3"/>
                  <a:pt x="417" y="2"/>
                </a:cubicBezTo>
                <a:cubicBezTo>
                  <a:pt x="416" y="2"/>
                  <a:pt x="416" y="3"/>
                  <a:pt x="415" y="3"/>
                </a:cubicBezTo>
                <a:cubicBezTo>
                  <a:pt x="414" y="3"/>
                  <a:pt x="417" y="3"/>
                  <a:pt x="417" y="4"/>
                </a:cubicBezTo>
                <a:cubicBezTo>
                  <a:pt x="419" y="4"/>
                  <a:pt x="418" y="3"/>
                  <a:pt x="416" y="3"/>
                </a:cubicBezTo>
                <a:cubicBezTo>
                  <a:pt x="417" y="3"/>
                  <a:pt x="421" y="3"/>
                  <a:pt x="421" y="4"/>
                </a:cubicBezTo>
                <a:cubicBezTo>
                  <a:pt x="418" y="4"/>
                  <a:pt x="427" y="5"/>
                  <a:pt x="424" y="5"/>
                </a:cubicBezTo>
                <a:cubicBezTo>
                  <a:pt x="427" y="5"/>
                  <a:pt x="427" y="6"/>
                  <a:pt x="430" y="6"/>
                </a:cubicBezTo>
                <a:cubicBezTo>
                  <a:pt x="426" y="5"/>
                  <a:pt x="427" y="5"/>
                  <a:pt x="425" y="4"/>
                </a:cubicBezTo>
                <a:cubicBezTo>
                  <a:pt x="426" y="4"/>
                  <a:pt x="428" y="4"/>
                  <a:pt x="430" y="4"/>
                </a:cubicBezTo>
                <a:cubicBezTo>
                  <a:pt x="427" y="4"/>
                  <a:pt x="430" y="4"/>
                  <a:pt x="428" y="4"/>
                </a:cubicBezTo>
                <a:cubicBezTo>
                  <a:pt x="429" y="5"/>
                  <a:pt x="432" y="5"/>
                  <a:pt x="433" y="5"/>
                </a:cubicBezTo>
                <a:cubicBezTo>
                  <a:pt x="434" y="5"/>
                  <a:pt x="431" y="5"/>
                  <a:pt x="431" y="4"/>
                </a:cubicBezTo>
                <a:cubicBezTo>
                  <a:pt x="432" y="4"/>
                  <a:pt x="438" y="5"/>
                  <a:pt x="438" y="5"/>
                </a:cubicBezTo>
                <a:cubicBezTo>
                  <a:pt x="442" y="6"/>
                  <a:pt x="445" y="6"/>
                  <a:pt x="453" y="7"/>
                </a:cubicBezTo>
                <a:cubicBezTo>
                  <a:pt x="453" y="7"/>
                  <a:pt x="452" y="7"/>
                  <a:pt x="451" y="7"/>
                </a:cubicBezTo>
                <a:cubicBezTo>
                  <a:pt x="451" y="7"/>
                  <a:pt x="453" y="7"/>
                  <a:pt x="453" y="7"/>
                </a:cubicBezTo>
                <a:cubicBezTo>
                  <a:pt x="452" y="8"/>
                  <a:pt x="450" y="7"/>
                  <a:pt x="447" y="6"/>
                </a:cubicBezTo>
                <a:cubicBezTo>
                  <a:pt x="447" y="7"/>
                  <a:pt x="447" y="7"/>
                  <a:pt x="447" y="7"/>
                </a:cubicBezTo>
                <a:cubicBezTo>
                  <a:pt x="448" y="7"/>
                  <a:pt x="453" y="8"/>
                  <a:pt x="453" y="9"/>
                </a:cubicBezTo>
                <a:cubicBezTo>
                  <a:pt x="454" y="8"/>
                  <a:pt x="456" y="7"/>
                  <a:pt x="453" y="6"/>
                </a:cubicBezTo>
                <a:cubicBezTo>
                  <a:pt x="454" y="6"/>
                  <a:pt x="457" y="7"/>
                  <a:pt x="455" y="6"/>
                </a:cubicBezTo>
                <a:cubicBezTo>
                  <a:pt x="456" y="6"/>
                  <a:pt x="458" y="7"/>
                  <a:pt x="460" y="7"/>
                </a:cubicBezTo>
                <a:cubicBezTo>
                  <a:pt x="460" y="7"/>
                  <a:pt x="459" y="7"/>
                  <a:pt x="458" y="6"/>
                </a:cubicBezTo>
                <a:cubicBezTo>
                  <a:pt x="460" y="6"/>
                  <a:pt x="465" y="7"/>
                  <a:pt x="465" y="6"/>
                </a:cubicBezTo>
                <a:cubicBezTo>
                  <a:pt x="466" y="7"/>
                  <a:pt x="466" y="7"/>
                  <a:pt x="465" y="7"/>
                </a:cubicBezTo>
                <a:cubicBezTo>
                  <a:pt x="466" y="7"/>
                  <a:pt x="469" y="8"/>
                  <a:pt x="468" y="8"/>
                </a:cubicBezTo>
                <a:cubicBezTo>
                  <a:pt x="466" y="8"/>
                  <a:pt x="466" y="8"/>
                  <a:pt x="463" y="7"/>
                </a:cubicBezTo>
                <a:cubicBezTo>
                  <a:pt x="463" y="8"/>
                  <a:pt x="464" y="8"/>
                  <a:pt x="464" y="8"/>
                </a:cubicBezTo>
                <a:cubicBezTo>
                  <a:pt x="468" y="9"/>
                  <a:pt x="467" y="8"/>
                  <a:pt x="470" y="9"/>
                </a:cubicBezTo>
                <a:cubicBezTo>
                  <a:pt x="470" y="8"/>
                  <a:pt x="473" y="8"/>
                  <a:pt x="477" y="9"/>
                </a:cubicBezTo>
                <a:cubicBezTo>
                  <a:pt x="476" y="10"/>
                  <a:pt x="474" y="9"/>
                  <a:pt x="471" y="9"/>
                </a:cubicBezTo>
                <a:cubicBezTo>
                  <a:pt x="472" y="9"/>
                  <a:pt x="472" y="10"/>
                  <a:pt x="472" y="10"/>
                </a:cubicBezTo>
                <a:cubicBezTo>
                  <a:pt x="473" y="10"/>
                  <a:pt x="475" y="10"/>
                  <a:pt x="476" y="10"/>
                </a:cubicBezTo>
                <a:cubicBezTo>
                  <a:pt x="478" y="10"/>
                  <a:pt x="478" y="11"/>
                  <a:pt x="478" y="11"/>
                </a:cubicBezTo>
                <a:cubicBezTo>
                  <a:pt x="479" y="11"/>
                  <a:pt x="481" y="11"/>
                  <a:pt x="483" y="12"/>
                </a:cubicBezTo>
                <a:cubicBezTo>
                  <a:pt x="483" y="11"/>
                  <a:pt x="484" y="11"/>
                  <a:pt x="482" y="11"/>
                </a:cubicBezTo>
                <a:cubicBezTo>
                  <a:pt x="483" y="10"/>
                  <a:pt x="485" y="11"/>
                  <a:pt x="484" y="12"/>
                </a:cubicBezTo>
                <a:cubicBezTo>
                  <a:pt x="485" y="12"/>
                  <a:pt x="486" y="11"/>
                  <a:pt x="487" y="12"/>
                </a:cubicBezTo>
                <a:cubicBezTo>
                  <a:pt x="487" y="12"/>
                  <a:pt x="485" y="10"/>
                  <a:pt x="490" y="11"/>
                </a:cubicBezTo>
                <a:cubicBezTo>
                  <a:pt x="490" y="10"/>
                  <a:pt x="485" y="10"/>
                  <a:pt x="484" y="9"/>
                </a:cubicBezTo>
                <a:cubicBezTo>
                  <a:pt x="482" y="9"/>
                  <a:pt x="481" y="9"/>
                  <a:pt x="482" y="9"/>
                </a:cubicBezTo>
                <a:cubicBezTo>
                  <a:pt x="480" y="9"/>
                  <a:pt x="481" y="9"/>
                  <a:pt x="478" y="8"/>
                </a:cubicBezTo>
                <a:cubicBezTo>
                  <a:pt x="478" y="8"/>
                  <a:pt x="482" y="9"/>
                  <a:pt x="481" y="7"/>
                </a:cubicBezTo>
                <a:cubicBezTo>
                  <a:pt x="484" y="8"/>
                  <a:pt x="482" y="8"/>
                  <a:pt x="482" y="8"/>
                </a:cubicBezTo>
                <a:cubicBezTo>
                  <a:pt x="486" y="9"/>
                  <a:pt x="486" y="9"/>
                  <a:pt x="489" y="9"/>
                </a:cubicBezTo>
                <a:cubicBezTo>
                  <a:pt x="489" y="9"/>
                  <a:pt x="487" y="9"/>
                  <a:pt x="487" y="8"/>
                </a:cubicBezTo>
                <a:cubicBezTo>
                  <a:pt x="491" y="9"/>
                  <a:pt x="493" y="10"/>
                  <a:pt x="496" y="11"/>
                </a:cubicBezTo>
                <a:cubicBezTo>
                  <a:pt x="495" y="11"/>
                  <a:pt x="495" y="10"/>
                  <a:pt x="495" y="11"/>
                </a:cubicBezTo>
                <a:cubicBezTo>
                  <a:pt x="496" y="11"/>
                  <a:pt x="499" y="12"/>
                  <a:pt x="499" y="11"/>
                </a:cubicBezTo>
                <a:cubicBezTo>
                  <a:pt x="500" y="12"/>
                  <a:pt x="500" y="12"/>
                  <a:pt x="501" y="13"/>
                </a:cubicBezTo>
                <a:cubicBezTo>
                  <a:pt x="505" y="13"/>
                  <a:pt x="510" y="15"/>
                  <a:pt x="512" y="16"/>
                </a:cubicBezTo>
                <a:cubicBezTo>
                  <a:pt x="514" y="17"/>
                  <a:pt x="512" y="15"/>
                  <a:pt x="510" y="14"/>
                </a:cubicBezTo>
                <a:cubicBezTo>
                  <a:pt x="510" y="14"/>
                  <a:pt x="516" y="16"/>
                  <a:pt x="514" y="16"/>
                </a:cubicBezTo>
                <a:cubicBezTo>
                  <a:pt x="516" y="17"/>
                  <a:pt x="519" y="18"/>
                  <a:pt x="520" y="18"/>
                </a:cubicBezTo>
                <a:cubicBezTo>
                  <a:pt x="519" y="17"/>
                  <a:pt x="518" y="17"/>
                  <a:pt x="517" y="17"/>
                </a:cubicBezTo>
                <a:cubicBezTo>
                  <a:pt x="520" y="17"/>
                  <a:pt x="527" y="19"/>
                  <a:pt x="532" y="21"/>
                </a:cubicBezTo>
                <a:cubicBezTo>
                  <a:pt x="529" y="19"/>
                  <a:pt x="537" y="22"/>
                  <a:pt x="537" y="22"/>
                </a:cubicBezTo>
                <a:cubicBezTo>
                  <a:pt x="539" y="22"/>
                  <a:pt x="538" y="23"/>
                  <a:pt x="540" y="23"/>
                </a:cubicBezTo>
                <a:cubicBezTo>
                  <a:pt x="539" y="23"/>
                  <a:pt x="538" y="23"/>
                  <a:pt x="536" y="22"/>
                </a:cubicBezTo>
                <a:cubicBezTo>
                  <a:pt x="536" y="23"/>
                  <a:pt x="543" y="25"/>
                  <a:pt x="545" y="25"/>
                </a:cubicBezTo>
                <a:cubicBezTo>
                  <a:pt x="545" y="25"/>
                  <a:pt x="542" y="25"/>
                  <a:pt x="540" y="24"/>
                </a:cubicBezTo>
                <a:cubicBezTo>
                  <a:pt x="543" y="24"/>
                  <a:pt x="547" y="25"/>
                  <a:pt x="551" y="27"/>
                </a:cubicBezTo>
                <a:cubicBezTo>
                  <a:pt x="551" y="27"/>
                  <a:pt x="550" y="27"/>
                  <a:pt x="552" y="28"/>
                </a:cubicBezTo>
                <a:cubicBezTo>
                  <a:pt x="551" y="28"/>
                  <a:pt x="549" y="26"/>
                  <a:pt x="549" y="27"/>
                </a:cubicBezTo>
                <a:cubicBezTo>
                  <a:pt x="550" y="28"/>
                  <a:pt x="552" y="28"/>
                  <a:pt x="552" y="29"/>
                </a:cubicBezTo>
                <a:cubicBezTo>
                  <a:pt x="554" y="30"/>
                  <a:pt x="550" y="28"/>
                  <a:pt x="551" y="29"/>
                </a:cubicBezTo>
                <a:cubicBezTo>
                  <a:pt x="555" y="29"/>
                  <a:pt x="555" y="30"/>
                  <a:pt x="558" y="30"/>
                </a:cubicBezTo>
                <a:cubicBezTo>
                  <a:pt x="562" y="32"/>
                  <a:pt x="569" y="34"/>
                  <a:pt x="569" y="35"/>
                </a:cubicBezTo>
                <a:cubicBezTo>
                  <a:pt x="571" y="36"/>
                  <a:pt x="570" y="35"/>
                  <a:pt x="571" y="35"/>
                </a:cubicBezTo>
                <a:cubicBezTo>
                  <a:pt x="572" y="36"/>
                  <a:pt x="575" y="37"/>
                  <a:pt x="573" y="37"/>
                </a:cubicBezTo>
                <a:cubicBezTo>
                  <a:pt x="575" y="38"/>
                  <a:pt x="575" y="38"/>
                  <a:pt x="577" y="39"/>
                </a:cubicBezTo>
                <a:cubicBezTo>
                  <a:pt x="577" y="39"/>
                  <a:pt x="575" y="39"/>
                  <a:pt x="576" y="39"/>
                </a:cubicBezTo>
                <a:cubicBezTo>
                  <a:pt x="578" y="40"/>
                  <a:pt x="578" y="39"/>
                  <a:pt x="579" y="39"/>
                </a:cubicBezTo>
                <a:cubicBezTo>
                  <a:pt x="579" y="38"/>
                  <a:pt x="576" y="38"/>
                  <a:pt x="576" y="38"/>
                </a:cubicBezTo>
                <a:cubicBezTo>
                  <a:pt x="576" y="37"/>
                  <a:pt x="580" y="39"/>
                  <a:pt x="579" y="39"/>
                </a:cubicBezTo>
                <a:cubicBezTo>
                  <a:pt x="581" y="40"/>
                  <a:pt x="581" y="40"/>
                  <a:pt x="583" y="40"/>
                </a:cubicBezTo>
                <a:cubicBezTo>
                  <a:pt x="586" y="42"/>
                  <a:pt x="586" y="42"/>
                  <a:pt x="589" y="44"/>
                </a:cubicBezTo>
                <a:cubicBezTo>
                  <a:pt x="587" y="43"/>
                  <a:pt x="587" y="42"/>
                  <a:pt x="586" y="42"/>
                </a:cubicBezTo>
                <a:cubicBezTo>
                  <a:pt x="585" y="40"/>
                  <a:pt x="593" y="44"/>
                  <a:pt x="594" y="45"/>
                </a:cubicBezTo>
                <a:cubicBezTo>
                  <a:pt x="594" y="45"/>
                  <a:pt x="591" y="43"/>
                  <a:pt x="590" y="43"/>
                </a:cubicBezTo>
                <a:cubicBezTo>
                  <a:pt x="592" y="45"/>
                  <a:pt x="596" y="46"/>
                  <a:pt x="598" y="48"/>
                </a:cubicBezTo>
                <a:cubicBezTo>
                  <a:pt x="600" y="49"/>
                  <a:pt x="597" y="46"/>
                  <a:pt x="599" y="47"/>
                </a:cubicBezTo>
                <a:cubicBezTo>
                  <a:pt x="600" y="48"/>
                  <a:pt x="601" y="49"/>
                  <a:pt x="603" y="50"/>
                </a:cubicBezTo>
                <a:cubicBezTo>
                  <a:pt x="603" y="50"/>
                  <a:pt x="606" y="52"/>
                  <a:pt x="606" y="51"/>
                </a:cubicBezTo>
                <a:cubicBezTo>
                  <a:pt x="612" y="54"/>
                  <a:pt x="615" y="56"/>
                  <a:pt x="620" y="59"/>
                </a:cubicBezTo>
                <a:cubicBezTo>
                  <a:pt x="619" y="58"/>
                  <a:pt x="619" y="59"/>
                  <a:pt x="619" y="59"/>
                </a:cubicBezTo>
                <a:cubicBezTo>
                  <a:pt x="624" y="60"/>
                  <a:pt x="634" y="67"/>
                  <a:pt x="640" y="71"/>
                </a:cubicBezTo>
                <a:cubicBezTo>
                  <a:pt x="642" y="72"/>
                  <a:pt x="641" y="71"/>
                  <a:pt x="643" y="73"/>
                </a:cubicBezTo>
                <a:cubicBezTo>
                  <a:pt x="643" y="73"/>
                  <a:pt x="643" y="73"/>
                  <a:pt x="644" y="73"/>
                </a:cubicBezTo>
                <a:cubicBezTo>
                  <a:pt x="644" y="73"/>
                  <a:pt x="643" y="72"/>
                  <a:pt x="642" y="72"/>
                </a:cubicBezTo>
                <a:cubicBezTo>
                  <a:pt x="645" y="73"/>
                  <a:pt x="651" y="78"/>
                  <a:pt x="653" y="78"/>
                </a:cubicBezTo>
                <a:cubicBezTo>
                  <a:pt x="655" y="80"/>
                  <a:pt x="658" y="83"/>
                  <a:pt x="661" y="84"/>
                </a:cubicBezTo>
                <a:cubicBezTo>
                  <a:pt x="665" y="87"/>
                  <a:pt x="675" y="94"/>
                  <a:pt x="680" y="98"/>
                </a:cubicBezTo>
                <a:cubicBezTo>
                  <a:pt x="680" y="98"/>
                  <a:pt x="679" y="97"/>
                  <a:pt x="679" y="98"/>
                </a:cubicBezTo>
                <a:cubicBezTo>
                  <a:pt x="681" y="99"/>
                  <a:pt x="682" y="100"/>
                  <a:pt x="684" y="102"/>
                </a:cubicBezTo>
                <a:cubicBezTo>
                  <a:pt x="685" y="102"/>
                  <a:pt x="683" y="101"/>
                  <a:pt x="684" y="101"/>
                </a:cubicBezTo>
                <a:cubicBezTo>
                  <a:pt x="688" y="104"/>
                  <a:pt x="693" y="109"/>
                  <a:pt x="699" y="114"/>
                </a:cubicBezTo>
                <a:cubicBezTo>
                  <a:pt x="698" y="114"/>
                  <a:pt x="698" y="114"/>
                  <a:pt x="699" y="115"/>
                </a:cubicBezTo>
                <a:cubicBezTo>
                  <a:pt x="701" y="117"/>
                  <a:pt x="702" y="118"/>
                  <a:pt x="703" y="118"/>
                </a:cubicBezTo>
                <a:cubicBezTo>
                  <a:pt x="705" y="120"/>
                  <a:pt x="704" y="119"/>
                  <a:pt x="705" y="120"/>
                </a:cubicBezTo>
                <a:cubicBezTo>
                  <a:pt x="707" y="122"/>
                  <a:pt x="704" y="119"/>
                  <a:pt x="705" y="119"/>
                </a:cubicBezTo>
                <a:cubicBezTo>
                  <a:pt x="707" y="121"/>
                  <a:pt x="707" y="121"/>
                  <a:pt x="709" y="123"/>
                </a:cubicBezTo>
                <a:cubicBezTo>
                  <a:pt x="705" y="121"/>
                  <a:pt x="715" y="129"/>
                  <a:pt x="718" y="132"/>
                </a:cubicBezTo>
                <a:cubicBezTo>
                  <a:pt x="716" y="131"/>
                  <a:pt x="717" y="131"/>
                  <a:pt x="716" y="129"/>
                </a:cubicBezTo>
                <a:cubicBezTo>
                  <a:pt x="716" y="129"/>
                  <a:pt x="717" y="130"/>
                  <a:pt x="717" y="130"/>
                </a:cubicBezTo>
                <a:cubicBezTo>
                  <a:pt x="722" y="135"/>
                  <a:pt x="722" y="134"/>
                  <a:pt x="723" y="137"/>
                </a:cubicBezTo>
                <a:cubicBezTo>
                  <a:pt x="724" y="138"/>
                  <a:pt x="723" y="136"/>
                  <a:pt x="724" y="136"/>
                </a:cubicBezTo>
                <a:cubicBezTo>
                  <a:pt x="727" y="139"/>
                  <a:pt x="727" y="140"/>
                  <a:pt x="728" y="141"/>
                </a:cubicBezTo>
                <a:cubicBezTo>
                  <a:pt x="729" y="142"/>
                  <a:pt x="732" y="144"/>
                  <a:pt x="732" y="145"/>
                </a:cubicBezTo>
                <a:cubicBezTo>
                  <a:pt x="732" y="146"/>
                  <a:pt x="735" y="148"/>
                  <a:pt x="734" y="148"/>
                </a:cubicBezTo>
                <a:cubicBezTo>
                  <a:pt x="736" y="149"/>
                  <a:pt x="736" y="149"/>
                  <a:pt x="737" y="150"/>
                </a:cubicBezTo>
                <a:cubicBezTo>
                  <a:pt x="738" y="150"/>
                  <a:pt x="735" y="148"/>
                  <a:pt x="734" y="147"/>
                </a:cubicBezTo>
                <a:cubicBezTo>
                  <a:pt x="736" y="147"/>
                  <a:pt x="734" y="144"/>
                  <a:pt x="736" y="144"/>
                </a:cubicBezTo>
                <a:cubicBezTo>
                  <a:pt x="739" y="150"/>
                  <a:pt x="741" y="155"/>
                  <a:pt x="745" y="161"/>
                </a:cubicBezTo>
                <a:cubicBezTo>
                  <a:pt x="747" y="163"/>
                  <a:pt x="742" y="157"/>
                  <a:pt x="747" y="162"/>
                </a:cubicBezTo>
                <a:cubicBezTo>
                  <a:pt x="747" y="161"/>
                  <a:pt x="745" y="159"/>
                  <a:pt x="746" y="160"/>
                </a:cubicBezTo>
                <a:cubicBezTo>
                  <a:pt x="744" y="157"/>
                  <a:pt x="744" y="158"/>
                  <a:pt x="743" y="156"/>
                </a:cubicBezTo>
                <a:cubicBezTo>
                  <a:pt x="743" y="156"/>
                  <a:pt x="745" y="158"/>
                  <a:pt x="746" y="159"/>
                </a:cubicBezTo>
                <a:cubicBezTo>
                  <a:pt x="746" y="159"/>
                  <a:pt x="745" y="156"/>
                  <a:pt x="747" y="158"/>
                </a:cubicBezTo>
                <a:cubicBezTo>
                  <a:pt x="746" y="156"/>
                  <a:pt x="744" y="153"/>
                  <a:pt x="745" y="154"/>
                </a:cubicBezTo>
                <a:cubicBezTo>
                  <a:pt x="747" y="156"/>
                  <a:pt x="748" y="158"/>
                  <a:pt x="749" y="159"/>
                </a:cubicBezTo>
                <a:cubicBezTo>
                  <a:pt x="749" y="160"/>
                  <a:pt x="752" y="165"/>
                  <a:pt x="750" y="164"/>
                </a:cubicBezTo>
                <a:cubicBezTo>
                  <a:pt x="752" y="166"/>
                  <a:pt x="751" y="167"/>
                  <a:pt x="751" y="167"/>
                </a:cubicBezTo>
                <a:cubicBezTo>
                  <a:pt x="753" y="170"/>
                  <a:pt x="756" y="173"/>
                  <a:pt x="757" y="174"/>
                </a:cubicBezTo>
                <a:cubicBezTo>
                  <a:pt x="757" y="173"/>
                  <a:pt x="755" y="172"/>
                  <a:pt x="754" y="170"/>
                </a:cubicBezTo>
                <a:cubicBezTo>
                  <a:pt x="754" y="168"/>
                  <a:pt x="759" y="172"/>
                  <a:pt x="756" y="168"/>
                </a:cubicBezTo>
                <a:cubicBezTo>
                  <a:pt x="757" y="169"/>
                  <a:pt x="757" y="170"/>
                  <a:pt x="759" y="173"/>
                </a:cubicBezTo>
                <a:cubicBezTo>
                  <a:pt x="759" y="174"/>
                  <a:pt x="757" y="173"/>
                  <a:pt x="760" y="177"/>
                </a:cubicBezTo>
                <a:cubicBezTo>
                  <a:pt x="759" y="176"/>
                  <a:pt x="759" y="175"/>
                  <a:pt x="758" y="175"/>
                </a:cubicBezTo>
                <a:cubicBezTo>
                  <a:pt x="760" y="177"/>
                  <a:pt x="760" y="179"/>
                  <a:pt x="762" y="181"/>
                </a:cubicBezTo>
                <a:cubicBezTo>
                  <a:pt x="762" y="182"/>
                  <a:pt x="762" y="181"/>
                  <a:pt x="764" y="182"/>
                </a:cubicBezTo>
                <a:cubicBezTo>
                  <a:pt x="765" y="184"/>
                  <a:pt x="766" y="187"/>
                  <a:pt x="767" y="186"/>
                </a:cubicBezTo>
                <a:cubicBezTo>
                  <a:pt x="768" y="186"/>
                  <a:pt x="765" y="183"/>
                  <a:pt x="764" y="182"/>
                </a:cubicBezTo>
                <a:cubicBezTo>
                  <a:pt x="762" y="178"/>
                  <a:pt x="767" y="183"/>
                  <a:pt x="764" y="178"/>
                </a:cubicBezTo>
                <a:cubicBezTo>
                  <a:pt x="766" y="180"/>
                  <a:pt x="766" y="181"/>
                  <a:pt x="766" y="179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70" y="185"/>
                  <a:pt x="768" y="190"/>
                  <a:pt x="774" y="194"/>
                </a:cubicBezTo>
                <a:cubicBezTo>
                  <a:pt x="773" y="192"/>
                  <a:pt x="774" y="192"/>
                  <a:pt x="776" y="194"/>
                </a:cubicBezTo>
                <a:cubicBezTo>
                  <a:pt x="775" y="192"/>
                  <a:pt x="774" y="188"/>
                  <a:pt x="776" y="190"/>
                </a:cubicBezTo>
                <a:cubicBezTo>
                  <a:pt x="782" y="200"/>
                  <a:pt x="774" y="198"/>
                  <a:pt x="781" y="209"/>
                </a:cubicBezTo>
                <a:cubicBezTo>
                  <a:pt x="782" y="211"/>
                  <a:pt x="782" y="210"/>
                  <a:pt x="784" y="211"/>
                </a:cubicBezTo>
                <a:cubicBezTo>
                  <a:pt x="782" y="207"/>
                  <a:pt x="785" y="207"/>
                  <a:pt x="785" y="203"/>
                </a:cubicBezTo>
                <a:cubicBezTo>
                  <a:pt x="789" y="210"/>
                  <a:pt x="784" y="206"/>
                  <a:pt x="788" y="212"/>
                </a:cubicBezTo>
                <a:cubicBezTo>
                  <a:pt x="786" y="212"/>
                  <a:pt x="788" y="216"/>
                  <a:pt x="786" y="217"/>
                </a:cubicBezTo>
                <a:cubicBezTo>
                  <a:pt x="787" y="218"/>
                  <a:pt x="788" y="218"/>
                  <a:pt x="789" y="220"/>
                </a:cubicBezTo>
                <a:cubicBezTo>
                  <a:pt x="788" y="220"/>
                  <a:pt x="787" y="218"/>
                  <a:pt x="787" y="219"/>
                </a:cubicBezTo>
                <a:cubicBezTo>
                  <a:pt x="788" y="221"/>
                  <a:pt x="789" y="223"/>
                  <a:pt x="791" y="226"/>
                </a:cubicBezTo>
                <a:cubicBezTo>
                  <a:pt x="793" y="227"/>
                  <a:pt x="790" y="222"/>
                  <a:pt x="793" y="224"/>
                </a:cubicBezTo>
                <a:cubicBezTo>
                  <a:pt x="792" y="220"/>
                  <a:pt x="793" y="220"/>
                  <a:pt x="795" y="221"/>
                </a:cubicBezTo>
                <a:cubicBezTo>
                  <a:pt x="798" y="227"/>
                  <a:pt x="796" y="231"/>
                  <a:pt x="795" y="230"/>
                </a:cubicBezTo>
                <a:cubicBezTo>
                  <a:pt x="795" y="231"/>
                  <a:pt x="796" y="233"/>
                  <a:pt x="796" y="234"/>
                </a:cubicBezTo>
                <a:cubicBezTo>
                  <a:pt x="793" y="231"/>
                  <a:pt x="796" y="239"/>
                  <a:pt x="792" y="235"/>
                </a:cubicBezTo>
                <a:cubicBezTo>
                  <a:pt x="794" y="238"/>
                  <a:pt x="793" y="237"/>
                  <a:pt x="792" y="236"/>
                </a:cubicBezTo>
                <a:cubicBezTo>
                  <a:pt x="794" y="240"/>
                  <a:pt x="794" y="243"/>
                  <a:pt x="797" y="248"/>
                </a:cubicBezTo>
                <a:cubicBezTo>
                  <a:pt x="797" y="246"/>
                  <a:pt x="797" y="245"/>
                  <a:pt x="799" y="248"/>
                </a:cubicBezTo>
                <a:cubicBezTo>
                  <a:pt x="799" y="247"/>
                  <a:pt x="798" y="246"/>
                  <a:pt x="798" y="245"/>
                </a:cubicBezTo>
                <a:cubicBezTo>
                  <a:pt x="798" y="244"/>
                  <a:pt x="799" y="247"/>
                  <a:pt x="800" y="247"/>
                </a:cubicBezTo>
                <a:cubicBezTo>
                  <a:pt x="800" y="246"/>
                  <a:pt x="799" y="246"/>
                  <a:pt x="798" y="244"/>
                </a:cubicBezTo>
                <a:cubicBezTo>
                  <a:pt x="799" y="244"/>
                  <a:pt x="800" y="246"/>
                  <a:pt x="800" y="246"/>
                </a:cubicBezTo>
                <a:cubicBezTo>
                  <a:pt x="802" y="250"/>
                  <a:pt x="800" y="249"/>
                  <a:pt x="801" y="252"/>
                </a:cubicBezTo>
                <a:cubicBezTo>
                  <a:pt x="799" y="250"/>
                  <a:pt x="800" y="252"/>
                  <a:pt x="799" y="251"/>
                </a:cubicBezTo>
                <a:cubicBezTo>
                  <a:pt x="800" y="252"/>
                  <a:pt x="801" y="254"/>
                  <a:pt x="802" y="256"/>
                </a:cubicBezTo>
                <a:cubicBezTo>
                  <a:pt x="800" y="254"/>
                  <a:pt x="800" y="256"/>
                  <a:pt x="799" y="255"/>
                </a:cubicBezTo>
                <a:cubicBezTo>
                  <a:pt x="799" y="256"/>
                  <a:pt x="800" y="257"/>
                  <a:pt x="800" y="258"/>
                </a:cubicBezTo>
                <a:cubicBezTo>
                  <a:pt x="798" y="257"/>
                  <a:pt x="797" y="261"/>
                  <a:pt x="794" y="257"/>
                </a:cubicBezTo>
                <a:cubicBezTo>
                  <a:pt x="794" y="258"/>
                  <a:pt x="795" y="260"/>
                  <a:pt x="794" y="260"/>
                </a:cubicBezTo>
                <a:cubicBezTo>
                  <a:pt x="792" y="255"/>
                  <a:pt x="791" y="256"/>
                  <a:pt x="790" y="256"/>
                </a:cubicBezTo>
                <a:cubicBezTo>
                  <a:pt x="792" y="259"/>
                  <a:pt x="794" y="261"/>
                  <a:pt x="795" y="265"/>
                </a:cubicBezTo>
                <a:cubicBezTo>
                  <a:pt x="793" y="262"/>
                  <a:pt x="795" y="266"/>
                  <a:pt x="793" y="262"/>
                </a:cubicBezTo>
                <a:cubicBezTo>
                  <a:pt x="792" y="267"/>
                  <a:pt x="790" y="268"/>
                  <a:pt x="787" y="266"/>
                </a:cubicBezTo>
                <a:cubicBezTo>
                  <a:pt x="786" y="263"/>
                  <a:pt x="784" y="260"/>
                  <a:pt x="784" y="259"/>
                </a:cubicBezTo>
                <a:cubicBezTo>
                  <a:pt x="784" y="258"/>
                  <a:pt x="783" y="258"/>
                  <a:pt x="783" y="257"/>
                </a:cubicBezTo>
                <a:cubicBezTo>
                  <a:pt x="783" y="257"/>
                  <a:pt x="783" y="258"/>
                  <a:pt x="784" y="259"/>
                </a:cubicBezTo>
                <a:cubicBezTo>
                  <a:pt x="783" y="258"/>
                  <a:pt x="782" y="256"/>
                  <a:pt x="782" y="255"/>
                </a:cubicBezTo>
                <a:close/>
                <a:moveTo>
                  <a:pt x="340" y="50"/>
                </a:moveTo>
                <a:cubicBezTo>
                  <a:pt x="338" y="51"/>
                  <a:pt x="336" y="51"/>
                  <a:pt x="336" y="51"/>
                </a:cubicBezTo>
                <a:cubicBezTo>
                  <a:pt x="338" y="51"/>
                  <a:pt x="340" y="51"/>
                  <a:pt x="340" y="50"/>
                </a:cubicBezTo>
                <a:close/>
                <a:moveTo>
                  <a:pt x="236" y="74"/>
                </a:moveTo>
                <a:cubicBezTo>
                  <a:pt x="236" y="74"/>
                  <a:pt x="235" y="75"/>
                  <a:pt x="235" y="74"/>
                </a:cubicBezTo>
                <a:cubicBezTo>
                  <a:pt x="234" y="75"/>
                  <a:pt x="233" y="75"/>
                  <a:pt x="233" y="76"/>
                </a:cubicBezTo>
                <a:cubicBezTo>
                  <a:pt x="236" y="75"/>
                  <a:pt x="230" y="77"/>
                  <a:pt x="232" y="77"/>
                </a:cubicBezTo>
                <a:cubicBezTo>
                  <a:pt x="234" y="76"/>
                  <a:pt x="235" y="75"/>
                  <a:pt x="236" y="74"/>
                </a:cubicBezTo>
                <a:close/>
                <a:moveTo>
                  <a:pt x="231" y="76"/>
                </a:moveTo>
                <a:cubicBezTo>
                  <a:pt x="232" y="75"/>
                  <a:pt x="233" y="76"/>
                  <a:pt x="234" y="74"/>
                </a:cubicBezTo>
                <a:cubicBezTo>
                  <a:pt x="234" y="75"/>
                  <a:pt x="236" y="72"/>
                  <a:pt x="237" y="71"/>
                </a:cubicBezTo>
                <a:cubicBezTo>
                  <a:pt x="233" y="73"/>
                  <a:pt x="233" y="74"/>
                  <a:pt x="231" y="76"/>
                </a:cubicBezTo>
                <a:close/>
                <a:moveTo>
                  <a:pt x="162" y="116"/>
                </a:moveTo>
                <a:cubicBezTo>
                  <a:pt x="164" y="115"/>
                  <a:pt x="164" y="115"/>
                  <a:pt x="164" y="115"/>
                </a:cubicBezTo>
                <a:cubicBezTo>
                  <a:pt x="162" y="115"/>
                  <a:pt x="165" y="114"/>
                  <a:pt x="167" y="112"/>
                </a:cubicBezTo>
                <a:cubicBezTo>
                  <a:pt x="165" y="113"/>
                  <a:pt x="164" y="114"/>
                  <a:pt x="164" y="114"/>
                </a:cubicBezTo>
                <a:cubicBezTo>
                  <a:pt x="167" y="111"/>
                  <a:pt x="164" y="113"/>
                  <a:pt x="165" y="111"/>
                </a:cubicBezTo>
                <a:cubicBezTo>
                  <a:pt x="164" y="112"/>
                  <a:pt x="162" y="113"/>
                  <a:pt x="162" y="114"/>
                </a:cubicBezTo>
                <a:cubicBezTo>
                  <a:pt x="168" y="110"/>
                  <a:pt x="160" y="115"/>
                  <a:pt x="162" y="114"/>
                </a:cubicBezTo>
                <a:cubicBezTo>
                  <a:pt x="166" y="112"/>
                  <a:pt x="161" y="116"/>
                  <a:pt x="162" y="116"/>
                </a:cubicBezTo>
                <a:close/>
                <a:moveTo>
                  <a:pt x="132" y="113"/>
                </a:moveTo>
                <a:cubicBezTo>
                  <a:pt x="134" y="112"/>
                  <a:pt x="135" y="111"/>
                  <a:pt x="134" y="111"/>
                </a:cubicBezTo>
                <a:cubicBezTo>
                  <a:pt x="132" y="113"/>
                  <a:pt x="132" y="113"/>
                  <a:pt x="132" y="113"/>
                </a:cubicBezTo>
                <a:close/>
                <a:moveTo>
                  <a:pt x="788" y="254"/>
                </a:moveTo>
                <a:cubicBezTo>
                  <a:pt x="788" y="256"/>
                  <a:pt x="790" y="259"/>
                  <a:pt x="791" y="260"/>
                </a:cubicBezTo>
                <a:cubicBezTo>
                  <a:pt x="790" y="258"/>
                  <a:pt x="789" y="255"/>
                  <a:pt x="788" y="254"/>
                </a:cubicBezTo>
                <a:close/>
                <a:moveTo>
                  <a:pt x="792" y="242"/>
                </a:moveTo>
                <a:cubicBezTo>
                  <a:pt x="793" y="245"/>
                  <a:pt x="794" y="247"/>
                  <a:pt x="796" y="250"/>
                </a:cubicBezTo>
                <a:cubicBezTo>
                  <a:pt x="797" y="249"/>
                  <a:pt x="792" y="240"/>
                  <a:pt x="790" y="237"/>
                </a:cubicBezTo>
                <a:cubicBezTo>
                  <a:pt x="790" y="239"/>
                  <a:pt x="794" y="244"/>
                  <a:pt x="795" y="246"/>
                </a:cubicBezTo>
                <a:cubicBezTo>
                  <a:pt x="794" y="246"/>
                  <a:pt x="793" y="243"/>
                  <a:pt x="792" y="242"/>
                </a:cubicBezTo>
                <a:close/>
                <a:moveTo>
                  <a:pt x="787" y="245"/>
                </a:moveTo>
                <a:cubicBezTo>
                  <a:pt x="787" y="245"/>
                  <a:pt x="787" y="247"/>
                  <a:pt x="786" y="246"/>
                </a:cubicBezTo>
                <a:cubicBezTo>
                  <a:pt x="788" y="248"/>
                  <a:pt x="789" y="252"/>
                  <a:pt x="790" y="253"/>
                </a:cubicBezTo>
                <a:cubicBezTo>
                  <a:pt x="789" y="250"/>
                  <a:pt x="788" y="247"/>
                  <a:pt x="787" y="245"/>
                </a:cubicBezTo>
                <a:close/>
                <a:moveTo>
                  <a:pt x="779" y="256"/>
                </a:moveTo>
                <a:cubicBezTo>
                  <a:pt x="779" y="256"/>
                  <a:pt x="776" y="252"/>
                  <a:pt x="777" y="255"/>
                </a:cubicBezTo>
                <a:cubicBezTo>
                  <a:pt x="778" y="255"/>
                  <a:pt x="778" y="255"/>
                  <a:pt x="779" y="257"/>
                </a:cubicBezTo>
                <a:cubicBezTo>
                  <a:pt x="779" y="258"/>
                  <a:pt x="779" y="258"/>
                  <a:pt x="779" y="258"/>
                </a:cubicBezTo>
                <a:cubicBezTo>
                  <a:pt x="780" y="258"/>
                  <a:pt x="780" y="258"/>
                  <a:pt x="779" y="256"/>
                </a:cubicBezTo>
                <a:close/>
                <a:moveTo>
                  <a:pt x="785" y="244"/>
                </a:moveTo>
                <a:cubicBezTo>
                  <a:pt x="787" y="249"/>
                  <a:pt x="783" y="241"/>
                  <a:pt x="784" y="244"/>
                </a:cubicBezTo>
                <a:cubicBezTo>
                  <a:pt x="786" y="246"/>
                  <a:pt x="784" y="246"/>
                  <a:pt x="785" y="247"/>
                </a:cubicBezTo>
                <a:cubicBezTo>
                  <a:pt x="785" y="246"/>
                  <a:pt x="787" y="249"/>
                  <a:pt x="787" y="249"/>
                </a:cubicBezTo>
                <a:cubicBezTo>
                  <a:pt x="786" y="247"/>
                  <a:pt x="786" y="245"/>
                  <a:pt x="785" y="244"/>
                </a:cubicBezTo>
                <a:close/>
                <a:moveTo>
                  <a:pt x="789" y="230"/>
                </a:moveTo>
                <a:cubicBezTo>
                  <a:pt x="790" y="231"/>
                  <a:pt x="791" y="232"/>
                  <a:pt x="792" y="233"/>
                </a:cubicBezTo>
                <a:cubicBezTo>
                  <a:pt x="790" y="230"/>
                  <a:pt x="789" y="228"/>
                  <a:pt x="790" y="229"/>
                </a:cubicBezTo>
                <a:cubicBezTo>
                  <a:pt x="788" y="225"/>
                  <a:pt x="789" y="224"/>
                  <a:pt x="787" y="222"/>
                </a:cubicBezTo>
                <a:cubicBezTo>
                  <a:pt x="787" y="222"/>
                  <a:pt x="787" y="224"/>
                  <a:pt x="786" y="224"/>
                </a:cubicBezTo>
                <a:cubicBezTo>
                  <a:pt x="788" y="225"/>
                  <a:pt x="788" y="226"/>
                  <a:pt x="789" y="227"/>
                </a:cubicBezTo>
                <a:cubicBezTo>
                  <a:pt x="789" y="228"/>
                  <a:pt x="789" y="229"/>
                  <a:pt x="789" y="229"/>
                </a:cubicBezTo>
                <a:cubicBezTo>
                  <a:pt x="788" y="226"/>
                  <a:pt x="787" y="226"/>
                  <a:pt x="785" y="224"/>
                </a:cubicBezTo>
                <a:cubicBezTo>
                  <a:pt x="787" y="227"/>
                  <a:pt x="786" y="227"/>
                  <a:pt x="785" y="226"/>
                </a:cubicBezTo>
                <a:cubicBezTo>
                  <a:pt x="787" y="230"/>
                  <a:pt x="786" y="228"/>
                  <a:pt x="787" y="231"/>
                </a:cubicBezTo>
                <a:cubicBezTo>
                  <a:pt x="788" y="231"/>
                  <a:pt x="789" y="234"/>
                  <a:pt x="790" y="235"/>
                </a:cubicBezTo>
                <a:cubicBezTo>
                  <a:pt x="790" y="235"/>
                  <a:pt x="792" y="237"/>
                  <a:pt x="791" y="235"/>
                </a:cubicBezTo>
                <a:cubicBezTo>
                  <a:pt x="790" y="235"/>
                  <a:pt x="790" y="233"/>
                  <a:pt x="789" y="232"/>
                </a:cubicBezTo>
                <a:cubicBezTo>
                  <a:pt x="789" y="232"/>
                  <a:pt x="790" y="235"/>
                  <a:pt x="789" y="233"/>
                </a:cubicBezTo>
                <a:cubicBezTo>
                  <a:pt x="789" y="233"/>
                  <a:pt x="787" y="230"/>
                  <a:pt x="788" y="230"/>
                </a:cubicBezTo>
                <a:cubicBezTo>
                  <a:pt x="789" y="232"/>
                  <a:pt x="790" y="234"/>
                  <a:pt x="792" y="235"/>
                </a:cubicBezTo>
                <a:cubicBezTo>
                  <a:pt x="791" y="234"/>
                  <a:pt x="789" y="231"/>
                  <a:pt x="789" y="230"/>
                </a:cubicBezTo>
                <a:close/>
                <a:moveTo>
                  <a:pt x="788" y="235"/>
                </a:moveTo>
                <a:cubicBezTo>
                  <a:pt x="788" y="233"/>
                  <a:pt x="786" y="229"/>
                  <a:pt x="785" y="229"/>
                </a:cubicBezTo>
                <a:cubicBezTo>
                  <a:pt x="787" y="231"/>
                  <a:pt x="787" y="234"/>
                  <a:pt x="788" y="235"/>
                </a:cubicBezTo>
                <a:close/>
                <a:moveTo>
                  <a:pt x="756" y="236"/>
                </a:moveTo>
                <a:cubicBezTo>
                  <a:pt x="755" y="236"/>
                  <a:pt x="757" y="239"/>
                  <a:pt x="758" y="240"/>
                </a:cubicBezTo>
                <a:cubicBezTo>
                  <a:pt x="760" y="241"/>
                  <a:pt x="759" y="242"/>
                  <a:pt x="760" y="244"/>
                </a:cubicBezTo>
                <a:cubicBezTo>
                  <a:pt x="760" y="243"/>
                  <a:pt x="762" y="245"/>
                  <a:pt x="761" y="242"/>
                </a:cubicBezTo>
                <a:cubicBezTo>
                  <a:pt x="759" y="241"/>
                  <a:pt x="759" y="241"/>
                  <a:pt x="756" y="236"/>
                </a:cubicBezTo>
                <a:close/>
                <a:moveTo>
                  <a:pt x="780" y="220"/>
                </a:moveTo>
                <a:cubicBezTo>
                  <a:pt x="781" y="222"/>
                  <a:pt x="781" y="223"/>
                  <a:pt x="782" y="225"/>
                </a:cubicBezTo>
                <a:cubicBezTo>
                  <a:pt x="783" y="226"/>
                  <a:pt x="784" y="227"/>
                  <a:pt x="785" y="228"/>
                </a:cubicBezTo>
                <a:cubicBezTo>
                  <a:pt x="783" y="225"/>
                  <a:pt x="782" y="222"/>
                  <a:pt x="780" y="220"/>
                </a:cubicBezTo>
                <a:close/>
                <a:moveTo>
                  <a:pt x="787" y="219"/>
                </a:moveTo>
                <a:cubicBezTo>
                  <a:pt x="786" y="219"/>
                  <a:pt x="786" y="220"/>
                  <a:pt x="787" y="221"/>
                </a:cubicBezTo>
                <a:cubicBezTo>
                  <a:pt x="787" y="221"/>
                  <a:pt x="789" y="225"/>
                  <a:pt x="789" y="223"/>
                </a:cubicBezTo>
                <a:cubicBezTo>
                  <a:pt x="787" y="221"/>
                  <a:pt x="787" y="220"/>
                  <a:pt x="787" y="219"/>
                </a:cubicBezTo>
                <a:close/>
                <a:moveTo>
                  <a:pt x="781" y="226"/>
                </a:moveTo>
                <a:cubicBezTo>
                  <a:pt x="781" y="227"/>
                  <a:pt x="780" y="223"/>
                  <a:pt x="779" y="224"/>
                </a:cubicBezTo>
                <a:cubicBezTo>
                  <a:pt x="780" y="224"/>
                  <a:pt x="780" y="225"/>
                  <a:pt x="779" y="225"/>
                </a:cubicBezTo>
                <a:cubicBezTo>
                  <a:pt x="781" y="228"/>
                  <a:pt x="783" y="228"/>
                  <a:pt x="781" y="226"/>
                </a:cubicBezTo>
                <a:close/>
                <a:moveTo>
                  <a:pt x="760" y="233"/>
                </a:moveTo>
                <a:cubicBezTo>
                  <a:pt x="761" y="237"/>
                  <a:pt x="756" y="230"/>
                  <a:pt x="756" y="233"/>
                </a:cubicBezTo>
                <a:cubicBezTo>
                  <a:pt x="758" y="234"/>
                  <a:pt x="760" y="235"/>
                  <a:pt x="762" y="237"/>
                </a:cubicBezTo>
                <a:cubicBezTo>
                  <a:pt x="761" y="235"/>
                  <a:pt x="761" y="233"/>
                  <a:pt x="760" y="233"/>
                </a:cubicBezTo>
                <a:close/>
                <a:moveTo>
                  <a:pt x="754" y="232"/>
                </a:moveTo>
                <a:cubicBezTo>
                  <a:pt x="755" y="231"/>
                  <a:pt x="756" y="235"/>
                  <a:pt x="757" y="236"/>
                </a:cubicBezTo>
                <a:cubicBezTo>
                  <a:pt x="757" y="234"/>
                  <a:pt x="753" y="229"/>
                  <a:pt x="754" y="232"/>
                </a:cubicBezTo>
                <a:close/>
                <a:moveTo>
                  <a:pt x="747" y="236"/>
                </a:moveTo>
                <a:cubicBezTo>
                  <a:pt x="746" y="236"/>
                  <a:pt x="748" y="238"/>
                  <a:pt x="748" y="239"/>
                </a:cubicBezTo>
                <a:cubicBezTo>
                  <a:pt x="749" y="239"/>
                  <a:pt x="749" y="240"/>
                  <a:pt x="749" y="239"/>
                </a:cubicBezTo>
                <a:cubicBezTo>
                  <a:pt x="748" y="239"/>
                  <a:pt x="748" y="237"/>
                  <a:pt x="747" y="236"/>
                </a:cubicBezTo>
                <a:close/>
                <a:moveTo>
                  <a:pt x="753" y="170"/>
                </a:moveTo>
                <a:cubicBezTo>
                  <a:pt x="752" y="170"/>
                  <a:pt x="752" y="170"/>
                  <a:pt x="753" y="172"/>
                </a:cubicBezTo>
                <a:cubicBezTo>
                  <a:pt x="754" y="172"/>
                  <a:pt x="755" y="172"/>
                  <a:pt x="756" y="173"/>
                </a:cubicBezTo>
                <a:cubicBezTo>
                  <a:pt x="754" y="172"/>
                  <a:pt x="753" y="171"/>
                  <a:pt x="753" y="170"/>
                </a:cubicBezTo>
                <a:close/>
                <a:moveTo>
                  <a:pt x="747" y="163"/>
                </a:moveTo>
                <a:cubicBezTo>
                  <a:pt x="746" y="162"/>
                  <a:pt x="745" y="163"/>
                  <a:pt x="746" y="165"/>
                </a:cubicBezTo>
                <a:cubicBezTo>
                  <a:pt x="746" y="164"/>
                  <a:pt x="749" y="168"/>
                  <a:pt x="749" y="167"/>
                </a:cubicBezTo>
                <a:cubicBezTo>
                  <a:pt x="746" y="163"/>
                  <a:pt x="748" y="165"/>
                  <a:pt x="747" y="163"/>
                </a:cubicBezTo>
                <a:close/>
                <a:moveTo>
                  <a:pt x="726" y="156"/>
                </a:moveTo>
                <a:cubicBezTo>
                  <a:pt x="725" y="156"/>
                  <a:pt x="728" y="159"/>
                  <a:pt x="729" y="160"/>
                </a:cubicBezTo>
                <a:cubicBezTo>
                  <a:pt x="730" y="160"/>
                  <a:pt x="728" y="158"/>
                  <a:pt x="726" y="156"/>
                </a:cubicBezTo>
                <a:close/>
                <a:moveTo>
                  <a:pt x="723" y="152"/>
                </a:moveTo>
                <a:cubicBezTo>
                  <a:pt x="722" y="152"/>
                  <a:pt x="721" y="151"/>
                  <a:pt x="721" y="150"/>
                </a:cubicBezTo>
                <a:cubicBezTo>
                  <a:pt x="720" y="150"/>
                  <a:pt x="720" y="151"/>
                  <a:pt x="721" y="152"/>
                </a:cubicBezTo>
                <a:cubicBezTo>
                  <a:pt x="722" y="151"/>
                  <a:pt x="725" y="155"/>
                  <a:pt x="724" y="153"/>
                </a:cubicBezTo>
                <a:cubicBezTo>
                  <a:pt x="723" y="153"/>
                  <a:pt x="723" y="153"/>
                  <a:pt x="723" y="152"/>
                </a:cubicBezTo>
                <a:close/>
                <a:moveTo>
                  <a:pt x="726" y="146"/>
                </a:moveTo>
                <a:cubicBezTo>
                  <a:pt x="727" y="147"/>
                  <a:pt x="726" y="147"/>
                  <a:pt x="728" y="149"/>
                </a:cubicBezTo>
                <a:cubicBezTo>
                  <a:pt x="729" y="150"/>
                  <a:pt x="727" y="147"/>
                  <a:pt x="726" y="146"/>
                </a:cubicBezTo>
                <a:close/>
                <a:moveTo>
                  <a:pt x="717" y="154"/>
                </a:moveTo>
                <a:cubicBezTo>
                  <a:pt x="718" y="156"/>
                  <a:pt x="715" y="152"/>
                  <a:pt x="714" y="152"/>
                </a:cubicBezTo>
                <a:cubicBezTo>
                  <a:pt x="714" y="153"/>
                  <a:pt x="716" y="154"/>
                  <a:pt x="717" y="156"/>
                </a:cubicBezTo>
                <a:cubicBezTo>
                  <a:pt x="718" y="156"/>
                  <a:pt x="718" y="155"/>
                  <a:pt x="717" y="154"/>
                </a:cubicBezTo>
                <a:close/>
                <a:moveTo>
                  <a:pt x="723" y="138"/>
                </a:moveTo>
                <a:cubicBezTo>
                  <a:pt x="726" y="140"/>
                  <a:pt x="727" y="142"/>
                  <a:pt x="728" y="143"/>
                </a:cubicBezTo>
                <a:cubicBezTo>
                  <a:pt x="727" y="141"/>
                  <a:pt x="725" y="139"/>
                  <a:pt x="723" y="138"/>
                </a:cubicBezTo>
                <a:close/>
                <a:moveTo>
                  <a:pt x="723" y="139"/>
                </a:moveTo>
                <a:cubicBezTo>
                  <a:pt x="723" y="138"/>
                  <a:pt x="722" y="137"/>
                  <a:pt x="721" y="137"/>
                </a:cubicBezTo>
                <a:cubicBezTo>
                  <a:pt x="720" y="136"/>
                  <a:pt x="720" y="136"/>
                  <a:pt x="720" y="137"/>
                </a:cubicBezTo>
                <a:cubicBezTo>
                  <a:pt x="721" y="139"/>
                  <a:pt x="722" y="140"/>
                  <a:pt x="723" y="141"/>
                </a:cubicBezTo>
                <a:cubicBezTo>
                  <a:pt x="722" y="139"/>
                  <a:pt x="720" y="138"/>
                  <a:pt x="721" y="137"/>
                </a:cubicBezTo>
                <a:cubicBezTo>
                  <a:pt x="723" y="139"/>
                  <a:pt x="724" y="140"/>
                  <a:pt x="725" y="140"/>
                </a:cubicBezTo>
                <a:cubicBezTo>
                  <a:pt x="724" y="139"/>
                  <a:pt x="724" y="139"/>
                  <a:pt x="723" y="139"/>
                </a:cubicBezTo>
                <a:close/>
                <a:moveTo>
                  <a:pt x="722" y="140"/>
                </a:moveTo>
                <a:cubicBezTo>
                  <a:pt x="719" y="137"/>
                  <a:pt x="719" y="137"/>
                  <a:pt x="719" y="137"/>
                </a:cubicBezTo>
                <a:cubicBezTo>
                  <a:pt x="718" y="137"/>
                  <a:pt x="720" y="140"/>
                  <a:pt x="721" y="141"/>
                </a:cubicBezTo>
                <a:cubicBezTo>
                  <a:pt x="722" y="141"/>
                  <a:pt x="722" y="141"/>
                  <a:pt x="722" y="140"/>
                </a:cubicBezTo>
                <a:close/>
                <a:moveTo>
                  <a:pt x="721" y="134"/>
                </a:moveTo>
                <a:cubicBezTo>
                  <a:pt x="720" y="134"/>
                  <a:pt x="719" y="134"/>
                  <a:pt x="719" y="134"/>
                </a:cubicBezTo>
                <a:cubicBezTo>
                  <a:pt x="723" y="138"/>
                  <a:pt x="724" y="137"/>
                  <a:pt x="721" y="134"/>
                </a:cubicBezTo>
                <a:close/>
                <a:moveTo>
                  <a:pt x="714" y="136"/>
                </a:moveTo>
                <a:cubicBezTo>
                  <a:pt x="715" y="135"/>
                  <a:pt x="715" y="135"/>
                  <a:pt x="714" y="134"/>
                </a:cubicBezTo>
                <a:cubicBezTo>
                  <a:pt x="713" y="133"/>
                  <a:pt x="712" y="134"/>
                  <a:pt x="714" y="136"/>
                </a:cubicBezTo>
                <a:close/>
                <a:moveTo>
                  <a:pt x="697" y="113"/>
                </a:moveTo>
                <a:cubicBezTo>
                  <a:pt x="698" y="114"/>
                  <a:pt x="698" y="113"/>
                  <a:pt x="697" y="113"/>
                </a:cubicBezTo>
                <a:cubicBezTo>
                  <a:pt x="696" y="113"/>
                  <a:pt x="694" y="110"/>
                  <a:pt x="693" y="110"/>
                </a:cubicBezTo>
                <a:cubicBezTo>
                  <a:pt x="695" y="112"/>
                  <a:pt x="698" y="116"/>
                  <a:pt x="700" y="117"/>
                </a:cubicBezTo>
                <a:cubicBezTo>
                  <a:pt x="699" y="116"/>
                  <a:pt x="696" y="113"/>
                  <a:pt x="697" y="113"/>
                </a:cubicBezTo>
                <a:close/>
                <a:moveTo>
                  <a:pt x="662" y="153"/>
                </a:moveTo>
                <a:cubicBezTo>
                  <a:pt x="663" y="154"/>
                  <a:pt x="665" y="156"/>
                  <a:pt x="666" y="156"/>
                </a:cubicBezTo>
                <a:cubicBezTo>
                  <a:pt x="665" y="155"/>
                  <a:pt x="663" y="152"/>
                  <a:pt x="662" y="153"/>
                </a:cubicBezTo>
                <a:close/>
                <a:moveTo>
                  <a:pt x="685" y="103"/>
                </a:moveTo>
                <a:cubicBezTo>
                  <a:pt x="687" y="104"/>
                  <a:pt x="686" y="104"/>
                  <a:pt x="687" y="105"/>
                </a:cubicBezTo>
                <a:cubicBezTo>
                  <a:pt x="688" y="106"/>
                  <a:pt x="689" y="106"/>
                  <a:pt x="689" y="106"/>
                </a:cubicBezTo>
                <a:cubicBezTo>
                  <a:pt x="688" y="105"/>
                  <a:pt x="687" y="103"/>
                  <a:pt x="685" y="103"/>
                </a:cubicBezTo>
                <a:close/>
                <a:moveTo>
                  <a:pt x="599" y="49"/>
                </a:moveTo>
                <a:cubicBezTo>
                  <a:pt x="600" y="50"/>
                  <a:pt x="603" y="51"/>
                  <a:pt x="603" y="50"/>
                </a:cubicBezTo>
                <a:cubicBezTo>
                  <a:pt x="600" y="49"/>
                  <a:pt x="601" y="50"/>
                  <a:pt x="599" y="49"/>
                </a:cubicBezTo>
                <a:close/>
                <a:moveTo>
                  <a:pt x="579" y="43"/>
                </a:moveTo>
                <a:cubicBezTo>
                  <a:pt x="579" y="42"/>
                  <a:pt x="584" y="44"/>
                  <a:pt x="581" y="43"/>
                </a:cubicBezTo>
                <a:cubicBezTo>
                  <a:pt x="581" y="43"/>
                  <a:pt x="576" y="41"/>
                  <a:pt x="579" y="43"/>
                </a:cubicBezTo>
                <a:close/>
                <a:moveTo>
                  <a:pt x="568" y="37"/>
                </a:moveTo>
                <a:cubicBezTo>
                  <a:pt x="568" y="36"/>
                  <a:pt x="570" y="37"/>
                  <a:pt x="571" y="38"/>
                </a:cubicBezTo>
                <a:cubicBezTo>
                  <a:pt x="573" y="38"/>
                  <a:pt x="568" y="36"/>
                  <a:pt x="567" y="36"/>
                </a:cubicBezTo>
                <a:cubicBezTo>
                  <a:pt x="570" y="37"/>
                  <a:pt x="565" y="36"/>
                  <a:pt x="568" y="37"/>
                </a:cubicBezTo>
                <a:close/>
                <a:moveTo>
                  <a:pt x="562" y="33"/>
                </a:moveTo>
                <a:cubicBezTo>
                  <a:pt x="563" y="34"/>
                  <a:pt x="563" y="33"/>
                  <a:pt x="565" y="33"/>
                </a:cubicBezTo>
                <a:cubicBezTo>
                  <a:pt x="567" y="35"/>
                  <a:pt x="567" y="35"/>
                  <a:pt x="567" y="35"/>
                </a:cubicBezTo>
                <a:cubicBezTo>
                  <a:pt x="570" y="35"/>
                  <a:pt x="558" y="30"/>
                  <a:pt x="562" y="33"/>
                </a:cubicBezTo>
                <a:close/>
                <a:moveTo>
                  <a:pt x="533" y="22"/>
                </a:moveTo>
                <a:cubicBezTo>
                  <a:pt x="531" y="22"/>
                  <a:pt x="527" y="19"/>
                  <a:pt x="523" y="19"/>
                </a:cubicBezTo>
                <a:cubicBezTo>
                  <a:pt x="524" y="20"/>
                  <a:pt x="519" y="18"/>
                  <a:pt x="519" y="19"/>
                </a:cubicBezTo>
                <a:cubicBezTo>
                  <a:pt x="522" y="20"/>
                  <a:pt x="520" y="20"/>
                  <a:pt x="524" y="21"/>
                </a:cubicBezTo>
                <a:cubicBezTo>
                  <a:pt x="522" y="19"/>
                  <a:pt x="526" y="20"/>
                  <a:pt x="528" y="20"/>
                </a:cubicBezTo>
                <a:cubicBezTo>
                  <a:pt x="529" y="21"/>
                  <a:pt x="532" y="22"/>
                  <a:pt x="535" y="23"/>
                </a:cubicBezTo>
                <a:cubicBezTo>
                  <a:pt x="534" y="23"/>
                  <a:pt x="535" y="22"/>
                  <a:pt x="533" y="22"/>
                </a:cubicBezTo>
                <a:close/>
                <a:moveTo>
                  <a:pt x="513" y="21"/>
                </a:moveTo>
                <a:cubicBezTo>
                  <a:pt x="515" y="21"/>
                  <a:pt x="520" y="24"/>
                  <a:pt x="520" y="23"/>
                </a:cubicBezTo>
                <a:cubicBezTo>
                  <a:pt x="516" y="22"/>
                  <a:pt x="514" y="21"/>
                  <a:pt x="513" y="21"/>
                </a:cubicBezTo>
                <a:close/>
                <a:moveTo>
                  <a:pt x="499" y="13"/>
                </a:moveTo>
                <a:cubicBezTo>
                  <a:pt x="501" y="14"/>
                  <a:pt x="499" y="14"/>
                  <a:pt x="502" y="15"/>
                </a:cubicBezTo>
                <a:cubicBezTo>
                  <a:pt x="501" y="14"/>
                  <a:pt x="504" y="14"/>
                  <a:pt x="502" y="14"/>
                </a:cubicBezTo>
                <a:cubicBezTo>
                  <a:pt x="502" y="14"/>
                  <a:pt x="499" y="13"/>
                  <a:pt x="499" y="13"/>
                </a:cubicBezTo>
                <a:close/>
                <a:moveTo>
                  <a:pt x="497" y="13"/>
                </a:moveTo>
                <a:cubicBezTo>
                  <a:pt x="502" y="15"/>
                  <a:pt x="497" y="14"/>
                  <a:pt x="497" y="15"/>
                </a:cubicBezTo>
                <a:cubicBezTo>
                  <a:pt x="499" y="15"/>
                  <a:pt x="500" y="16"/>
                  <a:pt x="501" y="16"/>
                </a:cubicBezTo>
                <a:cubicBezTo>
                  <a:pt x="500" y="15"/>
                  <a:pt x="499" y="13"/>
                  <a:pt x="497" y="13"/>
                </a:cubicBezTo>
                <a:close/>
                <a:moveTo>
                  <a:pt x="494" y="15"/>
                </a:moveTo>
                <a:cubicBezTo>
                  <a:pt x="494" y="14"/>
                  <a:pt x="496" y="15"/>
                  <a:pt x="496" y="14"/>
                </a:cubicBezTo>
                <a:cubicBezTo>
                  <a:pt x="492" y="13"/>
                  <a:pt x="493" y="14"/>
                  <a:pt x="494" y="15"/>
                </a:cubicBezTo>
                <a:close/>
                <a:moveTo>
                  <a:pt x="441" y="7"/>
                </a:moveTo>
                <a:cubicBezTo>
                  <a:pt x="441" y="7"/>
                  <a:pt x="443" y="7"/>
                  <a:pt x="445" y="7"/>
                </a:cubicBezTo>
                <a:cubicBezTo>
                  <a:pt x="444" y="7"/>
                  <a:pt x="445" y="7"/>
                  <a:pt x="444" y="7"/>
                </a:cubicBezTo>
                <a:cubicBezTo>
                  <a:pt x="444" y="7"/>
                  <a:pt x="439" y="7"/>
                  <a:pt x="441" y="7"/>
                </a:cubicBezTo>
                <a:close/>
                <a:moveTo>
                  <a:pt x="436" y="6"/>
                </a:moveTo>
                <a:cubicBezTo>
                  <a:pt x="433" y="6"/>
                  <a:pt x="434" y="5"/>
                  <a:pt x="431" y="6"/>
                </a:cubicBezTo>
                <a:cubicBezTo>
                  <a:pt x="431" y="6"/>
                  <a:pt x="433" y="6"/>
                  <a:pt x="432" y="7"/>
                </a:cubicBezTo>
                <a:cubicBezTo>
                  <a:pt x="434" y="7"/>
                  <a:pt x="436" y="8"/>
                  <a:pt x="437" y="7"/>
                </a:cubicBezTo>
                <a:cubicBezTo>
                  <a:pt x="432" y="7"/>
                  <a:pt x="433" y="6"/>
                  <a:pt x="436" y="6"/>
                </a:cubicBezTo>
                <a:close/>
                <a:moveTo>
                  <a:pt x="424" y="8"/>
                </a:moveTo>
                <a:cubicBezTo>
                  <a:pt x="420" y="7"/>
                  <a:pt x="426" y="6"/>
                  <a:pt x="421" y="7"/>
                </a:cubicBezTo>
                <a:cubicBezTo>
                  <a:pt x="423" y="7"/>
                  <a:pt x="420" y="8"/>
                  <a:pt x="424" y="8"/>
                </a:cubicBezTo>
                <a:close/>
                <a:moveTo>
                  <a:pt x="415" y="4"/>
                </a:moveTo>
                <a:cubicBezTo>
                  <a:pt x="415" y="4"/>
                  <a:pt x="414" y="4"/>
                  <a:pt x="413" y="4"/>
                </a:cubicBezTo>
                <a:cubicBezTo>
                  <a:pt x="415" y="4"/>
                  <a:pt x="417" y="5"/>
                  <a:pt x="420" y="5"/>
                </a:cubicBezTo>
                <a:cubicBezTo>
                  <a:pt x="420" y="4"/>
                  <a:pt x="417" y="4"/>
                  <a:pt x="415" y="4"/>
                </a:cubicBezTo>
                <a:close/>
                <a:moveTo>
                  <a:pt x="417" y="5"/>
                </a:moveTo>
                <a:cubicBezTo>
                  <a:pt x="417" y="6"/>
                  <a:pt x="414" y="6"/>
                  <a:pt x="412" y="5"/>
                </a:cubicBezTo>
                <a:cubicBezTo>
                  <a:pt x="412" y="6"/>
                  <a:pt x="415" y="6"/>
                  <a:pt x="416" y="7"/>
                </a:cubicBezTo>
                <a:cubicBezTo>
                  <a:pt x="416" y="7"/>
                  <a:pt x="417" y="7"/>
                  <a:pt x="418" y="7"/>
                </a:cubicBezTo>
                <a:cubicBezTo>
                  <a:pt x="413" y="6"/>
                  <a:pt x="418" y="6"/>
                  <a:pt x="419" y="6"/>
                </a:cubicBezTo>
                <a:cubicBezTo>
                  <a:pt x="419" y="6"/>
                  <a:pt x="419" y="5"/>
                  <a:pt x="417" y="5"/>
                </a:cubicBezTo>
                <a:close/>
                <a:moveTo>
                  <a:pt x="412" y="4"/>
                </a:moveTo>
                <a:cubicBezTo>
                  <a:pt x="409" y="4"/>
                  <a:pt x="409" y="5"/>
                  <a:pt x="410" y="5"/>
                </a:cubicBezTo>
                <a:cubicBezTo>
                  <a:pt x="409" y="4"/>
                  <a:pt x="414" y="5"/>
                  <a:pt x="413" y="5"/>
                </a:cubicBezTo>
                <a:cubicBezTo>
                  <a:pt x="410" y="4"/>
                  <a:pt x="413" y="4"/>
                  <a:pt x="412" y="4"/>
                </a:cubicBezTo>
                <a:close/>
                <a:moveTo>
                  <a:pt x="409" y="5"/>
                </a:moveTo>
                <a:cubicBezTo>
                  <a:pt x="405" y="5"/>
                  <a:pt x="405" y="5"/>
                  <a:pt x="405" y="5"/>
                </a:cubicBezTo>
                <a:cubicBezTo>
                  <a:pt x="404" y="6"/>
                  <a:pt x="408" y="6"/>
                  <a:pt x="407" y="7"/>
                </a:cubicBezTo>
                <a:cubicBezTo>
                  <a:pt x="409" y="7"/>
                  <a:pt x="409" y="7"/>
                  <a:pt x="412" y="8"/>
                </a:cubicBezTo>
                <a:cubicBezTo>
                  <a:pt x="411" y="7"/>
                  <a:pt x="404" y="6"/>
                  <a:pt x="409" y="5"/>
                </a:cubicBezTo>
                <a:close/>
                <a:moveTo>
                  <a:pt x="391" y="7"/>
                </a:moveTo>
                <a:cubicBezTo>
                  <a:pt x="393" y="7"/>
                  <a:pt x="395" y="7"/>
                  <a:pt x="397" y="7"/>
                </a:cubicBezTo>
                <a:cubicBezTo>
                  <a:pt x="397" y="7"/>
                  <a:pt x="397" y="7"/>
                  <a:pt x="397" y="7"/>
                </a:cubicBezTo>
                <a:cubicBezTo>
                  <a:pt x="395" y="7"/>
                  <a:pt x="393" y="7"/>
                  <a:pt x="391" y="7"/>
                </a:cubicBezTo>
                <a:close/>
                <a:moveTo>
                  <a:pt x="376" y="46"/>
                </a:moveTo>
                <a:cubicBezTo>
                  <a:pt x="376" y="47"/>
                  <a:pt x="379" y="47"/>
                  <a:pt x="380" y="47"/>
                </a:cubicBezTo>
                <a:cubicBezTo>
                  <a:pt x="378" y="47"/>
                  <a:pt x="378" y="46"/>
                  <a:pt x="376" y="46"/>
                </a:cubicBezTo>
                <a:close/>
                <a:moveTo>
                  <a:pt x="354" y="47"/>
                </a:moveTo>
                <a:cubicBezTo>
                  <a:pt x="353" y="48"/>
                  <a:pt x="359" y="47"/>
                  <a:pt x="359" y="47"/>
                </a:cubicBezTo>
                <a:cubicBezTo>
                  <a:pt x="357" y="47"/>
                  <a:pt x="357" y="46"/>
                  <a:pt x="354" y="47"/>
                </a:cubicBezTo>
                <a:close/>
                <a:moveTo>
                  <a:pt x="323" y="15"/>
                </a:moveTo>
                <a:cubicBezTo>
                  <a:pt x="323" y="16"/>
                  <a:pt x="322" y="16"/>
                  <a:pt x="324" y="16"/>
                </a:cubicBezTo>
                <a:cubicBezTo>
                  <a:pt x="326" y="16"/>
                  <a:pt x="326" y="15"/>
                  <a:pt x="323" y="15"/>
                </a:cubicBezTo>
                <a:close/>
                <a:moveTo>
                  <a:pt x="325" y="47"/>
                </a:moveTo>
                <a:cubicBezTo>
                  <a:pt x="324" y="48"/>
                  <a:pt x="328" y="47"/>
                  <a:pt x="329" y="46"/>
                </a:cubicBezTo>
                <a:cubicBezTo>
                  <a:pt x="327" y="47"/>
                  <a:pt x="327" y="46"/>
                  <a:pt x="325" y="47"/>
                </a:cubicBezTo>
                <a:close/>
                <a:moveTo>
                  <a:pt x="321" y="51"/>
                </a:moveTo>
                <a:cubicBezTo>
                  <a:pt x="324" y="50"/>
                  <a:pt x="323" y="50"/>
                  <a:pt x="321" y="51"/>
                </a:cubicBezTo>
                <a:cubicBezTo>
                  <a:pt x="323" y="51"/>
                  <a:pt x="325" y="50"/>
                  <a:pt x="327" y="50"/>
                </a:cubicBezTo>
                <a:cubicBezTo>
                  <a:pt x="328" y="50"/>
                  <a:pt x="328" y="49"/>
                  <a:pt x="328" y="49"/>
                </a:cubicBezTo>
                <a:cubicBezTo>
                  <a:pt x="325" y="50"/>
                  <a:pt x="321" y="49"/>
                  <a:pt x="321" y="51"/>
                </a:cubicBezTo>
                <a:close/>
                <a:moveTo>
                  <a:pt x="316" y="18"/>
                </a:moveTo>
                <a:cubicBezTo>
                  <a:pt x="319" y="17"/>
                  <a:pt x="317" y="18"/>
                  <a:pt x="320" y="18"/>
                </a:cubicBezTo>
                <a:cubicBezTo>
                  <a:pt x="319" y="17"/>
                  <a:pt x="321" y="17"/>
                  <a:pt x="321" y="16"/>
                </a:cubicBezTo>
                <a:cubicBezTo>
                  <a:pt x="318" y="17"/>
                  <a:pt x="319" y="17"/>
                  <a:pt x="317" y="17"/>
                </a:cubicBezTo>
                <a:cubicBezTo>
                  <a:pt x="317" y="17"/>
                  <a:pt x="317" y="17"/>
                  <a:pt x="316" y="18"/>
                </a:cubicBezTo>
                <a:close/>
                <a:moveTo>
                  <a:pt x="311" y="35"/>
                </a:moveTo>
                <a:cubicBezTo>
                  <a:pt x="312" y="34"/>
                  <a:pt x="316" y="34"/>
                  <a:pt x="315" y="34"/>
                </a:cubicBezTo>
                <a:cubicBezTo>
                  <a:pt x="314" y="34"/>
                  <a:pt x="308" y="35"/>
                  <a:pt x="311" y="35"/>
                </a:cubicBezTo>
                <a:close/>
                <a:moveTo>
                  <a:pt x="314" y="49"/>
                </a:moveTo>
                <a:cubicBezTo>
                  <a:pt x="314" y="50"/>
                  <a:pt x="318" y="49"/>
                  <a:pt x="318" y="49"/>
                </a:cubicBezTo>
                <a:lnTo>
                  <a:pt x="314" y="49"/>
                </a:lnTo>
                <a:close/>
                <a:moveTo>
                  <a:pt x="308" y="47"/>
                </a:moveTo>
                <a:cubicBezTo>
                  <a:pt x="308" y="48"/>
                  <a:pt x="314" y="46"/>
                  <a:pt x="315" y="46"/>
                </a:cubicBezTo>
                <a:cubicBezTo>
                  <a:pt x="315" y="46"/>
                  <a:pt x="315" y="45"/>
                  <a:pt x="316" y="45"/>
                </a:cubicBezTo>
                <a:cubicBezTo>
                  <a:pt x="313" y="46"/>
                  <a:pt x="309" y="47"/>
                  <a:pt x="308" y="47"/>
                </a:cubicBezTo>
                <a:close/>
                <a:moveTo>
                  <a:pt x="302" y="21"/>
                </a:moveTo>
                <a:cubicBezTo>
                  <a:pt x="305" y="21"/>
                  <a:pt x="305" y="20"/>
                  <a:pt x="306" y="20"/>
                </a:cubicBezTo>
                <a:cubicBezTo>
                  <a:pt x="306" y="19"/>
                  <a:pt x="307" y="19"/>
                  <a:pt x="307" y="19"/>
                </a:cubicBezTo>
                <a:cubicBezTo>
                  <a:pt x="304" y="20"/>
                  <a:pt x="303" y="20"/>
                  <a:pt x="302" y="21"/>
                </a:cubicBezTo>
                <a:close/>
                <a:moveTo>
                  <a:pt x="314" y="52"/>
                </a:moveTo>
                <a:cubicBezTo>
                  <a:pt x="313" y="52"/>
                  <a:pt x="311" y="53"/>
                  <a:pt x="311" y="53"/>
                </a:cubicBezTo>
                <a:cubicBezTo>
                  <a:pt x="314" y="52"/>
                  <a:pt x="313" y="53"/>
                  <a:pt x="315" y="52"/>
                </a:cubicBezTo>
                <a:cubicBezTo>
                  <a:pt x="315" y="52"/>
                  <a:pt x="315" y="52"/>
                  <a:pt x="314" y="52"/>
                </a:cubicBezTo>
                <a:close/>
                <a:moveTo>
                  <a:pt x="309" y="42"/>
                </a:moveTo>
                <a:cubicBezTo>
                  <a:pt x="307" y="43"/>
                  <a:pt x="305" y="43"/>
                  <a:pt x="304" y="44"/>
                </a:cubicBezTo>
                <a:cubicBezTo>
                  <a:pt x="306" y="44"/>
                  <a:pt x="309" y="43"/>
                  <a:pt x="310" y="42"/>
                </a:cubicBezTo>
                <a:cubicBezTo>
                  <a:pt x="310" y="42"/>
                  <a:pt x="310" y="41"/>
                  <a:pt x="309" y="41"/>
                </a:cubicBezTo>
                <a:lnTo>
                  <a:pt x="309" y="42"/>
                </a:lnTo>
                <a:close/>
                <a:moveTo>
                  <a:pt x="306" y="49"/>
                </a:moveTo>
                <a:cubicBezTo>
                  <a:pt x="308" y="49"/>
                  <a:pt x="309" y="49"/>
                  <a:pt x="310" y="49"/>
                </a:cubicBezTo>
                <a:cubicBezTo>
                  <a:pt x="310" y="48"/>
                  <a:pt x="310" y="48"/>
                  <a:pt x="311" y="48"/>
                </a:cubicBezTo>
                <a:cubicBezTo>
                  <a:pt x="311" y="48"/>
                  <a:pt x="311" y="48"/>
                  <a:pt x="311" y="48"/>
                </a:cubicBezTo>
                <a:cubicBezTo>
                  <a:pt x="308" y="49"/>
                  <a:pt x="307" y="48"/>
                  <a:pt x="306" y="49"/>
                </a:cubicBezTo>
                <a:close/>
                <a:moveTo>
                  <a:pt x="306" y="51"/>
                </a:moveTo>
                <a:cubicBezTo>
                  <a:pt x="307" y="51"/>
                  <a:pt x="308" y="50"/>
                  <a:pt x="309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07" y="50"/>
                  <a:pt x="304" y="51"/>
                  <a:pt x="306" y="51"/>
                </a:cubicBezTo>
                <a:close/>
                <a:moveTo>
                  <a:pt x="307" y="53"/>
                </a:moveTo>
                <a:cubicBezTo>
                  <a:pt x="309" y="53"/>
                  <a:pt x="306" y="54"/>
                  <a:pt x="306" y="54"/>
                </a:cubicBezTo>
                <a:cubicBezTo>
                  <a:pt x="309" y="54"/>
                  <a:pt x="310" y="53"/>
                  <a:pt x="311" y="52"/>
                </a:cubicBezTo>
                <a:cubicBezTo>
                  <a:pt x="310" y="52"/>
                  <a:pt x="308" y="53"/>
                  <a:pt x="307" y="53"/>
                </a:cubicBezTo>
                <a:close/>
                <a:moveTo>
                  <a:pt x="308" y="54"/>
                </a:moveTo>
                <a:cubicBezTo>
                  <a:pt x="305" y="55"/>
                  <a:pt x="306" y="55"/>
                  <a:pt x="305" y="56"/>
                </a:cubicBezTo>
                <a:cubicBezTo>
                  <a:pt x="308" y="55"/>
                  <a:pt x="309" y="56"/>
                  <a:pt x="310" y="55"/>
                </a:cubicBezTo>
                <a:cubicBezTo>
                  <a:pt x="308" y="55"/>
                  <a:pt x="308" y="55"/>
                  <a:pt x="308" y="54"/>
                </a:cubicBezTo>
                <a:close/>
                <a:moveTo>
                  <a:pt x="302" y="38"/>
                </a:moveTo>
                <a:cubicBezTo>
                  <a:pt x="300" y="39"/>
                  <a:pt x="300" y="39"/>
                  <a:pt x="300" y="40"/>
                </a:cubicBezTo>
                <a:cubicBezTo>
                  <a:pt x="303" y="39"/>
                  <a:pt x="303" y="39"/>
                  <a:pt x="302" y="38"/>
                </a:cubicBezTo>
                <a:close/>
                <a:moveTo>
                  <a:pt x="301" y="46"/>
                </a:moveTo>
                <a:cubicBezTo>
                  <a:pt x="300" y="47"/>
                  <a:pt x="300" y="47"/>
                  <a:pt x="299" y="47"/>
                </a:cubicBezTo>
                <a:cubicBezTo>
                  <a:pt x="299" y="47"/>
                  <a:pt x="297" y="48"/>
                  <a:pt x="299" y="48"/>
                </a:cubicBezTo>
                <a:cubicBezTo>
                  <a:pt x="300" y="47"/>
                  <a:pt x="305" y="45"/>
                  <a:pt x="302" y="46"/>
                </a:cubicBezTo>
                <a:cubicBezTo>
                  <a:pt x="302" y="46"/>
                  <a:pt x="301" y="46"/>
                  <a:pt x="301" y="46"/>
                </a:cubicBezTo>
                <a:close/>
                <a:moveTo>
                  <a:pt x="300" y="51"/>
                </a:moveTo>
                <a:cubicBezTo>
                  <a:pt x="300" y="51"/>
                  <a:pt x="303" y="50"/>
                  <a:pt x="303" y="50"/>
                </a:cubicBezTo>
                <a:cubicBezTo>
                  <a:pt x="301" y="50"/>
                  <a:pt x="297" y="52"/>
                  <a:pt x="300" y="51"/>
                </a:cubicBezTo>
                <a:close/>
                <a:moveTo>
                  <a:pt x="296" y="41"/>
                </a:moveTo>
                <a:cubicBezTo>
                  <a:pt x="296" y="40"/>
                  <a:pt x="297" y="40"/>
                  <a:pt x="297" y="40"/>
                </a:cubicBezTo>
                <a:cubicBezTo>
                  <a:pt x="294" y="40"/>
                  <a:pt x="293" y="42"/>
                  <a:pt x="296" y="41"/>
                </a:cubicBezTo>
                <a:close/>
                <a:moveTo>
                  <a:pt x="295" y="49"/>
                </a:moveTo>
                <a:cubicBezTo>
                  <a:pt x="293" y="50"/>
                  <a:pt x="294" y="51"/>
                  <a:pt x="297" y="51"/>
                </a:cubicBezTo>
                <a:cubicBezTo>
                  <a:pt x="298" y="50"/>
                  <a:pt x="294" y="50"/>
                  <a:pt x="297" y="49"/>
                </a:cubicBezTo>
                <a:cubicBezTo>
                  <a:pt x="296" y="49"/>
                  <a:pt x="296" y="49"/>
                  <a:pt x="295" y="49"/>
                </a:cubicBezTo>
                <a:close/>
                <a:moveTo>
                  <a:pt x="296" y="54"/>
                </a:moveTo>
                <a:cubicBezTo>
                  <a:pt x="296" y="55"/>
                  <a:pt x="294" y="55"/>
                  <a:pt x="294" y="55"/>
                </a:cubicBezTo>
                <a:cubicBezTo>
                  <a:pt x="294" y="56"/>
                  <a:pt x="294" y="56"/>
                  <a:pt x="295" y="57"/>
                </a:cubicBezTo>
                <a:cubicBezTo>
                  <a:pt x="293" y="57"/>
                  <a:pt x="293" y="57"/>
                  <a:pt x="293" y="57"/>
                </a:cubicBezTo>
                <a:cubicBezTo>
                  <a:pt x="293" y="58"/>
                  <a:pt x="293" y="58"/>
                  <a:pt x="292" y="58"/>
                </a:cubicBezTo>
                <a:cubicBezTo>
                  <a:pt x="294" y="58"/>
                  <a:pt x="294" y="58"/>
                  <a:pt x="295" y="58"/>
                </a:cubicBezTo>
                <a:cubicBezTo>
                  <a:pt x="293" y="58"/>
                  <a:pt x="293" y="57"/>
                  <a:pt x="297" y="57"/>
                </a:cubicBezTo>
                <a:cubicBezTo>
                  <a:pt x="297" y="56"/>
                  <a:pt x="295" y="56"/>
                  <a:pt x="295" y="56"/>
                </a:cubicBezTo>
                <a:cubicBezTo>
                  <a:pt x="295" y="55"/>
                  <a:pt x="299" y="54"/>
                  <a:pt x="298" y="54"/>
                </a:cubicBezTo>
                <a:cubicBezTo>
                  <a:pt x="297" y="55"/>
                  <a:pt x="297" y="54"/>
                  <a:pt x="296" y="54"/>
                </a:cubicBezTo>
                <a:close/>
                <a:moveTo>
                  <a:pt x="286" y="51"/>
                </a:moveTo>
                <a:cubicBezTo>
                  <a:pt x="286" y="52"/>
                  <a:pt x="282" y="52"/>
                  <a:pt x="282" y="53"/>
                </a:cubicBezTo>
                <a:cubicBezTo>
                  <a:pt x="285" y="52"/>
                  <a:pt x="292" y="51"/>
                  <a:pt x="293" y="49"/>
                </a:cubicBezTo>
                <a:cubicBezTo>
                  <a:pt x="289" y="50"/>
                  <a:pt x="289" y="51"/>
                  <a:pt x="286" y="51"/>
                </a:cubicBezTo>
                <a:close/>
                <a:moveTo>
                  <a:pt x="287" y="58"/>
                </a:moveTo>
                <a:cubicBezTo>
                  <a:pt x="291" y="56"/>
                  <a:pt x="292" y="55"/>
                  <a:pt x="293" y="54"/>
                </a:cubicBezTo>
                <a:cubicBezTo>
                  <a:pt x="288" y="56"/>
                  <a:pt x="290" y="56"/>
                  <a:pt x="287" y="58"/>
                </a:cubicBezTo>
                <a:close/>
                <a:moveTo>
                  <a:pt x="286" y="51"/>
                </a:moveTo>
                <a:cubicBezTo>
                  <a:pt x="288" y="50"/>
                  <a:pt x="291" y="49"/>
                  <a:pt x="291" y="48"/>
                </a:cubicBezTo>
                <a:cubicBezTo>
                  <a:pt x="289" y="49"/>
                  <a:pt x="285" y="51"/>
                  <a:pt x="286" y="51"/>
                </a:cubicBezTo>
                <a:close/>
                <a:moveTo>
                  <a:pt x="288" y="60"/>
                </a:moveTo>
                <a:cubicBezTo>
                  <a:pt x="289" y="60"/>
                  <a:pt x="294" y="59"/>
                  <a:pt x="294" y="59"/>
                </a:cubicBezTo>
                <a:cubicBezTo>
                  <a:pt x="293" y="59"/>
                  <a:pt x="289" y="59"/>
                  <a:pt x="288" y="60"/>
                </a:cubicBezTo>
                <a:close/>
                <a:moveTo>
                  <a:pt x="283" y="27"/>
                </a:moveTo>
                <a:cubicBezTo>
                  <a:pt x="276" y="29"/>
                  <a:pt x="276" y="29"/>
                  <a:pt x="276" y="29"/>
                </a:cubicBezTo>
                <a:cubicBezTo>
                  <a:pt x="277" y="30"/>
                  <a:pt x="274" y="30"/>
                  <a:pt x="274" y="31"/>
                </a:cubicBezTo>
                <a:cubicBezTo>
                  <a:pt x="278" y="29"/>
                  <a:pt x="276" y="29"/>
                  <a:pt x="281" y="28"/>
                </a:cubicBezTo>
                <a:cubicBezTo>
                  <a:pt x="281" y="28"/>
                  <a:pt x="279" y="29"/>
                  <a:pt x="280" y="29"/>
                </a:cubicBezTo>
                <a:cubicBezTo>
                  <a:pt x="282" y="28"/>
                  <a:pt x="282" y="29"/>
                  <a:pt x="284" y="28"/>
                </a:cubicBezTo>
                <a:cubicBezTo>
                  <a:pt x="285" y="27"/>
                  <a:pt x="281" y="28"/>
                  <a:pt x="283" y="27"/>
                </a:cubicBezTo>
                <a:close/>
                <a:moveTo>
                  <a:pt x="291" y="52"/>
                </a:moveTo>
                <a:cubicBezTo>
                  <a:pt x="291" y="51"/>
                  <a:pt x="289" y="52"/>
                  <a:pt x="291" y="51"/>
                </a:cubicBezTo>
                <a:cubicBezTo>
                  <a:pt x="285" y="53"/>
                  <a:pt x="289" y="53"/>
                  <a:pt x="291" y="52"/>
                </a:cubicBezTo>
                <a:close/>
                <a:moveTo>
                  <a:pt x="282" y="46"/>
                </a:moveTo>
                <a:cubicBezTo>
                  <a:pt x="282" y="46"/>
                  <a:pt x="281" y="46"/>
                  <a:pt x="281" y="47"/>
                </a:cubicBezTo>
                <a:cubicBezTo>
                  <a:pt x="283" y="46"/>
                  <a:pt x="285" y="46"/>
                  <a:pt x="286" y="45"/>
                </a:cubicBezTo>
                <a:cubicBezTo>
                  <a:pt x="284" y="45"/>
                  <a:pt x="284" y="45"/>
                  <a:pt x="282" y="46"/>
                </a:cubicBezTo>
                <a:close/>
                <a:moveTo>
                  <a:pt x="275" y="46"/>
                </a:moveTo>
                <a:cubicBezTo>
                  <a:pt x="277" y="46"/>
                  <a:pt x="280" y="44"/>
                  <a:pt x="281" y="44"/>
                </a:cubicBezTo>
                <a:cubicBezTo>
                  <a:pt x="282" y="44"/>
                  <a:pt x="286" y="42"/>
                  <a:pt x="284" y="42"/>
                </a:cubicBezTo>
                <a:cubicBezTo>
                  <a:pt x="283" y="43"/>
                  <a:pt x="276" y="45"/>
                  <a:pt x="275" y="46"/>
                </a:cubicBezTo>
                <a:close/>
                <a:moveTo>
                  <a:pt x="284" y="57"/>
                </a:moveTo>
                <a:cubicBezTo>
                  <a:pt x="285" y="56"/>
                  <a:pt x="283" y="55"/>
                  <a:pt x="287" y="54"/>
                </a:cubicBezTo>
                <a:cubicBezTo>
                  <a:pt x="288" y="53"/>
                  <a:pt x="286" y="54"/>
                  <a:pt x="285" y="54"/>
                </a:cubicBezTo>
                <a:cubicBezTo>
                  <a:pt x="284" y="55"/>
                  <a:pt x="285" y="55"/>
                  <a:pt x="283" y="56"/>
                </a:cubicBezTo>
                <a:cubicBezTo>
                  <a:pt x="282" y="56"/>
                  <a:pt x="285" y="56"/>
                  <a:pt x="281" y="57"/>
                </a:cubicBezTo>
                <a:cubicBezTo>
                  <a:pt x="281" y="58"/>
                  <a:pt x="283" y="57"/>
                  <a:pt x="284" y="57"/>
                </a:cubicBezTo>
                <a:cubicBezTo>
                  <a:pt x="283" y="57"/>
                  <a:pt x="283" y="57"/>
                  <a:pt x="284" y="57"/>
                </a:cubicBezTo>
                <a:close/>
                <a:moveTo>
                  <a:pt x="279" y="43"/>
                </a:moveTo>
                <a:cubicBezTo>
                  <a:pt x="279" y="43"/>
                  <a:pt x="279" y="43"/>
                  <a:pt x="280" y="43"/>
                </a:cubicBezTo>
                <a:cubicBezTo>
                  <a:pt x="280" y="43"/>
                  <a:pt x="283" y="42"/>
                  <a:pt x="283" y="42"/>
                </a:cubicBezTo>
                <a:cubicBezTo>
                  <a:pt x="281" y="42"/>
                  <a:pt x="281" y="42"/>
                  <a:pt x="279" y="43"/>
                </a:cubicBezTo>
                <a:close/>
                <a:moveTo>
                  <a:pt x="273" y="49"/>
                </a:moveTo>
                <a:cubicBezTo>
                  <a:pt x="277" y="47"/>
                  <a:pt x="276" y="49"/>
                  <a:pt x="277" y="48"/>
                </a:cubicBezTo>
                <a:cubicBezTo>
                  <a:pt x="278" y="48"/>
                  <a:pt x="278" y="48"/>
                  <a:pt x="278" y="47"/>
                </a:cubicBezTo>
                <a:cubicBezTo>
                  <a:pt x="276" y="48"/>
                  <a:pt x="274" y="48"/>
                  <a:pt x="273" y="49"/>
                </a:cubicBezTo>
                <a:close/>
                <a:moveTo>
                  <a:pt x="274" y="62"/>
                </a:moveTo>
                <a:cubicBezTo>
                  <a:pt x="273" y="62"/>
                  <a:pt x="272" y="63"/>
                  <a:pt x="272" y="63"/>
                </a:cubicBezTo>
                <a:cubicBezTo>
                  <a:pt x="273" y="62"/>
                  <a:pt x="274" y="63"/>
                  <a:pt x="275" y="62"/>
                </a:cubicBezTo>
                <a:cubicBezTo>
                  <a:pt x="274" y="62"/>
                  <a:pt x="281" y="60"/>
                  <a:pt x="282" y="59"/>
                </a:cubicBezTo>
                <a:cubicBezTo>
                  <a:pt x="281" y="60"/>
                  <a:pt x="280" y="60"/>
                  <a:pt x="280" y="60"/>
                </a:cubicBezTo>
                <a:cubicBezTo>
                  <a:pt x="279" y="60"/>
                  <a:pt x="280" y="59"/>
                  <a:pt x="278" y="59"/>
                </a:cubicBezTo>
                <a:cubicBezTo>
                  <a:pt x="279" y="60"/>
                  <a:pt x="277" y="60"/>
                  <a:pt x="275" y="61"/>
                </a:cubicBezTo>
                <a:cubicBezTo>
                  <a:pt x="276" y="61"/>
                  <a:pt x="275" y="61"/>
                  <a:pt x="274" y="62"/>
                </a:cubicBezTo>
                <a:close/>
                <a:moveTo>
                  <a:pt x="270" y="48"/>
                </a:moveTo>
                <a:cubicBezTo>
                  <a:pt x="270" y="49"/>
                  <a:pt x="273" y="48"/>
                  <a:pt x="276" y="47"/>
                </a:cubicBezTo>
                <a:cubicBezTo>
                  <a:pt x="273" y="47"/>
                  <a:pt x="273" y="46"/>
                  <a:pt x="271" y="47"/>
                </a:cubicBezTo>
                <a:cubicBezTo>
                  <a:pt x="272" y="47"/>
                  <a:pt x="274" y="47"/>
                  <a:pt x="270" y="48"/>
                </a:cubicBezTo>
                <a:close/>
                <a:moveTo>
                  <a:pt x="276" y="60"/>
                </a:moveTo>
                <a:cubicBezTo>
                  <a:pt x="276" y="60"/>
                  <a:pt x="277" y="59"/>
                  <a:pt x="276" y="59"/>
                </a:cubicBezTo>
                <a:cubicBezTo>
                  <a:pt x="270" y="61"/>
                  <a:pt x="269" y="62"/>
                  <a:pt x="276" y="60"/>
                </a:cubicBezTo>
                <a:close/>
                <a:moveTo>
                  <a:pt x="264" y="34"/>
                </a:moveTo>
                <a:cubicBezTo>
                  <a:pt x="262" y="34"/>
                  <a:pt x="261" y="35"/>
                  <a:pt x="261" y="35"/>
                </a:cubicBezTo>
                <a:cubicBezTo>
                  <a:pt x="263" y="35"/>
                  <a:pt x="265" y="34"/>
                  <a:pt x="265" y="34"/>
                </a:cubicBezTo>
                <a:cubicBezTo>
                  <a:pt x="264" y="34"/>
                  <a:pt x="264" y="34"/>
                  <a:pt x="264" y="34"/>
                </a:cubicBezTo>
                <a:close/>
                <a:moveTo>
                  <a:pt x="248" y="40"/>
                </a:moveTo>
                <a:cubicBezTo>
                  <a:pt x="250" y="40"/>
                  <a:pt x="247" y="41"/>
                  <a:pt x="248" y="41"/>
                </a:cubicBezTo>
                <a:cubicBezTo>
                  <a:pt x="251" y="40"/>
                  <a:pt x="250" y="40"/>
                  <a:pt x="252" y="39"/>
                </a:cubicBezTo>
                <a:cubicBezTo>
                  <a:pt x="252" y="39"/>
                  <a:pt x="252" y="40"/>
                  <a:pt x="253" y="39"/>
                </a:cubicBezTo>
                <a:cubicBezTo>
                  <a:pt x="254" y="39"/>
                  <a:pt x="253" y="39"/>
                  <a:pt x="254" y="38"/>
                </a:cubicBezTo>
                <a:cubicBezTo>
                  <a:pt x="257" y="37"/>
                  <a:pt x="256" y="38"/>
                  <a:pt x="259" y="36"/>
                </a:cubicBezTo>
                <a:cubicBezTo>
                  <a:pt x="260" y="36"/>
                  <a:pt x="260" y="36"/>
                  <a:pt x="260" y="35"/>
                </a:cubicBezTo>
                <a:cubicBezTo>
                  <a:pt x="258" y="36"/>
                  <a:pt x="258" y="36"/>
                  <a:pt x="256" y="36"/>
                </a:cubicBezTo>
                <a:cubicBezTo>
                  <a:pt x="258" y="36"/>
                  <a:pt x="253" y="38"/>
                  <a:pt x="254" y="37"/>
                </a:cubicBezTo>
                <a:cubicBezTo>
                  <a:pt x="251" y="38"/>
                  <a:pt x="252" y="39"/>
                  <a:pt x="250" y="40"/>
                </a:cubicBezTo>
                <a:cubicBezTo>
                  <a:pt x="250" y="39"/>
                  <a:pt x="251" y="39"/>
                  <a:pt x="250" y="39"/>
                </a:cubicBezTo>
                <a:cubicBezTo>
                  <a:pt x="245" y="41"/>
                  <a:pt x="242" y="42"/>
                  <a:pt x="238" y="44"/>
                </a:cubicBezTo>
                <a:cubicBezTo>
                  <a:pt x="237" y="45"/>
                  <a:pt x="241" y="44"/>
                  <a:pt x="239" y="45"/>
                </a:cubicBezTo>
                <a:cubicBezTo>
                  <a:pt x="235" y="46"/>
                  <a:pt x="238" y="43"/>
                  <a:pt x="235" y="45"/>
                </a:cubicBezTo>
                <a:cubicBezTo>
                  <a:pt x="236" y="45"/>
                  <a:pt x="236" y="46"/>
                  <a:pt x="238" y="45"/>
                </a:cubicBezTo>
                <a:cubicBezTo>
                  <a:pt x="239" y="44"/>
                  <a:pt x="241" y="44"/>
                  <a:pt x="242" y="44"/>
                </a:cubicBezTo>
                <a:cubicBezTo>
                  <a:pt x="243" y="43"/>
                  <a:pt x="241" y="44"/>
                  <a:pt x="242" y="43"/>
                </a:cubicBezTo>
                <a:cubicBezTo>
                  <a:pt x="245" y="42"/>
                  <a:pt x="246" y="41"/>
                  <a:pt x="248" y="40"/>
                </a:cubicBezTo>
                <a:close/>
                <a:moveTo>
                  <a:pt x="253" y="56"/>
                </a:moveTo>
                <a:cubicBezTo>
                  <a:pt x="253" y="57"/>
                  <a:pt x="253" y="57"/>
                  <a:pt x="254" y="57"/>
                </a:cubicBezTo>
                <a:cubicBezTo>
                  <a:pt x="257" y="55"/>
                  <a:pt x="256" y="56"/>
                  <a:pt x="258" y="55"/>
                </a:cubicBezTo>
                <a:cubicBezTo>
                  <a:pt x="258" y="55"/>
                  <a:pt x="263" y="53"/>
                  <a:pt x="264" y="52"/>
                </a:cubicBezTo>
                <a:cubicBezTo>
                  <a:pt x="260" y="53"/>
                  <a:pt x="255" y="56"/>
                  <a:pt x="253" y="56"/>
                </a:cubicBezTo>
                <a:close/>
                <a:moveTo>
                  <a:pt x="264" y="64"/>
                </a:moveTo>
                <a:cubicBezTo>
                  <a:pt x="267" y="64"/>
                  <a:pt x="264" y="65"/>
                  <a:pt x="263" y="65"/>
                </a:cubicBezTo>
                <a:cubicBezTo>
                  <a:pt x="263" y="66"/>
                  <a:pt x="263" y="66"/>
                  <a:pt x="264" y="66"/>
                </a:cubicBezTo>
                <a:cubicBezTo>
                  <a:pt x="264" y="65"/>
                  <a:pt x="265" y="66"/>
                  <a:pt x="267" y="65"/>
                </a:cubicBezTo>
                <a:cubicBezTo>
                  <a:pt x="268" y="64"/>
                  <a:pt x="268" y="64"/>
                  <a:pt x="268" y="63"/>
                </a:cubicBezTo>
                <a:cubicBezTo>
                  <a:pt x="267" y="64"/>
                  <a:pt x="265" y="63"/>
                  <a:pt x="264" y="64"/>
                </a:cubicBezTo>
                <a:close/>
                <a:moveTo>
                  <a:pt x="261" y="65"/>
                </a:moveTo>
                <a:cubicBezTo>
                  <a:pt x="261" y="65"/>
                  <a:pt x="261" y="65"/>
                  <a:pt x="261" y="65"/>
                </a:cubicBezTo>
                <a:cubicBezTo>
                  <a:pt x="263" y="65"/>
                  <a:pt x="266" y="63"/>
                  <a:pt x="264" y="63"/>
                </a:cubicBezTo>
                <a:cubicBezTo>
                  <a:pt x="264" y="64"/>
                  <a:pt x="263" y="64"/>
                  <a:pt x="261" y="65"/>
                </a:cubicBezTo>
                <a:close/>
                <a:moveTo>
                  <a:pt x="253" y="68"/>
                </a:moveTo>
                <a:cubicBezTo>
                  <a:pt x="255" y="68"/>
                  <a:pt x="258" y="67"/>
                  <a:pt x="259" y="67"/>
                </a:cubicBezTo>
                <a:cubicBezTo>
                  <a:pt x="258" y="67"/>
                  <a:pt x="261" y="66"/>
                  <a:pt x="260" y="66"/>
                </a:cubicBezTo>
                <a:cubicBezTo>
                  <a:pt x="257" y="67"/>
                  <a:pt x="256" y="67"/>
                  <a:pt x="253" y="68"/>
                </a:cubicBezTo>
                <a:close/>
                <a:moveTo>
                  <a:pt x="256" y="64"/>
                </a:moveTo>
                <a:cubicBezTo>
                  <a:pt x="258" y="64"/>
                  <a:pt x="255" y="65"/>
                  <a:pt x="257" y="65"/>
                </a:cubicBezTo>
                <a:cubicBezTo>
                  <a:pt x="258" y="64"/>
                  <a:pt x="257" y="64"/>
                  <a:pt x="258" y="63"/>
                </a:cubicBezTo>
                <a:lnTo>
                  <a:pt x="256" y="64"/>
                </a:lnTo>
                <a:close/>
                <a:moveTo>
                  <a:pt x="249" y="75"/>
                </a:moveTo>
                <a:cubicBezTo>
                  <a:pt x="249" y="75"/>
                  <a:pt x="249" y="75"/>
                  <a:pt x="248" y="75"/>
                </a:cubicBezTo>
                <a:cubicBezTo>
                  <a:pt x="247" y="75"/>
                  <a:pt x="250" y="73"/>
                  <a:pt x="247" y="74"/>
                </a:cubicBezTo>
                <a:cubicBezTo>
                  <a:pt x="250" y="74"/>
                  <a:pt x="243" y="77"/>
                  <a:pt x="246" y="77"/>
                </a:cubicBezTo>
                <a:cubicBezTo>
                  <a:pt x="246" y="77"/>
                  <a:pt x="247" y="76"/>
                  <a:pt x="247" y="76"/>
                </a:cubicBezTo>
                <a:cubicBezTo>
                  <a:pt x="246" y="77"/>
                  <a:pt x="246" y="77"/>
                  <a:pt x="247" y="77"/>
                </a:cubicBezTo>
                <a:cubicBezTo>
                  <a:pt x="249" y="75"/>
                  <a:pt x="255" y="74"/>
                  <a:pt x="257" y="72"/>
                </a:cubicBezTo>
                <a:cubicBezTo>
                  <a:pt x="255" y="72"/>
                  <a:pt x="252" y="74"/>
                  <a:pt x="249" y="75"/>
                </a:cubicBezTo>
                <a:close/>
                <a:moveTo>
                  <a:pt x="248" y="62"/>
                </a:moveTo>
                <a:cubicBezTo>
                  <a:pt x="250" y="61"/>
                  <a:pt x="251" y="61"/>
                  <a:pt x="251" y="60"/>
                </a:cubicBezTo>
                <a:cubicBezTo>
                  <a:pt x="249" y="61"/>
                  <a:pt x="248" y="62"/>
                  <a:pt x="248" y="62"/>
                </a:cubicBezTo>
                <a:close/>
                <a:moveTo>
                  <a:pt x="246" y="67"/>
                </a:moveTo>
                <a:cubicBezTo>
                  <a:pt x="243" y="68"/>
                  <a:pt x="245" y="69"/>
                  <a:pt x="248" y="68"/>
                </a:cubicBezTo>
                <a:cubicBezTo>
                  <a:pt x="248" y="67"/>
                  <a:pt x="246" y="68"/>
                  <a:pt x="246" y="67"/>
                </a:cubicBezTo>
                <a:close/>
                <a:moveTo>
                  <a:pt x="244" y="65"/>
                </a:moveTo>
                <a:cubicBezTo>
                  <a:pt x="243" y="65"/>
                  <a:pt x="245" y="64"/>
                  <a:pt x="245" y="63"/>
                </a:cubicBezTo>
                <a:cubicBezTo>
                  <a:pt x="242" y="64"/>
                  <a:pt x="242" y="66"/>
                  <a:pt x="244" y="65"/>
                </a:cubicBezTo>
                <a:close/>
                <a:moveTo>
                  <a:pt x="241" y="72"/>
                </a:moveTo>
                <a:cubicBezTo>
                  <a:pt x="241" y="72"/>
                  <a:pt x="241" y="71"/>
                  <a:pt x="240" y="71"/>
                </a:cubicBezTo>
                <a:cubicBezTo>
                  <a:pt x="240" y="72"/>
                  <a:pt x="239" y="72"/>
                  <a:pt x="239" y="72"/>
                </a:cubicBezTo>
                <a:cubicBezTo>
                  <a:pt x="239" y="72"/>
                  <a:pt x="238" y="73"/>
                  <a:pt x="238" y="73"/>
                </a:cubicBezTo>
                <a:cubicBezTo>
                  <a:pt x="242" y="71"/>
                  <a:pt x="237" y="74"/>
                  <a:pt x="239" y="74"/>
                </a:cubicBezTo>
                <a:cubicBezTo>
                  <a:pt x="243" y="71"/>
                  <a:pt x="246" y="72"/>
                  <a:pt x="248" y="70"/>
                </a:cubicBezTo>
                <a:cubicBezTo>
                  <a:pt x="245" y="70"/>
                  <a:pt x="241" y="73"/>
                  <a:pt x="239" y="73"/>
                </a:cubicBezTo>
                <a:cubicBezTo>
                  <a:pt x="239" y="73"/>
                  <a:pt x="240" y="72"/>
                  <a:pt x="241" y="72"/>
                </a:cubicBezTo>
                <a:close/>
                <a:moveTo>
                  <a:pt x="239" y="71"/>
                </a:moveTo>
                <a:cubicBezTo>
                  <a:pt x="236" y="72"/>
                  <a:pt x="237" y="73"/>
                  <a:pt x="236" y="74"/>
                </a:cubicBezTo>
                <a:cubicBezTo>
                  <a:pt x="238" y="73"/>
                  <a:pt x="239" y="72"/>
                  <a:pt x="239" y="71"/>
                </a:cubicBezTo>
                <a:close/>
                <a:moveTo>
                  <a:pt x="226" y="49"/>
                </a:moveTo>
                <a:cubicBezTo>
                  <a:pt x="226" y="48"/>
                  <a:pt x="225" y="49"/>
                  <a:pt x="227" y="47"/>
                </a:cubicBezTo>
                <a:cubicBezTo>
                  <a:pt x="225" y="49"/>
                  <a:pt x="222" y="49"/>
                  <a:pt x="221" y="51"/>
                </a:cubicBezTo>
                <a:cubicBezTo>
                  <a:pt x="225" y="49"/>
                  <a:pt x="224" y="50"/>
                  <a:pt x="226" y="50"/>
                </a:cubicBezTo>
                <a:cubicBezTo>
                  <a:pt x="224" y="51"/>
                  <a:pt x="224" y="51"/>
                  <a:pt x="222" y="51"/>
                </a:cubicBezTo>
                <a:cubicBezTo>
                  <a:pt x="223" y="52"/>
                  <a:pt x="227" y="50"/>
                  <a:pt x="230" y="49"/>
                </a:cubicBezTo>
                <a:cubicBezTo>
                  <a:pt x="230" y="48"/>
                  <a:pt x="230" y="48"/>
                  <a:pt x="231" y="47"/>
                </a:cubicBezTo>
                <a:cubicBezTo>
                  <a:pt x="231" y="47"/>
                  <a:pt x="231" y="48"/>
                  <a:pt x="233" y="47"/>
                </a:cubicBezTo>
                <a:cubicBezTo>
                  <a:pt x="233" y="46"/>
                  <a:pt x="233" y="46"/>
                  <a:pt x="233" y="46"/>
                </a:cubicBezTo>
                <a:cubicBezTo>
                  <a:pt x="229" y="48"/>
                  <a:pt x="228" y="48"/>
                  <a:pt x="226" y="49"/>
                </a:cubicBezTo>
                <a:close/>
                <a:moveTo>
                  <a:pt x="235" y="57"/>
                </a:moveTo>
                <a:cubicBezTo>
                  <a:pt x="233" y="58"/>
                  <a:pt x="231" y="59"/>
                  <a:pt x="230" y="59"/>
                </a:cubicBezTo>
                <a:cubicBezTo>
                  <a:pt x="228" y="60"/>
                  <a:pt x="231" y="59"/>
                  <a:pt x="232" y="59"/>
                </a:cubicBezTo>
                <a:cubicBezTo>
                  <a:pt x="232" y="59"/>
                  <a:pt x="231" y="59"/>
                  <a:pt x="233" y="58"/>
                </a:cubicBezTo>
                <a:cubicBezTo>
                  <a:pt x="233" y="58"/>
                  <a:pt x="233" y="59"/>
                  <a:pt x="232" y="59"/>
                </a:cubicBezTo>
                <a:cubicBezTo>
                  <a:pt x="234" y="58"/>
                  <a:pt x="236" y="58"/>
                  <a:pt x="236" y="57"/>
                </a:cubicBezTo>
                <a:cubicBezTo>
                  <a:pt x="235" y="57"/>
                  <a:pt x="235" y="57"/>
                  <a:pt x="235" y="57"/>
                </a:cubicBezTo>
                <a:close/>
                <a:moveTo>
                  <a:pt x="235" y="64"/>
                </a:moveTo>
                <a:cubicBezTo>
                  <a:pt x="237" y="63"/>
                  <a:pt x="235" y="65"/>
                  <a:pt x="235" y="65"/>
                </a:cubicBezTo>
                <a:cubicBezTo>
                  <a:pt x="238" y="64"/>
                  <a:pt x="238" y="64"/>
                  <a:pt x="238" y="63"/>
                </a:cubicBezTo>
                <a:cubicBezTo>
                  <a:pt x="237" y="64"/>
                  <a:pt x="235" y="64"/>
                  <a:pt x="235" y="64"/>
                </a:cubicBezTo>
                <a:close/>
                <a:moveTo>
                  <a:pt x="230" y="61"/>
                </a:moveTo>
                <a:cubicBezTo>
                  <a:pt x="230" y="61"/>
                  <a:pt x="228" y="63"/>
                  <a:pt x="231" y="62"/>
                </a:cubicBezTo>
                <a:cubicBezTo>
                  <a:pt x="230" y="62"/>
                  <a:pt x="232" y="60"/>
                  <a:pt x="232" y="60"/>
                </a:cubicBezTo>
                <a:cubicBezTo>
                  <a:pt x="231" y="60"/>
                  <a:pt x="230" y="61"/>
                  <a:pt x="230" y="61"/>
                </a:cubicBezTo>
                <a:close/>
                <a:moveTo>
                  <a:pt x="227" y="61"/>
                </a:moveTo>
                <a:cubicBezTo>
                  <a:pt x="227" y="62"/>
                  <a:pt x="227" y="62"/>
                  <a:pt x="227" y="62"/>
                </a:cubicBezTo>
                <a:cubicBezTo>
                  <a:pt x="228" y="61"/>
                  <a:pt x="229" y="60"/>
                  <a:pt x="230" y="60"/>
                </a:cubicBezTo>
                <a:cubicBezTo>
                  <a:pt x="230" y="60"/>
                  <a:pt x="229" y="60"/>
                  <a:pt x="227" y="61"/>
                </a:cubicBezTo>
                <a:close/>
                <a:moveTo>
                  <a:pt x="225" y="71"/>
                </a:moveTo>
                <a:cubicBezTo>
                  <a:pt x="228" y="69"/>
                  <a:pt x="229" y="68"/>
                  <a:pt x="232" y="66"/>
                </a:cubicBezTo>
                <a:cubicBezTo>
                  <a:pt x="230" y="67"/>
                  <a:pt x="232" y="66"/>
                  <a:pt x="232" y="65"/>
                </a:cubicBezTo>
                <a:cubicBezTo>
                  <a:pt x="230" y="67"/>
                  <a:pt x="226" y="67"/>
                  <a:pt x="226" y="68"/>
                </a:cubicBezTo>
                <a:cubicBezTo>
                  <a:pt x="227" y="69"/>
                  <a:pt x="228" y="67"/>
                  <a:pt x="230" y="67"/>
                </a:cubicBezTo>
                <a:cubicBezTo>
                  <a:pt x="230" y="67"/>
                  <a:pt x="231" y="67"/>
                  <a:pt x="231" y="67"/>
                </a:cubicBezTo>
                <a:cubicBezTo>
                  <a:pt x="228" y="69"/>
                  <a:pt x="225" y="70"/>
                  <a:pt x="225" y="71"/>
                </a:cubicBezTo>
                <a:close/>
                <a:moveTo>
                  <a:pt x="228" y="73"/>
                </a:moveTo>
                <a:cubicBezTo>
                  <a:pt x="228" y="73"/>
                  <a:pt x="228" y="72"/>
                  <a:pt x="226" y="73"/>
                </a:cubicBezTo>
                <a:cubicBezTo>
                  <a:pt x="227" y="74"/>
                  <a:pt x="227" y="74"/>
                  <a:pt x="227" y="74"/>
                </a:cubicBezTo>
                <a:cubicBezTo>
                  <a:pt x="228" y="73"/>
                  <a:pt x="231" y="72"/>
                  <a:pt x="230" y="72"/>
                </a:cubicBezTo>
                <a:lnTo>
                  <a:pt x="228" y="73"/>
                </a:lnTo>
                <a:close/>
                <a:moveTo>
                  <a:pt x="221" y="77"/>
                </a:moveTo>
                <a:cubicBezTo>
                  <a:pt x="221" y="77"/>
                  <a:pt x="224" y="76"/>
                  <a:pt x="225" y="76"/>
                </a:cubicBezTo>
                <a:cubicBezTo>
                  <a:pt x="224" y="77"/>
                  <a:pt x="222" y="78"/>
                  <a:pt x="221" y="79"/>
                </a:cubicBezTo>
                <a:cubicBezTo>
                  <a:pt x="223" y="78"/>
                  <a:pt x="225" y="77"/>
                  <a:pt x="227" y="76"/>
                </a:cubicBezTo>
                <a:cubicBezTo>
                  <a:pt x="228" y="75"/>
                  <a:pt x="227" y="75"/>
                  <a:pt x="226" y="74"/>
                </a:cubicBezTo>
                <a:cubicBezTo>
                  <a:pt x="224" y="75"/>
                  <a:pt x="223" y="76"/>
                  <a:pt x="222" y="77"/>
                </a:cubicBezTo>
                <a:cubicBezTo>
                  <a:pt x="222" y="76"/>
                  <a:pt x="221" y="76"/>
                  <a:pt x="221" y="77"/>
                </a:cubicBezTo>
                <a:close/>
                <a:moveTo>
                  <a:pt x="224" y="73"/>
                </a:moveTo>
                <a:cubicBezTo>
                  <a:pt x="220" y="76"/>
                  <a:pt x="220" y="76"/>
                  <a:pt x="220" y="76"/>
                </a:cubicBezTo>
                <a:cubicBezTo>
                  <a:pt x="222" y="76"/>
                  <a:pt x="221" y="76"/>
                  <a:pt x="224" y="75"/>
                </a:cubicBezTo>
                <a:cubicBezTo>
                  <a:pt x="223" y="74"/>
                  <a:pt x="226" y="73"/>
                  <a:pt x="224" y="73"/>
                </a:cubicBezTo>
                <a:close/>
                <a:moveTo>
                  <a:pt x="206" y="64"/>
                </a:moveTo>
                <a:cubicBezTo>
                  <a:pt x="207" y="65"/>
                  <a:pt x="208" y="64"/>
                  <a:pt x="207" y="65"/>
                </a:cubicBezTo>
                <a:cubicBezTo>
                  <a:pt x="212" y="62"/>
                  <a:pt x="208" y="64"/>
                  <a:pt x="209" y="63"/>
                </a:cubicBezTo>
                <a:cubicBezTo>
                  <a:pt x="210" y="62"/>
                  <a:pt x="210" y="63"/>
                  <a:pt x="212" y="62"/>
                </a:cubicBezTo>
                <a:cubicBezTo>
                  <a:pt x="212" y="61"/>
                  <a:pt x="209" y="62"/>
                  <a:pt x="206" y="64"/>
                </a:cubicBezTo>
                <a:close/>
                <a:moveTo>
                  <a:pt x="197" y="73"/>
                </a:moveTo>
                <a:cubicBezTo>
                  <a:pt x="198" y="73"/>
                  <a:pt x="198" y="72"/>
                  <a:pt x="198" y="73"/>
                </a:cubicBezTo>
                <a:cubicBezTo>
                  <a:pt x="199" y="72"/>
                  <a:pt x="200" y="71"/>
                  <a:pt x="200" y="71"/>
                </a:cubicBezTo>
                <a:cubicBezTo>
                  <a:pt x="198" y="72"/>
                  <a:pt x="201" y="70"/>
                  <a:pt x="200" y="70"/>
                </a:cubicBezTo>
                <a:cubicBezTo>
                  <a:pt x="197" y="72"/>
                  <a:pt x="200" y="72"/>
                  <a:pt x="197" y="73"/>
                </a:cubicBezTo>
                <a:close/>
                <a:moveTo>
                  <a:pt x="196" y="70"/>
                </a:moveTo>
                <a:cubicBezTo>
                  <a:pt x="196" y="71"/>
                  <a:pt x="198" y="69"/>
                  <a:pt x="197" y="71"/>
                </a:cubicBezTo>
                <a:cubicBezTo>
                  <a:pt x="200" y="69"/>
                  <a:pt x="198" y="68"/>
                  <a:pt x="196" y="70"/>
                </a:cubicBezTo>
                <a:close/>
                <a:moveTo>
                  <a:pt x="191" y="75"/>
                </a:moveTo>
                <a:cubicBezTo>
                  <a:pt x="192" y="74"/>
                  <a:pt x="194" y="72"/>
                  <a:pt x="192" y="73"/>
                </a:cubicBezTo>
                <a:cubicBezTo>
                  <a:pt x="192" y="74"/>
                  <a:pt x="189" y="75"/>
                  <a:pt x="191" y="75"/>
                </a:cubicBezTo>
                <a:close/>
                <a:moveTo>
                  <a:pt x="187" y="76"/>
                </a:moveTo>
                <a:cubicBezTo>
                  <a:pt x="186" y="77"/>
                  <a:pt x="184" y="78"/>
                  <a:pt x="185" y="79"/>
                </a:cubicBezTo>
                <a:cubicBezTo>
                  <a:pt x="185" y="78"/>
                  <a:pt x="187" y="77"/>
                  <a:pt x="187" y="78"/>
                </a:cubicBezTo>
                <a:cubicBezTo>
                  <a:pt x="186" y="78"/>
                  <a:pt x="187" y="78"/>
                  <a:pt x="188" y="77"/>
                </a:cubicBezTo>
                <a:cubicBezTo>
                  <a:pt x="189" y="76"/>
                  <a:pt x="189" y="76"/>
                  <a:pt x="187" y="76"/>
                </a:cubicBezTo>
                <a:close/>
                <a:moveTo>
                  <a:pt x="186" y="75"/>
                </a:moveTo>
                <a:cubicBezTo>
                  <a:pt x="185" y="76"/>
                  <a:pt x="184" y="77"/>
                  <a:pt x="184" y="77"/>
                </a:cubicBezTo>
                <a:cubicBezTo>
                  <a:pt x="183" y="78"/>
                  <a:pt x="188" y="76"/>
                  <a:pt x="188" y="75"/>
                </a:cubicBezTo>
                <a:cubicBezTo>
                  <a:pt x="186" y="76"/>
                  <a:pt x="187" y="75"/>
                  <a:pt x="186" y="75"/>
                </a:cubicBezTo>
                <a:close/>
                <a:moveTo>
                  <a:pt x="186" y="95"/>
                </a:moveTo>
                <a:cubicBezTo>
                  <a:pt x="187" y="94"/>
                  <a:pt x="186" y="95"/>
                  <a:pt x="186" y="95"/>
                </a:cubicBezTo>
                <a:cubicBezTo>
                  <a:pt x="191" y="92"/>
                  <a:pt x="191" y="92"/>
                  <a:pt x="191" y="92"/>
                </a:cubicBezTo>
                <a:cubicBezTo>
                  <a:pt x="192" y="92"/>
                  <a:pt x="191" y="93"/>
                  <a:pt x="193" y="92"/>
                </a:cubicBezTo>
                <a:cubicBezTo>
                  <a:pt x="192" y="92"/>
                  <a:pt x="195" y="91"/>
                  <a:pt x="195" y="90"/>
                </a:cubicBezTo>
                <a:cubicBezTo>
                  <a:pt x="194" y="91"/>
                  <a:pt x="193" y="90"/>
                  <a:pt x="192" y="91"/>
                </a:cubicBezTo>
                <a:cubicBezTo>
                  <a:pt x="190" y="93"/>
                  <a:pt x="187" y="94"/>
                  <a:pt x="186" y="95"/>
                </a:cubicBezTo>
                <a:close/>
                <a:moveTo>
                  <a:pt x="178" y="81"/>
                </a:moveTo>
                <a:cubicBezTo>
                  <a:pt x="176" y="83"/>
                  <a:pt x="179" y="82"/>
                  <a:pt x="180" y="81"/>
                </a:cubicBezTo>
                <a:cubicBezTo>
                  <a:pt x="181" y="80"/>
                  <a:pt x="183" y="79"/>
                  <a:pt x="183" y="79"/>
                </a:cubicBezTo>
                <a:cubicBezTo>
                  <a:pt x="180" y="81"/>
                  <a:pt x="183" y="78"/>
                  <a:pt x="178" y="81"/>
                </a:cubicBezTo>
                <a:close/>
                <a:moveTo>
                  <a:pt x="182" y="80"/>
                </a:moveTo>
                <a:cubicBezTo>
                  <a:pt x="182" y="81"/>
                  <a:pt x="178" y="83"/>
                  <a:pt x="179" y="83"/>
                </a:cubicBezTo>
                <a:cubicBezTo>
                  <a:pt x="181" y="82"/>
                  <a:pt x="182" y="82"/>
                  <a:pt x="183" y="81"/>
                </a:cubicBezTo>
                <a:cubicBezTo>
                  <a:pt x="180" y="82"/>
                  <a:pt x="186" y="79"/>
                  <a:pt x="182" y="80"/>
                </a:cubicBezTo>
                <a:close/>
                <a:moveTo>
                  <a:pt x="182" y="82"/>
                </a:moveTo>
                <a:cubicBezTo>
                  <a:pt x="180" y="84"/>
                  <a:pt x="178" y="86"/>
                  <a:pt x="180" y="86"/>
                </a:cubicBezTo>
                <a:cubicBezTo>
                  <a:pt x="180" y="85"/>
                  <a:pt x="183" y="83"/>
                  <a:pt x="181" y="85"/>
                </a:cubicBezTo>
                <a:cubicBezTo>
                  <a:pt x="186" y="82"/>
                  <a:pt x="180" y="85"/>
                  <a:pt x="183" y="82"/>
                </a:cubicBezTo>
                <a:cubicBezTo>
                  <a:pt x="182" y="82"/>
                  <a:pt x="182" y="83"/>
                  <a:pt x="182" y="82"/>
                </a:cubicBezTo>
                <a:close/>
                <a:moveTo>
                  <a:pt x="165" y="91"/>
                </a:moveTo>
                <a:cubicBezTo>
                  <a:pt x="163" y="92"/>
                  <a:pt x="163" y="92"/>
                  <a:pt x="163" y="93"/>
                </a:cubicBezTo>
                <a:cubicBezTo>
                  <a:pt x="163" y="92"/>
                  <a:pt x="159" y="95"/>
                  <a:pt x="158" y="95"/>
                </a:cubicBezTo>
                <a:cubicBezTo>
                  <a:pt x="159" y="96"/>
                  <a:pt x="163" y="93"/>
                  <a:pt x="166" y="91"/>
                </a:cubicBezTo>
                <a:cubicBezTo>
                  <a:pt x="165" y="91"/>
                  <a:pt x="167" y="90"/>
                  <a:pt x="165" y="91"/>
                </a:cubicBezTo>
                <a:close/>
                <a:moveTo>
                  <a:pt x="167" y="91"/>
                </a:moveTo>
                <a:cubicBezTo>
                  <a:pt x="169" y="90"/>
                  <a:pt x="169" y="90"/>
                  <a:pt x="171" y="90"/>
                </a:cubicBezTo>
                <a:cubicBezTo>
                  <a:pt x="171" y="88"/>
                  <a:pt x="176" y="85"/>
                  <a:pt x="178" y="83"/>
                </a:cubicBezTo>
                <a:cubicBezTo>
                  <a:pt x="176" y="84"/>
                  <a:pt x="176" y="82"/>
                  <a:pt x="174" y="84"/>
                </a:cubicBezTo>
                <a:cubicBezTo>
                  <a:pt x="175" y="85"/>
                  <a:pt x="170" y="87"/>
                  <a:pt x="170" y="88"/>
                </a:cubicBezTo>
                <a:cubicBezTo>
                  <a:pt x="169" y="88"/>
                  <a:pt x="169" y="88"/>
                  <a:pt x="169" y="87"/>
                </a:cubicBezTo>
                <a:cubicBezTo>
                  <a:pt x="166" y="90"/>
                  <a:pt x="167" y="90"/>
                  <a:pt x="167" y="91"/>
                </a:cubicBezTo>
                <a:close/>
                <a:moveTo>
                  <a:pt x="173" y="93"/>
                </a:moveTo>
                <a:cubicBezTo>
                  <a:pt x="174" y="92"/>
                  <a:pt x="173" y="94"/>
                  <a:pt x="176" y="92"/>
                </a:cubicBezTo>
                <a:cubicBezTo>
                  <a:pt x="176" y="91"/>
                  <a:pt x="175" y="92"/>
                  <a:pt x="176" y="91"/>
                </a:cubicBezTo>
                <a:cubicBezTo>
                  <a:pt x="174" y="92"/>
                  <a:pt x="173" y="92"/>
                  <a:pt x="173" y="93"/>
                </a:cubicBezTo>
                <a:close/>
                <a:moveTo>
                  <a:pt x="174" y="104"/>
                </a:moveTo>
                <a:cubicBezTo>
                  <a:pt x="174" y="105"/>
                  <a:pt x="181" y="100"/>
                  <a:pt x="180" y="100"/>
                </a:cubicBezTo>
                <a:cubicBezTo>
                  <a:pt x="177" y="102"/>
                  <a:pt x="177" y="103"/>
                  <a:pt x="174" y="104"/>
                </a:cubicBezTo>
                <a:close/>
                <a:moveTo>
                  <a:pt x="164" y="99"/>
                </a:moveTo>
                <a:cubicBezTo>
                  <a:pt x="166" y="98"/>
                  <a:pt x="169" y="96"/>
                  <a:pt x="170" y="95"/>
                </a:cubicBezTo>
                <a:cubicBezTo>
                  <a:pt x="167" y="97"/>
                  <a:pt x="165" y="97"/>
                  <a:pt x="164" y="99"/>
                </a:cubicBezTo>
                <a:close/>
                <a:moveTo>
                  <a:pt x="159" y="99"/>
                </a:moveTo>
                <a:cubicBezTo>
                  <a:pt x="159" y="100"/>
                  <a:pt x="158" y="100"/>
                  <a:pt x="158" y="100"/>
                </a:cubicBezTo>
                <a:cubicBezTo>
                  <a:pt x="160" y="99"/>
                  <a:pt x="160" y="98"/>
                  <a:pt x="161" y="97"/>
                </a:cubicBezTo>
                <a:cubicBezTo>
                  <a:pt x="161" y="97"/>
                  <a:pt x="161" y="98"/>
                  <a:pt x="162" y="97"/>
                </a:cubicBezTo>
                <a:cubicBezTo>
                  <a:pt x="163" y="96"/>
                  <a:pt x="162" y="97"/>
                  <a:pt x="162" y="97"/>
                </a:cubicBezTo>
                <a:cubicBezTo>
                  <a:pt x="158" y="99"/>
                  <a:pt x="158" y="99"/>
                  <a:pt x="158" y="99"/>
                </a:cubicBezTo>
                <a:cubicBezTo>
                  <a:pt x="158" y="100"/>
                  <a:pt x="157" y="102"/>
                  <a:pt x="159" y="99"/>
                </a:cubicBezTo>
                <a:close/>
                <a:moveTo>
                  <a:pt x="153" y="99"/>
                </a:moveTo>
                <a:cubicBezTo>
                  <a:pt x="153" y="99"/>
                  <a:pt x="152" y="100"/>
                  <a:pt x="153" y="101"/>
                </a:cubicBezTo>
                <a:cubicBezTo>
                  <a:pt x="151" y="101"/>
                  <a:pt x="149" y="103"/>
                  <a:pt x="150" y="103"/>
                </a:cubicBezTo>
                <a:cubicBezTo>
                  <a:pt x="154" y="100"/>
                  <a:pt x="153" y="100"/>
                  <a:pt x="156" y="98"/>
                </a:cubicBezTo>
                <a:cubicBezTo>
                  <a:pt x="155" y="98"/>
                  <a:pt x="155" y="98"/>
                  <a:pt x="154" y="98"/>
                </a:cubicBezTo>
                <a:cubicBezTo>
                  <a:pt x="154" y="100"/>
                  <a:pt x="154" y="98"/>
                  <a:pt x="153" y="99"/>
                </a:cubicBezTo>
                <a:close/>
                <a:moveTo>
                  <a:pt x="160" y="120"/>
                </a:moveTo>
                <a:cubicBezTo>
                  <a:pt x="160" y="120"/>
                  <a:pt x="160" y="121"/>
                  <a:pt x="161" y="120"/>
                </a:cubicBezTo>
                <a:cubicBezTo>
                  <a:pt x="162" y="119"/>
                  <a:pt x="165" y="116"/>
                  <a:pt x="163" y="117"/>
                </a:cubicBezTo>
                <a:cubicBezTo>
                  <a:pt x="163" y="117"/>
                  <a:pt x="162" y="119"/>
                  <a:pt x="160" y="120"/>
                </a:cubicBezTo>
                <a:close/>
                <a:moveTo>
                  <a:pt x="150" y="106"/>
                </a:moveTo>
                <a:cubicBezTo>
                  <a:pt x="148" y="108"/>
                  <a:pt x="154" y="103"/>
                  <a:pt x="151" y="106"/>
                </a:cubicBezTo>
                <a:cubicBezTo>
                  <a:pt x="154" y="104"/>
                  <a:pt x="154" y="104"/>
                  <a:pt x="154" y="104"/>
                </a:cubicBezTo>
                <a:cubicBezTo>
                  <a:pt x="154" y="103"/>
                  <a:pt x="153" y="104"/>
                  <a:pt x="154" y="103"/>
                </a:cubicBezTo>
                <a:cubicBezTo>
                  <a:pt x="151" y="105"/>
                  <a:pt x="151" y="105"/>
                  <a:pt x="150" y="106"/>
                </a:cubicBezTo>
                <a:close/>
                <a:moveTo>
                  <a:pt x="146" y="105"/>
                </a:moveTo>
                <a:cubicBezTo>
                  <a:pt x="142" y="108"/>
                  <a:pt x="147" y="106"/>
                  <a:pt x="145" y="108"/>
                </a:cubicBezTo>
                <a:cubicBezTo>
                  <a:pt x="147" y="106"/>
                  <a:pt x="146" y="106"/>
                  <a:pt x="149" y="104"/>
                </a:cubicBezTo>
                <a:cubicBezTo>
                  <a:pt x="148" y="104"/>
                  <a:pt x="149" y="103"/>
                  <a:pt x="149" y="103"/>
                </a:cubicBezTo>
                <a:cubicBezTo>
                  <a:pt x="145" y="105"/>
                  <a:pt x="149" y="103"/>
                  <a:pt x="146" y="106"/>
                </a:cubicBezTo>
                <a:cubicBezTo>
                  <a:pt x="146" y="105"/>
                  <a:pt x="147" y="104"/>
                  <a:pt x="146" y="105"/>
                </a:cubicBezTo>
                <a:close/>
                <a:moveTo>
                  <a:pt x="153" y="120"/>
                </a:moveTo>
                <a:cubicBezTo>
                  <a:pt x="156" y="118"/>
                  <a:pt x="154" y="119"/>
                  <a:pt x="157" y="116"/>
                </a:cubicBezTo>
                <a:cubicBezTo>
                  <a:pt x="156" y="117"/>
                  <a:pt x="154" y="118"/>
                  <a:pt x="152" y="119"/>
                </a:cubicBezTo>
                <a:cubicBezTo>
                  <a:pt x="154" y="119"/>
                  <a:pt x="151" y="121"/>
                  <a:pt x="149" y="122"/>
                </a:cubicBezTo>
                <a:cubicBezTo>
                  <a:pt x="148" y="124"/>
                  <a:pt x="152" y="120"/>
                  <a:pt x="151" y="122"/>
                </a:cubicBezTo>
                <a:cubicBezTo>
                  <a:pt x="153" y="120"/>
                  <a:pt x="153" y="119"/>
                  <a:pt x="154" y="119"/>
                </a:cubicBezTo>
                <a:cubicBezTo>
                  <a:pt x="154" y="119"/>
                  <a:pt x="153" y="120"/>
                  <a:pt x="153" y="120"/>
                </a:cubicBezTo>
                <a:close/>
                <a:moveTo>
                  <a:pt x="136" y="117"/>
                </a:moveTo>
                <a:cubicBezTo>
                  <a:pt x="139" y="115"/>
                  <a:pt x="135" y="118"/>
                  <a:pt x="135" y="118"/>
                </a:cubicBezTo>
                <a:cubicBezTo>
                  <a:pt x="138" y="116"/>
                  <a:pt x="140" y="115"/>
                  <a:pt x="142" y="113"/>
                </a:cubicBezTo>
                <a:cubicBezTo>
                  <a:pt x="142" y="112"/>
                  <a:pt x="147" y="109"/>
                  <a:pt x="148" y="107"/>
                </a:cubicBezTo>
                <a:cubicBezTo>
                  <a:pt x="147" y="108"/>
                  <a:pt x="146" y="108"/>
                  <a:pt x="146" y="108"/>
                </a:cubicBezTo>
                <a:cubicBezTo>
                  <a:pt x="144" y="109"/>
                  <a:pt x="144" y="110"/>
                  <a:pt x="142" y="111"/>
                </a:cubicBezTo>
                <a:cubicBezTo>
                  <a:pt x="141" y="113"/>
                  <a:pt x="142" y="113"/>
                  <a:pt x="141" y="113"/>
                </a:cubicBezTo>
                <a:cubicBezTo>
                  <a:pt x="140" y="113"/>
                  <a:pt x="136" y="116"/>
                  <a:pt x="136" y="117"/>
                </a:cubicBezTo>
                <a:close/>
                <a:moveTo>
                  <a:pt x="153" y="123"/>
                </a:moveTo>
                <a:cubicBezTo>
                  <a:pt x="154" y="123"/>
                  <a:pt x="157" y="120"/>
                  <a:pt x="156" y="120"/>
                </a:cubicBezTo>
                <a:cubicBezTo>
                  <a:pt x="155" y="121"/>
                  <a:pt x="152" y="123"/>
                  <a:pt x="153" y="123"/>
                </a:cubicBezTo>
                <a:close/>
                <a:moveTo>
                  <a:pt x="137" y="109"/>
                </a:moveTo>
                <a:cubicBezTo>
                  <a:pt x="139" y="108"/>
                  <a:pt x="141" y="106"/>
                  <a:pt x="141" y="106"/>
                </a:cubicBezTo>
                <a:cubicBezTo>
                  <a:pt x="139" y="107"/>
                  <a:pt x="137" y="109"/>
                  <a:pt x="137" y="109"/>
                </a:cubicBezTo>
                <a:close/>
                <a:moveTo>
                  <a:pt x="136" y="114"/>
                </a:moveTo>
                <a:cubicBezTo>
                  <a:pt x="138" y="114"/>
                  <a:pt x="137" y="113"/>
                  <a:pt x="137" y="115"/>
                </a:cubicBezTo>
                <a:cubicBezTo>
                  <a:pt x="138" y="114"/>
                  <a:pt x="138" y="113"/>
                  <a:pt x="141" y="111"/>
                </a:cubicBezTo>
                <a:cubicBezTo>
                  <a:pt x="142" y="110"/>
                  <a:pt x="141" y="111"/>
                  <a:pt x="140" y="111"/>
                </a:cubicBezTo>
                <a:cubicBezTo>
                  <a:pt x="141" y="110"/>
                  <a:pt x="142" y="110"/>
                  <a:pt x="143" y="109"/>
                </a:cubicBezTo>
                <a:cubicBezTo>
                  <a:pt x="143" y="109"/>
                  <a:pt x="144" y="108"/>
                  <a:pt x="143" y="108"/>
                </a:cubicBezTo>
                <a:cubicBezTo>
                  <a:pt x="141" y="111"/>
                  <a:pt x="139" y="111"/>
                  <a:pt x="136" y="114"/>
                </a:cubicBezTo>
                <a:close/>
                <a:moveTo>
                  <a:pt x="142" y="117"/>
                </a:moveTo>
                <a:cubicBezTo>
                  <a:pt x="140" y="118"/>
                  <a:pt x="142" y="116"/>
                  <a:pt x="144" y="115"/>
                </a:cubicBezTo>
                <a:cubicBezTo>
                  <a:pt x="144" y="114"/>
                  <a:pt x="142" y="115"/>
                  <a:pt x="141" y="116"/>
                </a:cubicBezTo>
                <a:cubicBezTo>
                  <a:pt x="141" y="116"/>
                  <a:pt x="141" y="117"/>
                  <a:pt x="140" y="117"/>
                </a:cubicBezTo>
                <a:cubicBezTo>
                  <a:pt x="137" y="118"/>
                  <a:pt x="139" y="119"/>
                  <a:pt x="136" y="120"/>
                </a:cubicBezTo>
                <a:cubicBezTo>
                  <a:pt x="136" y="121"/>
                  <a:pt x="133" y="123"/>
                  <a:pt x="132" y="124"/>
                </a:cubicBezTo>
                <a:cubicBezTo>
                  <a:pt x="133" y="124"/>
                  <a:pt x="131" y="125"/>
                  <a:pt x="131" y="126"/>
                </a:cubicBezTo>
                <a:cubicBezTo>
                  <a:pt x="133" y="124"/>
                  <a:pt x="135" y="122"/>
                  <a:pt x="134" y="124"/>
                </a:cubicBezTo>
                <a:cubicBezTo>
                  <a:pt x="135" y="124"/>
                  <a:pt x="139" y="121"/>
                  <a:pt x="138" y="121"/>
                </a:cubicBezTo>
                <a:cubicBezTo>
                  <a:pt x="137" y="121"/>
                  <a:pt x="135" y="124"/>
                  <a:pt x="135" y="123"/>
                </a:cubicBezTo>
                <a:cubicBezTo>
                  <a:pt x="136" y="122"/>
                  <a:pt x="135" y="122"/>
                  <a:pt x="137" y="121"/>
                </a:cubicBezTo>
                <a:cubicBezTo>
                  <a:pt x="139" y="119"/>
                  <a:pt x="142" y="117"/>
                  <a:pt x="142" y="117"/>
                </a:cubicBezTo>
                <a:close/>
                <a:moveTo>
                  <a:pt x="143" y="118"/>
                </a:moveTo>
                <a:cubicBezTo>
                  <a:pt x="141" y="119"/>
                  <a:pt x="141" y="119"/>
                  <a:pt x="141" y="119"/>
                </a:cubicBezTo>
                <a:cubicBezTo>
                  <a:pt x="140" y="120"/>
                  <a:pt x="140" y="120"/>
                  <a:pt x="141" y="121"/>
                </a:cubicBezTo>
                <a:cubicBezTo>
                  <a:pt x="143" y="119"/>
                  <a:pt x="142" y="119"/>
                  <a:pt x="143" y="118"/>
                </a:cubicBezTo>
                <a:cubicBezTo>
                  <a:pt x="143" y="119"/>
                  <a:pt x="144" y="118"/>
                  <a:pt x="145" y="117"/>
                </a:cubicBezTo>
                <a:cubicBezTo>
                  <a:pt x="143" y="118"/>
                  <a:pt x="144" y="117"/>
                  <a:pt x="143" y="118"/>
                </a:cubicBezTo>
                <a:close/>
                <a:moveTo>
                  <a:pt x="146" y="128"/>
                </a:moveTo>
                <a:cubicBezTo>
                  <a:pt x="147" y="128"/>
                  <a:pt x="145" y="129"/>
                  <a:pt x="145" y="130"/>
                </a:cubicBezTo>
                <a:cubicBezTo>
                  <a:pt x="146" y="129"/>
                  <a:pt x="146" y="129"/>
                  <a:pt x="148" y="128"/>
                </a:cubicBezTo>
                <a:cubicBezTo>
                  <a:pt x="147" y="128"/>
                  <a:pt x="147" y="127"/>
                  <a:pt x="148" y="127"/>
                </a:cubicBezTo>
                <a:cubicBezTo>
                  <a:pt x="147" y="127"/>
                  <a:pt x="146" y="128"/>
                  <a:pt x="146" y="128"/>
                </a:cubicBezTo>
                <a:close/>
                <a:moveTo>
                  <a:pt x="133" y="117"/>
                </a:moveTo>
                <a:cubicBezTo>
                  <a:pt x="133" y="118"/>
                  <a:pt x="134" y="117"/>
                  <a:pt x="135" y="117"/>
                </a:cubicBezTo>
                <a:cubicBezTo>
                  <a:pt x="136" y="116"/>
                  <a:pt x="137" y="115"/>
                  <a:pt x="137" y="115"/>
                </a:cubicBezTo>
                <a:cubicBezTo>
                  <a:pt x="136" y="116"/>
                  <a:pt x="135" y="115"/>
                  <a:pt x="133" y="117"/>
                </a:cubicBezTo>
                <a:close/>
                <a:moveTo>
                  <a:pt x="144" y="129"/>
                </a:moveTo>
                <a:cubicBezTo>
                  <a:pt x="143" y="129"/>
                  <a:pt x="141" y="129"/>
                  <a:pt x="139" y="132"/>
                </a:cubicBezTo>
                <a:cubicBezTo>
                  <a:pt x="139" y="133"/>
                  <a:pt x="145" y="129"/>
                  <a:pt x="146" y="127"/>
                </a:cubicBezTo>
                <a:cubicBezTo>
                  <a:pt x="145" y="128"/>
                  <a:pt x="144" y="128"/>
                  <a:pt x="144" y="129"/>
                </a:cubicBezTo>
                <a:close/>
                <a:moveTo>
                  <a:pt x="133" y="117"/>
                </a:moveTo>
                <a:cubicBezTo>
                  <a:pt x="132" y="118"/>
                  <a:pt x="132" y="117"/>
                  <a:pt x="131" y="118"/>
                </a:cubicBezTo>
                <a:cubicBezTo>
                  <a:pt x="131" y="119"/>
                  <a:pt x="133" y="117"/>
                  <a:pt x="135" y="116"/>
                </a:cubicBezTo>
                <a:cubicBezTo>
                  <a:pt x="134" y="116"/>
                  <a:pt x="136" y="114"/>
                  <a:pt x="134" y="115"/>
                </a:cubicBezTo>
                <a:cubicBezTo>
                  <a:pt x="134" y="116"/>
                  <a:pt x="134" y="116"/>
                  <a:pt x="133" y="117"/>
                </a:cubicBezTo>
                <a:close/>
                <a:moveTo>
                  <a:pt x="138" y="122"/>
                </a:moveTo>
                <a:cubicBezTo>
                  <a:pt x="137" y="123"/>
                  <a:pt x="137" y="123"/>
                  <a:pt x="139" y="122"/>
                </a:cubicBezTo>
                <a:cubicBezTo>
                  <a:pt x="140" y="121"/>
                  <a:pt x="140" y="120"/>
                  <a:pt x="138" y="122"/>
                </a:cubicBezTo>
                <a:close/>
                <a:moveTo>
                  <a:pt x="139" y="137"/>
                </a:moveTo>
                <a:cubicBezTo>
                  <a:pt x="141" y="135"/>
                  <a:pt x="141" y="137"/>
                  <a:pt x="139" y="138"/>
                </a:cubicBezTo>
                <a:cubicBezTo>
                  <a:pt x="140" y="137"/>
                  <a:pt x="141" y="137"/>
                  <a:pt x="142" y="136"/>
                </a:cubicBezTo>
                <a:cubicBezTo>
                  <a:pt x="142" y="135"/>
                  <a:pt x="142" y="135"/>
                  <a:pt x="142" y="135"/>
                </a:cubicBezTo>
                <a:cubicBezTo>
                  <a:pt x="142" y="135"/>
                  <a:pt x="143" y="134"/>
                  <a:pt x="144" y="134"/>
                </a:cubicBezTo>
                <a:cubicBezTo>
                  <a:pt x="142" y="136"/>
                  <a:pt x="138" y="139"/>
                  <a:pt x="138" y="140"/>
                </a:cubicBezTo>
                <a:cubicBezTo>
                  <a:pt x="138" y="140"/>
                  <a:pt x="137" y="141"/>
                  <a:pt x="136" y="141"/>
                </a:cubicBezTo>
                <a:cubicBezTo>
                  <a:pt x="138" y="140"/>
                  <a:pt x="138" y="139"/>
                  <a:pt x="139" y="138"/>
                </a:cubicBezTo>
                <a:cubicBezTo>
                  <a:pt x="139" y="137"/>
                  <a:pt x="136" y="138"/>
                  <a:pt x="133" y="141"/>
                </a:cubicBezTo>
                <a:cubicBezTo>
                  <a:pt x="134" y="141"/>
                  <a:pt x="136" y="139"/>
                  <a:pt x="137" y="139"/>
                </a:cubicBezTo>
                <a:cubicBezTo>
                  <a:pt x="137" y="139"/>
                  <a:pt x="138" y="139"/>
                  <a:pt x="138" y="139"/>
                </a:cubicBezTo>
                <a:cubicBezTo>
                  <a:pt x="135" y="142"/>
                  <a:pt x="132" y="145"/>
                  <a:pt x="132" y="146"/>
                </a:cubicBezTo>
                <a:cubicBezTo>
                  <a:pt x="133" y="145"/>
                  <a:pt x="135" y="144"/>
                  <a:pt x="135" y="143"/>
                </a:cubicBezTo>
                <a:cubicBezTo>
                  <a:pt x="134" y="144"/>
                  <a:pt x="134" y="144"/>
                  <a:pt x="134" y="144"/>
                </a:cubicBezTo>
                <a:cubicBezTo>
                  <a:pt x="135" y="144"/>
                  <a:pt x="136" y="142"/>
                  <a:pt x="136" y="142"/>
                </a:cubicBezTo>
                <a:cubicBezTo>
                  <a:pt x="137" y="142"/>
                  <a:pt x="134" y="145"/>
                  <a:pt x="137" y="143"/>
                </a:cubicBezTo>
                <a:cubicBezTo>
                  <a:pt x="136" y="142"/>
                  <a:pt x="139" y="141"/>
                  <a:pt x="140" y="141"/>
                </a:cubicBezTo>
                <a:cubicBezTo>
                  <a:pt x="139" y="140"/>
                  <a:pt x="141" y="139"/>
                  <a:pt x="141" y="139"/>
                </a:cubicBezTo>
                <a:cubicBezTo>
                  <a:pt x="140" y="139"/>
                  <a:pt x="140" y="139"/>
                  <a:pt x="141" y="138"/>
                </a:cubicBezTo>
                <a:cubicBezTo>
                  <a:pt x="144" y="136"/>
                  <a:pt x="146" y="134"/>
                  <a:pt x="148" y="133"/>
                </a:cubicBezTo>
                <a:cubicBezTo>
                  <a:pt x="147" y="133"/>
                  <a:pt x="143" y="135"/>
                  <a:pt x="146" y="132"/>
                </a:cubicBezTo>
                <a:cubicBezTo>
                  <a:pt x="143" y="133"/>
                  <a:pt x="141" y="134"/>
                  <a:pt x="139" y="137"/>
                </a:cubicBezTo>
                <a:close/>
                <a:moveTo>
                  <a:pt x="142" y="131"/>
                </a:moveTo>
                <a:cubicBezTo>
                  <a:pt x="142" y="131"/>
                  <a:pt x="143" y="132"/>
                  <a:pt x="144" y="130"/>
                </a:cubicBezTo>
                <a:cubicBezTo>
                  <a:pt x="144" y="130"/>
                  <a:pt x="144" y="130"/>
                  <a:pt x="144" y="129"/>
                </a:cubicBezTo>
                <a:cubicBezTo>
                  <a:pt x="144" y="130"/>
                  <a:pt x="143" y="130"/>
                  <a:pt x="142" y="131"/>
                </a:cubicBezTo>
                <a:close/>
                <a:moveTo>
                  <a:pt x="142" y="143"/>
                </a:moveTo>
                <a:cubicBezTo>
                  <a:pt x="142" y="143"/>
                  <a:pt x="145" y="140"/>
                  <a:pt x="145" y="142"/>
                </a:cubicBezTo>
                <a:cubicBezTo>
                  <a:pt x="147" y="140"/>
                  <a:pt x="149" y="139"/>
                  <a:pt x="150" y="138"/>
                </a:cubicBezTo>
                <a:cubicBezTo>
                  <a:pt x="148" y="139"/>
                  <a:pt x="147" y="140"/>
                  <a:pt x="146" y="140"/>
                </a:cubicBezTo>
                <a:cubicBezTo>
                  <a:pt x="147" y="139"/>
                  <a:pt x="147" y="139"/>
                  <a:pt x="148" y="138"/>
                </a:cubicBezTo>
                <a:cubicBezTo>
                  <a:pt x="147" y="139"/>
                  <a:pt x="150" y="137"/>
                  <a:pt x="150" y="137"/>
                </a:cubicBezTo>
                <a:cubicBezTo>
                  <a:pt x="148" y="138"/>
                  <a:pt x="142" y="142"/>
                  <a:pt x="142" y="143"/>
                </a:cubicBezTo>
                <a:close/>
                <a:moveTo>
                  <a:pt x="125" y="125"/>
                </a:moveTo>
                <a:cubicBezTo>
                  <a:pt x="126" y="125"/>
                  <a:pt x="128" y="123"/>
                  <a:pt x="128" y="124"/>
                </a:cubicBezTo>
                <a:cubicBezTo>
                  <a:pt x="126" y="126"/>
                  <a:pt x="124" y="127"/>
                  <a:pt x="124" y="128"/>
                </a:cubicBezTo>
                <a:cubicBezTo>
                  <a:pt x="129" y="124"/>
                  <a:pt x="129" y="124"/>
                  <a:pt x="129" y="124"/>
                </a:cubicBezTo>
                <a:cubicBezTo>
                  <a:pt x="128" y="123"/>
                  <a:pt x="132" y="121"/>
                  <a:pt x="131" y="120"/>
                </a:cubicBezTo>
                <a:cubicBezTo>
                  <a:pt x="129" y="122"/>
                  <a:pt x="127" y="123"/>
                  <a:pt x="125" y="125"/>
                </a:cubicBezTo>
                <a:close/>
                <a:moveTo>
                  <a:pt x="131" y="122"/>
                </a:moveTo>
                <a:cubicBezTo>
                  <a:pt x="132" y="122"/>
                  <a:pt x="131" y="122"/>
                  <a:pt x="131" y="123"/>
                </a:cubicBezTo>
                <a:cubicBezTo>
                  <a:pt x="132" y="122"/>
                  <a:pt x="132" y="121"/>
                  <a:pt x="133" y="120"/>
                </a:cubicBezTo>
                <a:cubicBezTo>
                  <a:pt x="134" y="120"/>
                  <a:pt x="134" y="120"/>
                  <a:pt x="134" y="120"/>
                </a:cubicBezTo>
                <a:cubicBezTo>
                  <a:pt x="133" y="120"/>
                  <a:pt x="135" y="117"/>
                  <a:pt x="131" y="119"/>
                </a:cubicBezTo>
                <a:cubicBezTo>
                  <a:pt x="131" y="120"/>
                  <a:pt x="134" y="119"/>
                  <a:pt x="131" y="122"/>
                </a:cubicBezTo>
                <a:close/>
                <a:moveTo>
                  <a:pt x="139" y="130"/>
                </a:moveTo>
                <a:cubicBezTo>
                  <a:pt x="138" y="132"/>
                  <a:pt x="142" y="129"/>
                  <a:pt x="142" y="129"/>
                </a:cubicBezTo>
                <a:lnTo>
                  <a:pt x="139" y="130"/>
                </a:lnTo>
                <a:close/>
                <a:moveTo>
                  <a:pt x="133" y="129"/>
                </a:moveTo>
                <a:cubicBezTo>
                  <a:pt x="135" y="127"/>
                  <a:pt x="136" y="126"/>
                  <a:pt x="135" y="126"/>
                </a:cubicBezTo>
                <a:cubicBezTo>
                  <a:pt x="133" y="128"/>
                  <a:pt x="132" y="129"/>
                  <a:pt x="133" y="129"/>
                </a:cubicBezTo>
                <a:close/>
                <a:moveTo>
                  <a:pt x="129" y="121"/>
                </a:moveTo>
                <a:cubicBezTo>
                  <a:pt x="128" y="120"/>
                  <a:pt x="126" y="121"/>
                  <a:pt x="124" y="124"/>
                </a:cubicBezTo>
                <a:cubicBezTo>
                  <a:pt x="125" y="123"/>
                  <a:pt x="125" y="123"/>
                  <a:pt x="124" y="124"/>
                </a:cubicBezTo>
                <a:cubicBezTo>
                  <a:pt x="123" y="124"/>
                  <a:pt x="121" y="127"/>
                  <a:pt x="120" y="128"/>
                </a:cubicBezTo>
                <a:cubicBezTo>
                  <a:pt x="121" y="128"/>
                  <a:pt x="121" y="128"/>
                  <a:pt x="120" y="130"/>
                </a:cubicBezTo>
                <a:cubicBezTo>
                  <a:pt x="121" y="129"/>
                  <a:pt x="121" y="129"/>
                  <a:pt x="121" y="129"/>
                </a:cubicBezTo>
                <a:cubicBezTo>
                  <a:pt x="125" y="126"/>
                  <a:pt x="124" y="125"/>
                  <a:pt x="128" y="123"/>
                </a:cubicBezTo>
                <a:cubicBezTo>
                  <a:pt x="127" y="122"/>
                  <a:pt x="126" y="123"/>
                  <a:pt x="129" y="121"/>
                </a:cubicBezTo>
                <a:close/>
                <a:moveTo>
                  <a:pt x="129" y="131"/>
                </a:moveTo>
                <a:cubicBezTo>
                  <a:pt x="130" y="130"/>
                  <a:pt x="133" y="127"/>
                  <a:pt x="134" y="126"/>
                </a:cubicBezTo>
                <a:cubicBezTo>
                  <a:pt x="131" y="128"/>
                  <a:pt x="130" y="130"/>
                  <a:pt x="129" y="131"/>
                </a:cubicBezTo>
                <a:close/>
                <a:moveTo>
                  <a:pt x="133" y="136"/>
                </a:moveTo>
                <a:cubicBezTo>
                  <a:pt x="135" y="136"/>
                  <a:pt x="137" y="136"/>
                  <a:pt x="139" y="133"/>
                </a:cubicBezTo>
                <a:cubicBezTo>
                  <a:pt x="136" y="135"/>
                  <a:pt x="136" y="134"/>
                  <a:pt x="133" y="136"/>
                </a:cubicBezTo>
                <a:close/>
                <a:moveTo>
                  <a:pt x="124" y="131"/>
                </a:moveTo>
                <a:cubicBezTo>
                  <a:pt x="125" y="131"/>
                  <a:pt x="125" y="131"/>
                  <a:pt x="124" y="132"/>
                </a:cubicBezTo>
                <a:cubicBezTo>
                  <a:pt x="126" y="131"/>
                  <a:pt x="131" y="127"/>
                  <a:pt x="128" y="128"/>
                </a:cubicBezTo>
                <a:cubicBezTo>
                  <a:pt x="128" y="129"/>
                  <a:pt x="126" y="130"/>
                  <a:pt x="124" y="131"/>
                </a:cubicBezTo>
                <a:close/>
                <a:moveTo>
                  <a:pt x="121" y="127"/>
                </a:moveTo>
                <a:cubicBezTo>
                  <a:pt x="121" y="126"/>
                  <a:pt x="121" y="125"/>
                  <a:pt x="123" y="124"/>
                </a:cubicBezTo>
                <a:cubicBezTo>
                  <a:pt x="120" y="126"/>
                  <a:pt x="117" y="127"/>
                  <a:pt x="117" y="128"/>
                </a:cubicBezTo>
                <a:cubicBezTo>
                  <a:pt x="118" y="128"/>
                  <a:pt x="120" y="126"/>
                  <a:pt x="121" y="126"/>
                </a:cubicBezTo>
                <a:cubicBezTo>
                  <a:pt x="120" y="126"/>
                  <a:pt x="119" y="128"/>
                  <a:pt x="121" y="127"/>
                </a:cubicBezTo>
                <a:close/>
                <a:moveTo>
                  <a:pt x="120" y="131"/>
                </a:moveTo>
                <a:cubicBezTo>
                  <a:pt x="121" y="131"/>
                  <a:pt x="122" y="131"/>
                  <a:pt x="124" y="129"/>
                </a:cubicBezTo>
                <a:cubicBezTo>
                  <a:pt x="124" y="128"/>
                  <a:pt x="121" y="130"/>
                  <a:pt x="120" y="131"/>
                </a:cubicBezTo>
                <a:close/>
                <a:moveTo>
                  <a:pt x="119" y="140"/>
                </a:moveTo>
                <a:cubicBezTo>
                  <a:pt x="121" y="139"/>
                  <a:pt x="122" y="137"/>
                  <a:pt x="124" y="135"/>
                </a:cubicBezTo>
                <a:cubicBezTo>
                  <a:pt x="124" y="134"/>
                  <a:pt x="124" y="134"/>
                  <a:pt x="124" y="134"/>
                </a:cubicBezTo>
                <a:cubicBezTo>
                  <a:pt x="121" y="137"/>
                  <a:pt x="119" y="139"/>
                  <a:pt x="119" y="140"/>
                </a:cubicBezTo>
                <a:close/>
                <a:moveTo>
                  <a:pt x="117" y="131"/>
                </a:moveTo>
                <a:cubicBezTo>
                  <a:pt x="119" y="130"/>
                  <a:pt x="117" y="130"/>
                  <a:pt x="118" y="129"/>
                </a:cubicBezTo>
                <a:cubicBezTo>
                  <a:pt x="116" y="131"/>
                  <a:pt x="116" y="131"/>
                  <a:pt x="117" y="131"/>
                </a:cubicBezTo>
                <a:close/>
                <a:moveTo>
                  <a:pt x="112" y="133"/>
                </a:moveTo>
                <a:cubicBezTo>
                  <a:pt x="112" y="134"/>
                  <a:pt x="114" y="132"/>
                  <a:pt x="113" y="133"/>
                </a:cubicBezTo>
                <a:cubicBezTo>
                  <a:pt x="117" y="130"/>
                  <a:pt x="114" y="131"/>
                  <a:pt x="112" y="133"/>
                </a:cubicBezTo>
                <a:close/>
                <a:moveTo>
                  <a:pt x="117" y="138"/>
                </a:moveTo>
                <a:cubicBezTo>
                  <a:pt x="116" y="140"/>
                  <a:pt x="113" y="143"/>
                  <a:pt x="114" y="143"/>
                </a:cubicBezTo>
                <a:cubicBezTo>
                  <a:pt x="117" y="140"/>
                  <a:pt x="116" y="140"/>
                  <a:pt x="119" y="137"/>
                </a:cubicBezTo>
                <a:cubicBezTo>
                  <a:pt x="118" y="138"/>
                  <a:pt x="118" y="137"/>
                  <a:pt x="117" y="138"/>
                </a:cubicBezTo>
                <a:close/>
                <a:moveTo>
                  <a:pt x="114" y="157"/>
                </a:moveTo>
                <a:cubicBezTo>
                  <a:pt x="112" y="158"/>
                  <a:pt x="113" y="158"/>
                  <a:pt x="111" y="158"/>
                </a:cubicBezTo>
                <a:cubicBezTo>
                  <a:pt x="113" y="158"/>
                  <a:pt x="109" y="161"/>
                  <a:pt x="109" y="161"/>
                </a:cubicBezTo>
                <a:cubicBezTo>
                  <a:pt x="111" y="159"/>
                  <a:pt x="109" y="160"/>
                  <a:pt x="108" y="161"/>
                </a:cubicBezTo>
                <a:cubicBezTo>
                  <a:pt x="108" y="162"/>
                  <a:pt x="107" y="163"/>
                  <a:pt x="107" y="164"/>
                </a:cubicBezTo>
                <a:cubicBezTo>
                  <a:pt x="105" y="166"/>
                  <a:pt x="105" y="164"/>
                  <a:pt x="102" y="167"/>
                </a:cubicBezTo>
                <a:cubicBezTo>
                  <a:pt x="102" y="169"/>
                  <a:pt x="103" y="167"/>
                  <a:pt x="104" y="167"/>
                </a:cubicBezTo>
                <a:cubicBezTo>
                  <a:pt x="103" y="168"/>
                  <a:pt x="102" y="168"/>
                  <a:pt x="101" y="169"/>
                </a:cubicBezTo>
                <a:cubicBezTo>
                  <a:pt x="103" y="169"/>
                  <a:pt x="106" y="166"/>
                  <a:pt x="107" y="164"/>
                </a:cubicBezTo>
                <a:cubicBezTo>
                  <a:pt x="106" y="167"/>
                  <a:pt x="101" y="172"/>
                  <a:pt x="99" y="173"/>
                </a:cubicBezTo>
                <a:cubicBezTo>
                  <a:pt x="99" y="173"/>
                  <a:pt x="99" y="175"/>
                  <a:pt x="98" y="175"/>
                </a:cubicBezTo>
                <a:cubicBezTo>
                  <a:pt x="98" y="175"/>
                  <a:pt x="99" y="175"/>
                  <a:pt x="98" y="175"/>
                </a:cubicBezTo>
                <a:cubicBezTo>
                  <a:pt x="99" y="175"/>
                  <a:pt x="98" y="175"/>
                  <a:pt x="99" y="175"/>
                </a:cubicBezTo>
                <a:cubicBezTo>
                  <a:pt x="99" y="175"/>
                  <a:pt x="100" y="174"/>
                  <a:pt x="100" y="174"/>
                </a:cubicBezTo>
                <a:cubicBezTo>
                  <a:pt x="100" y="174"/>
                  <a:pt x="100" y="174"/>
                  <a:pt x="100" y="174"/>
                </a:cubicBezTo>
                <a:cubicBezTo>
                  <a:pt x="101" y="172"/>
                  <a:pt x="101" y="172"/>
                  <a:pt x="101" y="172"/>
                </a:cubicBezTo>
                <a:cubicBezTo>
                  <a:pt x="102" y="172"/>
                  <a:pt x="103" y="171"/>
                  <a:pt x="104" y="170"/>
                </a:cubicBezTo>
                <a:cubicBezTo>
                  <a:pt x="103" y="170"/>
                  <a:pt x="106" y="168"/>
                  <a:pt x="106" y="167"/>
                </a:cubicBezTo>
                <a:cubicBezTo>
                  <a:pt x="108" y="166"/>
                  <a:pt x="114" y="158"/>
                  <a:pt x="117" y="157"/>
                </a:cubicBezTo>
                <a:cubicBezTo>
                  <a:pt x="117" y="157"/>
                  <a:pt x="116" y="157"/>
                  <a:pt x="117" y="156"/>
                </a:cubicBezTo>
                <a:cubicBezTo>
                  <a:pt x="119" y="155"/>
                  <a:pt x="120" y="153"/>
                  <a:pt x="123" y="151"/>
                </a:cubicBezTo>
                <a:cubicBezTo>
                  <a:pt x="122" y="150"/>
                  <a:pt x="125" y="150"/>
                  <a:pt x="126" y="148"/>
                </a:cubicBezTo>
                <a:cubicBezTo>
                  <a:pt x="126" y="148"/>
                  <a:pt x="127" y="147"/>
                  <a:pt x="126" y="147"/>
                </a:cubicBezTo>
                <a:cubicBezTo>
                  <a:pt x="123" y="150"/>
                  <a:pt x="122" y="148"/>
                  <a:pt x="120" y="151"/>
                </a:cubicBezTo>
                <a:cubicBezTo>
                  <a:pt x="121" y="150"/>
                  <a:pt x="120" y="153"/>
                  <a:pt x="119" y="153"/>
                </a:cubicBezTo>
                <a:cubicBezTo>
                  <a:pt x="119" y="152"/>
                  <a:pt x="117" y="155"/>
                  <a:pt x="116" y="155"/>
                </a:cubicBezTo>
                <a:cubicBezTo>
                  <a:pt x="117" y="154"/>
                  <a:pt x="118" y="153"/>
                  <a:pt x="118" y="152"/>
                </a:cubicBezTo>
                <a:cubicBezTo>
                  <a:pt x="117" y="154"/>
                  <a:pt x="116" y="154"/>
                  <a:pt x="116" y="154"/>
                </a:cubicBezTo>
                <a:cubicBezTo>
                  <a:pt x="116" y="154"/>
                  <a:pt x="117" y="153"/>
                  <a:pt x="117" y="153"/>
                </a:cubicBezTo>
                <a:cubicBezTo>
                  <a:pt x="115" y="155"/>
                  <a:pt x="115" y="155"/>
                  <a:pt x="114" y="157"/>
                </a:cubicBezTo>
                <a:close/>
                <a:moveTo>
                  <a:pt x="119" y="151"/>
                </a:moveTo>
                <a:cubicBezTo>
                  <a:pt x="120" y="150"/>
                  <a:pt x="121" y="149"/>
                  <a:pt x="121" y="148"/>
                </a:cubicBezTo>
                <a:cubicBezTo>
                  <a:pt x="120" y="149"/>
                  <a:pt x="119" y="149"/>
                  <a:pt x="118" y="151"/>
                </a:cubicBezTo>
                <a:cubicBezTo>
                  <a:pt x="118" y="152"/>
                  <a:pt x="119" y="150"/>
                  <a:pt x="120" y="150"/>
                </a:cubicBezTo>
                <a:cubicBezTo>
                  <a:pt x="119" y="151"/>
                  <a:pt x="118" y="152"/>
                  <a:pt x="119" y="151"/>
                </a:cubicBezTo>
                <a:close/>
                <a:moveTo>
                  <a:pt x="124" y="159"/>
                </a:moveTo>
                <a:cubicBezTo>
                  <a:pt x="125" y="159"/>
                  <a:pt x="128" y="159"/>
                  <a:pt x="128" y="157"/>
                </a:cubicBezTo>
                <a:cubicBezTo>
                  <a:pt x="125" y="160"/>
                  <a:pt x="127" y="156"/>
                  <a:pt x="124" y="159"/>
                </a:cubicBezTo>
                <a:close/>
                <a:moveTo>
                  <a:pt x="112" y="142"/>
                </a:moveTo>
                <a:cubicBezTo>
                  <a:pt x="110" y="143"/>
                  <a:pt x="109" y="144"/>
                  <a:pt x="109" y="145"/>
                </a:cubicBezTo>
                <a:cubicBezTo>
                  <a:pt x="110" y="145"/>
                  <a:pt x="111" y="143"/>
                  <a:pt x="112" y="142"/>
                </a:cubicBezTo>
                <a:cubicBezTo>
                  <a:pt x="112" y="143"/>
                  <a:pt x="112" y="143"/>
                  <a:pt x="113" y="142"/>
                </a:cubicBezTo>
                <a:cubicBezTo>
                  <a:pt x="113" y="142"/>
                  <a:pt x="112" y="142"/>
                  <a:pt x="112" y="142"/>
                </a:cubicBezTo>
                <a:close/>
                <a:moveTo>
                  <a:pt x="114" y="170"/>
                </a:moveTo>
                <a:cubicBezTo>
                  <a:pt x="115" y="170"/>
                  <a:pt x="118" y="166"/>
                  <a:pt x="117" y="166"/>
                </a:cubicBezTo>
                <a:cubicBezTo>
                  <a:pt x="115" y="168"/>
                  <a:pt x="116" y="167"/>
                  <a:pt x="114" y="170"/>
                </a:cubicBezTo>
                <a:close/>
                <a:moveTo>
                  <a:pt x="88" y="182"/>
                </a:moveTo>
                <a:cubicBezTo>
                  <a:pt x="88" y="182"/>
                  <a:pt x="89" y="182"/>
                  <a:pt x="89" y="181"/>
                </a:cubicBezTo>
                <a:cubicBezTo>
                  <a:pt x="88" y="181"/>
                  <a:pt x="88" y="182"/>
                  <a:pt x="88" y="182"/>
                </a:cubicBezTo>
                <a:close/>
                <a:moveTo>
                  <a:pt x="108" y="144"/>
                </a:moveTo>
                <a:cubicBezTo>
                  <a:pt x="106" y="144"/>
                  <a:pt x="109" y="142"/>
                  <a:pt x="108" y="142"/>
                </a:cubicBezTo>
                <a:cubicBezTo>
                  <a:pt x="107" y="142"/>
                  <a:pt x="103" y="145"/>
                  <a:pt x="103" y="145"/>
                </a:cubicBezTo>
                <a:cubicBezTo>
                  <a:pt x="105" y="144"/>
                  <a:pt x="106" y="145"/>
                  <a:pt x="107" y="144"/>
                </a:cubicBezTo>
                <a:cubicBezTo>
                  <a:pt x="109" y="143"/>
                  <a:pt x="109" y="143"/>
                  <a:pt x="110" y="141"/>
                </a:cubicBezTo>
                <a:cubicBezTo>
                  <a:pt x="110" y="141"/>
                  <a:pt x="110" y="141"/>
                  <a:pt x="110" y="141"/>
                </a:cubicBezTo>
                <a:cubicBezTo>
                  <a:pt x="107" y="143"/>
                  <a:pt x="110" y="142"/>
                  <a:pt x="108" y="144"/>
                </a:cubicBezTo>
                <a:close/>
                <a:moveTo>
                  <a:pt x="802" y="247"/>
                </a:moveTo>
                <a:cubicBezTo>
                  <a:pt x="799" y="242"/>
                  <a:pt x="799" y="242"/>
                  <a:pt x="799" y="242"/>
                </a:cubicBezTo>
                <a:cubicBezTo>
                  <a:pt x="798" y="242"/>
                  <a:pt x="801" y="247"/>
                  <a:pt x="801" y="246"/>
                </a:cubicBezTo>
                <a:cubicBezTo>
                  <a:pt x="801" y="247"/>
                  <a:pt x="801" y="247"/>
                  <a:pt x="801" y="247"/>
                </a:cubicBezTo>
                <a:cubicBezTo>
                  <a:pt x="800" y="244"/>
                  <a:pt x="802" y="246"/>
                  <a:pt x="802" y="247"/>
                </a:cubicBezTo>
                <a:close/>
                <a:moveTo>
                  <a:pt x="596" y="44"/>
                </a:moveTo>
                <a:cubicBezTo>
                  <a:pt x="592" y="42"/>
                  <a:pt x="592" y="42"/>
                  <a:pt x="592" y="42"/>
                </a:cubicBezTo>
                <a:cubicBezTo>
                  <a:pt x="592" y="43"/>
                  <a:pt x="593" y="43"/>
                  <a:pt x="594" y="44"/>
                </a:cubicBezTo>
                <a:cubicBezTo>
                  <a:pt x="591" y="43"/>
                  <a:pt x="597" y="45"/>
                  <a:pt x="596" y="44"/>
                </a:cubicBezTo>
                <a:close/>
                <a:moveTo>
                  <a:pt x="493" y="9"/>
                </a:moveTo>
                <a:cubicBezTo>
                  <a:pt x="495" y="10"/>
                  <a:pt x="500" y="11"/>
                  <a:pt x="502" y="11"/>
                </a:cubicBezTo>
                <a:cubicBezTo>
                  <a:pt x="500" y="10"/>
                  <a:pt x="492" y="9"/>
                  <a:pt x="493" y="9"/>
                </a:cubicBezTo>
                <a:close/>
                <a:moveTo>
                  <a:pt x="467" y="5"/>
                </a:moveTo>
                <a:cubicBezTo>
                  <a:pt x="469" y="5"/>
                  <a:pt x="477" y="7"/>
                  <a:pt x="475" y="6"/>
                </a:cubicBezTo>
                <a:cubicBezTo>
                  <a:pt x="473" y="6"/>
                  <a:pt x="466" y="4"/>
                  <a:pt x="466" y="5"/>
                </a:cubicBezTo>
                <a:cubicBezTo>
                  <a:pt x="467" y="6"/>
                  <a:pt x="469" y="7"/>
                  <a:pt x="470" y="6"/>
                </a:cubicBezTo>
                <a:cubicBezTo>
                  <a:pt x="469" y="6"/>
                  <a:pt x="468" y="6"/>
                  <a:pt x="467" y="5"/>
                </a:cubicBezTo>
                <a:close/>
                <a:moveTo>
                  <a:pt x="411" y="0"/>
                </a:moveTo>
                <a:cubicBezTo>
                  <a:pt x="410" y="0"/>
                  <a:pt x="406" y="0"/>
                  <a:pt x="404" y="1"/>
                </a:cubicBezTo>
                <a:cubicBezTo>
                  <a:pt x="407" y="1"/>
                  <a:pt x="411" y="1"/>
                  <a:pt x="414" y="1"/>
                </a:cubicBezTo>
                <a:cubicBezTo>
                  <a:pt x="413" y="1"/>
                  <a:pt x="411" y="1"/>
                  <a:pt x="412" y="1"/>
                </a:cubicBezTo>
                <a:cubicBezTo>
                  <a:pt x="413" y="1"/>
                  <a:pt x="417" y="0"/>
                  <a:pt x="415" y="0"/>
                </a:cubicBezTo>
                <a:cubicBezTo>
                  <a:pt x="415" y="1"/>
                  <a:pt x="413" y="0"/>
                  <a:pt x="411" y="0"/>
                </a:cubicBezTo>
                <a:close/>
                <a:moveTo>
                  <a:pt x="394" y="50"/>
                </a:moveTo>
                <a:cubicBezTo>
                  <a:pt x="394" y="49"/>
                  <a:pt x="401" y="50"/>
                  <a:pt x="399" y="50"/>
                </a:cubicBezTo>
                <a:cubicBezTo>
                  <a:pt x="399" y="49"/>
                  <a:pt x="391" y="49"/>
                  <a:pt x="394" y="50"/>
                </a:cubicBezTo>
                <a:close/>
                <a:moveTo>
                  <a:pt x="388" y="50"/>
                </a:moveTo>
                <a:cubicBezTo>
                  <a:pt x="389" y="50"/>
                  <a:pt x="391" y="51"/>
                  <a:pt x="393" y="50"/>
                </a:cubicBezTo>
                <a:cubicBezTo>
                  <a:pt x="384" y="50"/>
                  <a:pt x="379" y="50"/>
                  <a:pt x="376" y="50"/>
                </a:cubicBezTo>
                <a:cubicBezTo>
                  <a:pt x="379" y="50"/>
                  <a:pt x="373" y="51"/>
                  <a:pt x="376" y="51"/>
                </a:cubicBezTo>
                <a:cubicBezTo>
                  <a:pt x="378" y="50"/>
                  <a:pt x="383" y="51"/>
                  <a:pt x="382" y="50"/>
                </a:cubicBezTo>
                <a:cubicBezTo>
                  <a:pt x="383" y="50"/>
                  <a:pt x="386" y="50"/>
                  <a:pt x="388" y="50"/>
                </a:cubicBezTo>
                <a:close/>
                <a:moveTo>
                  <a:pt x="350" y="7"/>
                </a:moveTo>
                <a:cubicBezTo>
                  <a:pt x="351" y="6"/>
                  <a:pt x="358" y="6"/>
                  <a:pt x="359" y="6"/>
                </a:cubicBezTo>
                <a:cubicBezTo>
                  <a:pt x="355" y="6"/>
                  <a:pt x="351" y="7"/>
                  <a:pt x="349" y="7"/>
                </a:cubicBezTo>
                <a:cubicBezTo>
                  <a:pt x="350" y="7"/>
                  <a:pt x="350" y="7"/>
                  <a:pt x="350" y="7"/>
                </a:cubicBezTo>
                <a:cubicBezTo>
                  <a:pt x="350" y="7"/>
                  <a:pt x="349" y="7"/>
                  <a:pt x="350" y="7"/>
                </a:cubicBezTo>
                <a:close/>
                <a:moveTo>
                  <a:pt x="350" y="8"/>
                </a:moveTo>
                <a:cubicBezTo>
                  <a:pt x="350" y="8"/>
                  <a:pt x="350" y="8"/>
                  <a:pt x="351" y="7"/>
                </a:cubicBezTo>
                <a:cubicBezTo>
                  <a:pt x="348" y="8"/>
                  <a:pt x="348" y="7"/>
                  <a:pt x="347" y="7"/>
                </a:cubicBezTo>
                <a:cubicBezTo>
                  <a:pt x="346" y="8"/>
                  <a:pt x="345" y="8"/>
                  <a:pt x="343" y="8"/>
                </a:cubicBezTo>
                <a:cubicBezTo>
                  <a:pt x="342" y="8"/>
                  <a:pt x="336" y="8"/>
                  <a:pt x="335" y="9"/>
                </a:cubicBezTo>
                <a:cubicBezTo>
                  <a:pt x="336" y="9"/>
                  <a:pt x="337" y="9"/>
                  <a:pt x="337" y="9"/>
                </a:cubicBezTo>
                <a:cubicBezTo>
                  <a:pt x="334" y="10"/>
                  <a:pt x="330" y="9"/>
                  <a:pt x="327" y="11"/>
                </a:cubicBezTo>
                <a:cubicBezTo>
                  <a:pt x="331" y="11"/>
                  <a:pt x="333" y="10"/>
                  <a:pt x="336" y="10"/>
                </a:cubicBezTo>
                <a:cubicBezTo>
                  <a:pt x="336" y="9"/>
                  <a:pt x="337" y="9"/>
                  <a:pt x="339" y="9"/>
                </a:cubicBezTo>
                <a:cubicBezTo>
                  <a:pt x="339" y="9"/>
                  <a:pt x="336" y="9"/>
                  <a:pt x="337" y="10"/>
                </a:cubicBezTo>
                <a:cubicBezTo>
                  <a:pt x="342" y="9"/>
                  <a:pt x="350" y="9"/>
                  <a:pt x="351" y="8"/>
                </a:cubicBezTo>
                <a:cubicBezTo>
                  <a:pt x="350" y="8"/>
                  <a:pt x="350" y="8"/>
                  <a:pt x="350" y="8"/>
                </a:cubicBezTo>
                <a:close/>
                <a:moveTo>
                  <a:pt x="314" y="14"/>
                </a:moveTo>
                <a:cubicBezTo>
                  <a:pt x="315" y="14"/>
                  <a:pt x="322" y="13"/>
                  <a:pt x="320" y="13"/>
                </a:cubicBezTo>
                <a:cubicBezTo>
                  <a:pt x="317" y="14"/>
                  <a:pt x="316" y="13"/>
                  <a:pt x="314" y="14"/>
                </a:cubicBezTo>
                <a:close/>
                <a:moveTo>
                  <a:pt x="241" y="77"/>
                </a:moveTo>
                <a:cubicBezTo>
                  <a:pt x="240" y="77"/>
                  <a:pt x="241" y="75"/>
                  <a:pt x="240" y="76"/>
                </a:cubicBezTo>
                <a:cubicBezTo>
                  <a:pt x="240" y="76"/>
                  <a:pt x="238" y="77"/>
                  <a:pt x="238" y="77"/>
                </a:cubicBezTo>
                <a:cubicBezTo>
                  <a:pt x="238" y="77"/>
                  <a:pt x="238" y="77"/>
                  <a:pt x="237" y="77"/>
                </a:cubicBezTo>
                <a:cubicBezTo>
                  <a:pt x="237" y="78"/>
                  <a:pt x="238" y="77"/>
                  <a:pt x="238" y="77"/>
                </a:cubicBezTo>
                <a:cubicBezTo>
                  <a:pt x="236" y="79"/>
                  <a:pt x="236" y="78"/>
                  <a:pt x="235" y="79"/>
                </a:cubicBezTo>
                <a:cubicBezTo>
                  <a:pt x="236" y="79"/>
                  <a:pt x="240" y="77"/>
                  <a:pt x="241" y="77"/>
                </a:cubicBezTo>
                <a:close/>
                <a:moveTo>
                  <a:pt x="232" y="80"/>
                </a:moveTo>
                <a:cubicBezTo>
                  <a:pt x="232" y="81"/>
                  <a:pt x="233" y="81"/>
                  <a:pt x="228" y="83"/>
                </a:cubicBezTo>
                <a:cubicBezTo>
                  <a:pt x="231" y="83"/>
                  <a:pt x="236" y="79"/>
                  <a:pt x="241" y="77"/>
                </a:cubicBezTo>
                <a:cubicBezTo>
                  <a:pt x="238" y="78"/>
                  <a:pt x="235" y="79"/>
                  <a:pt x="232" y="80"/>
                </a:cubicBezTo>
                <a:close/>
                <a:moveTo>
                  <a:pt x="222" y="84"/>
                </a:moveTo>
                <a:cubicBezTo>
                  <a:pt x="220" y="86"/>
                  <a:pt x="220" y="87"/>
                  <a:pt x="223" y="86"/>
                </a:cubicBezTo>
                <a:cubicBezTo>
                  <a:pt x="221" y="87"/>
                  <a:pt x="219" y="89"/>
                  <a:pt x="217" y="89"/>
                </a:cubicBezTo>
                <a:cubicBezTo>
                  <a:pt x="217" y="88"/>
                  <a:pt x="219" y="88"/>
                  <a:pt x="219" y="87"/>
                </a:cubicBezTo>
                <a:cubicBezTo>
                  <a:pt x="217" y="88"/>
                  <a:pt x="213" y="90"/>
                  <a:pt x="213" y="91"/>
                </a:cubicBezTo>
                <a:cubicBezTo>
                  <a:pt x="218" y="88"/>
                  <a:pt x="214" y="91"/>
                  <a:pt x="215" y="91"/>
                </a:cubicBezTo>
                <a:cubicBezTo>
                  <a:pt x="219" y="89"/>
                  <a:pt x="219" y="89"/>
                  <a:pt x="219" y="89"/>
                </a:cubicBezTo>
                <a:cubicBezTo>
                  <a:pt x="219" y="88"/>
                  <a:pt x="224" y="86"/>
                  <a:pt x="226" y="84"/>
                </a:cubicBezTo>
                <a:cubicBezTo>
                  <a:pt x="222" y="86"/>
                  <a:pt x="223" y="85"/>
                  <a:pt x="222" y="84"/>
                </a:cubicBezTo>
                <a:close/>
                <a:moveTo>
                  <a:pt x="214" y="101"/>
                </a:moveTo>
                <a:cubicBezTo>
                  <a:pt x="214" y="103"/>
                  <a:pt x="210" y="104"/>
                  <a:pt x="207" y="106"/>
                </a:cubicBezTo>
                <a:cubicBezTo>
                  <a:pt x="211" y="104"/>
                  <a:pt x="216" y="101"/>
                  <a:pt x="220" y="99"/>
                </a:cubicBezTo>
                <a:cubicBezTo>
                  <a:pt x="219" y="99"/>
                  <a:pt x="215" y="102"/>
                  <a:pt x="215" y="101"/>
                </a:cubicBezTo>
                <a:cubicBezTo>
                  <a:pt x="219" y="99"/>
                  <a:pt x="223" y="98"/>
                  <a:pt x="226" y="95"/>
                </a:cubicBezTo>
                <a:cubicBezTo>
                  <a:pt x="223" y="97"/>
                  <a:pt x="219" y="98"/>
                  <a:pt x="214" y="101"/>
                </a:cubicBezTo>
                <a:close/>
                <a:moveTo>
                  <a:pt x="211" y="86"/>
                </a:moveTo>
                <a:cubicBezTo>
                  <a:pt x="213" y="83"/>
                  <a:pt x="216" y="83"/>
                  <a:pt x="217" y="81"/>
                </a:cubicBezTo>
                <a:cubicBezTo>
                  <a:pt x="214" y="83"/>
                  <a:pt x="214" y="82"/>
                  <a:pt x="210" y="84"/>
                </a:cubicBezTo>
                <a:cubicBezTo>
                  <a:pt x="210" y="85"/>
                  <a:pt x="208" y="86"/>
                  <a:pt x="211" y="86"/>
                </a:cubicBezTo>
                <a:close/>
                <a:moveTo>
                  <a:pt x="210" y="82"/>
                </a:moveTo>
                <a:cubicBezTo>
                  <a:pt x="211" y="82"/>
                  <a:pt x="207" y="83"/>
                  <a:pt x="208" y="84"/>
                </a:cubicBezTo>
                <a:cubicBezTo>
                  <a:pt x="211" y="83"/>
                  <a:pt x="211" y="82"/>
                  <a:pt x="213" y="80"/>
                </a:cubicBezTo>
                <a:cubicBezTo>
                  <a:pt x="214" y="80"/>
                  <a:pt x="214" y="81"/>
                  <a:pt x="215" y="80"/>
                </a:cubicBezTo>
                <a:cubicBezTo>
                  <a:pt x="216" y="79"/>
                  <a:pt x="212" y="81"/>
                  <a:pt x="210" y="82"/>
                </a:cubicBezTo>
                <a:close/>
                <a:moveTo>
                  <a:pt x="203" y="100"/>
                </a:moveTo>
                <a:cubicBezTo>
                  <a:pt x="201" y="100"/>
                  <a:pt x="199" y="102"/>
                  <a:pt x="199" y="102"/>
                </a:cubicBezTo>
                <a:cubicBezTo>
                  <a:pt x="201" y="100"/>
                  <a:pt x="205" y="97"/>
                  <a:pt x="207" y="96"/>
                </a:cubicBezTo>
                <a:cubicBezTo>
                  <a:pt x="207" y="96"/>
                  <a:pt x="213" y="92"/>
                  <a:pt x="212" y="92"/>
                </a:cubicBezTo>
                <a:cubicBezTo>
                  <a:pt x="211" y="93"/>
                  <a:pt x="207" y="95"/>
                  <a:pt x="207" y="96"/>
                </a:cubicBezTo>
                <a:cubicBezTo>
                  <a:pt x="204" y="97"/>
                  <a:pt x="201" y="100"/>
                  <a:pt x="197" y="101"/>
                </a:cubicBezTo>
                <a:cubicBezTo>
                  <a:pt x="197" y="102"/>
                  <a:pt x="198" y="101"/>
                  <a:pt x="196" y="103"/>
                </a:cubicBezTo>
                <a:cubicBezTo>
                  <a:pt x="192" y="104"/>
                  <a:pt x="183" y="110"/>
                  <a:pt x="180" y="114"/>
                </a:cubicBezTo>
                <a:cubicBezTo>
                  <a:pt x="175" y="115"/>
                  <a:pt x="167" y="123"/>
                  <a:pt x="160" y="128"/>
                </a:cubicBezTo>
                <a:cubicBezTo>
                  <a:pt x="161" y="128"/>
                  <a:pt x="163" y="127"/>
                  <a:pt x="161" y="129"/>
                </a:cubicBezTo>
                <a:cubicBezTo>
                  <a:pt x="164" y="127"/>
                  <a:pt x="163" y="126"/>
                  <a:pt x="165" y="125"/>
                </a:cubicBezTo>
                <a:cubicBezTo>
                  <a:pt x="166" y="125"/>
                  <a:pt x="167" y="124"/>
                  <a:pt x="165" y="127"/>
                </a:cubicBezTo>
                <a:cubicBezTo>
                  <a:pt x="167" y="125"/>
                  <a:pt x="166" y="126"/>
                  <a:pt x="168" y="125"/>
                </a:cubicBezTo>
                <a:cubicBezTo>
                  <a:pt x="168" y="124"/>
                  <a:pt x="169" y="122"/>
                  <a:pt x="167" y="123"/>
                </a:cubicBezTo>
                <a:cubicBezTo>
                  <a:pt x="172" y="119"/>
                  <a:pt x="174" y="119"/>
                  <a:pt x="177" y="116"/>
                </a:cubicBezTo>
                <a:cubicBezTo>
                  <a:pt x="176" y="117"/>
                  <a:pt x="178" y="116"/>
                  <a:pt x="179" y="115"/>
                </a:cubicBezTo>
                <a:cubicBezTo>
                  <a:pt x="179" y="115"/>
                  <a:pt x="178" y="115"/>
                  <a:pt x="179" y="114"/>
                </a:cubicBezTo>
                <a:cubicBezTo>
                  <a:pt x="183" y="113"/>
                  <a:pt x="189" y="107"/>
                  <a:pt x="193" y="105"/>
                </a:cubicBezTo>
                <a:cubicBezTo>
                  <a:pt x="193" y="105"/>
                  <a:pt x="192" y="105"/>
                  <a:pt x="194" y="104"/>
                </a:cubicBezTo>
                <a:cubicBezTo>
                  <a:pt x="193" y="106"/>
                  <a:pt x="196" y="103"/>
                  <a:pt x="198" y="102"/>
                </a:cubicBezTo>
                <a:cubicBezTo>
                  <a:pt x="198" y="103"/>
                  <a:pt x="189" y="108"/>
                  <a:pt x="194" y="106"/>
                </a:cubicBezTo>
                <a:cubicBezTo>
                  <a:pt x="192" y="107"/>
                  <a:pt x="190" y="108"/>
                  <a:pt x="190" y="108"/>
                </a:cubicBezTo>
                <a:cubicBezTo>
                  <a:pt x="194" y="106"/>
                  <a:pt x="190" y="109"/>
                  <a:pt x="189" y="110"/>
                </a:cubicBezTo>
                <a:cubicBezTo>
                  <a:pt x="194" y="107"/>
                  <a:pt x="196" y="106"/>
                  <a:pt x="200" y="103"/>
                </a:cubicBezTo>
                <a:cubicBezTo>
                  <a:pt x="201" y="103"/>
                  <a:pt x="200" y="103"/>
                  <a:pt x="201" y="102"/>
                </a:cubicBezTo>
                <a:cubicBezTo>
                  <a:pt x="202" y="102"/>
                  <a:pt x="205" y="100"/>
                  <a:pt x="205" y="99"/>
                </a:cubicBezTo>
                <a:cubicBezTo>
                  <a:pt x="207" y="98"/>
                  <a:pt x="210" y="96"/>
                  <a:pt x="210" y="97"/>
                </a:cubicBezTo>
                <a:cubicBezTo>
                  <a:pt x="212" y="96"/>
                  <a:pt x="213" y="96"/>
                  <a:pt x="213" y="95"/>
                </a:cubicBezTo>
                <a:cubicBezTo>
                  <a:pt x="211" y="96"/>
                  <a:pt x="215" y="94"/>
                  <a:pt x="214" y="94"/>
                </a:cubicBezTo>
                <a:cubicBezTo>
                  <a:pt x="213" y="95"/>
                  <a:pt x="213" y="94"/>
                  <a:pt x="211" y="95"/>
                </a:cubicBezTo>
                <a:cubicBezTo>
                  <a:pt x="211" y="96"/>
                  <a:pt x="207" y="98"/>
                  <a:pt x="205" y="99"/>
                </a:cubicBezTo>
                <a:cubicBezTo>
                  <a:pt x="205" y="99"/>
                  <a:pt x="202" y="101"/>
                  <a:pt x="202" y="101"/>
                </a:cubicBezTo>
                <a:cubicBezTo>
                  <a:pt x="200" y="101"/>
                  <a:pt x="205" y="99"/>
                  <a:pt x="203" y="100"/>
                </a:cubicBezTo>
                <a:close/>
                <a:moveTo>
                  <a:pt x="201" y="82"/>
                </a:moveTo>
                <a:cubicBezTo>
                  <a:pt x="203" y="81"/>
                  <a:pt x="203" y="82"/>
                  <a:pt x="205" y="81"/>
                </a:cubicBezTo>
                <a:cubicBezTo>
                  <a:pt x="205" y="80"/>
                  <a:pt x="206" y="80"/>
                  <a:pt x="205" y="79"/>
                </a:cubicBezTo>
                <a:cubicBezTo>
                  <a:pt x="203" y="80"/>
                  <a:pt x="202" y="81"/>
                  <a:pt x="201" y="82"/>
                </a:cubicBezTo>
                <a:close/>
                <a:moveTo>
                  <a:pt x="192" y="82"/>
                </a:moveTo>
                <a:cubicBezTo>
                  <a:pt x="192" y="81"/>
                  <a:pt x="194" y="80"/>
                  <a:pt x="194" y="80"/>
                </a:cubicBezTo>
                <a:cubicBezTo>
                  <a:pt x="192" y="80"/>
                  <a:pt x="187" y="84"/>
                  <a:pt x="190" y="83"/>
                </a:cubicBezTo>
                <a:cubicBezTo>
                  <a:pt x="192" y="81"/>
                  <a:pt x="191" y="83"/>
                  <a:pt x="191" y="83"/>
                </a:cubicBezTo>
                <a:cubicBezTo>
                  <a:pt x="192" y="83"/>
                  <a:pt x="194" y="82"/>
                  <a:pt x="195" y="81"/>
                </a:cubicBezTo>
                <a:cubicBezTo>
                  <a:pt x="195" y="81"/>
                  <a:pt x="195" y="82"/>
                  <a:pt x="195" y="82"/>
                </a:cubicBezTo>
                <a:cubicBezTo>
                  <a:pt x="197" y="81"/>
                  <a:pt x="197" y="81"/>
                  <a:pt x="197" y="81"/>
                </a:cubicBezTo>
                <a:cubicBezTo>
                  <a:pt x="197" y="80"/>
                  <a:pt x="197" y="80"/>
                  <a:pt x="197" y="80"/>
                </a:cubicBezTo>
                <a:cubicBezTo>
                  <a:pt x="194" y="82"/>
                  <a:pt x="193" y="81"/>
                  <a:pt x="192" y="82"/>
                </a:cubicBezTo>
                <a:close/>
                <a:moveTo>
                  <a:pt x="196" y="84"/>
                </a:moveTo>
                <a:cubicBezTo>
                  <a:pt x="193" y="86"/>
                  <a:pt x="192" y="85"/>
                  <a:pt x="192" y="85"/>
                </a:cubicBezTo>
                <a:cubicBezTo>
                  <a:pt x="192" y="86"/>
                  <a:pt x="191" y="86"/>
                  <a:pt x="191" y="87"/>
                </a:cubicBezTo>
                <a:cubicBezTo>
                  <a:pt x="193" y="86"/>
                  <a:pt x="192" y="87"/>
                  <a:pt x="194" y="87"/>
                </a:cubicBezTo>
                <a:cubicBezTo>
                  <a:pt x="196" y="86"/>
                  <a:pt x="195" y="86"/>
                  <a:pt x="197" y="85"/>
                </a:cubicBezTo>
                <a:cubicBezTo>
                  <a:pt x="198" y="84"/>
                  <a:pt x="195" y="86"/>
                  <a:pt x="195" y="85"/>
                </a:cubicBezTo>
                <a:cubicBezTo>
                  <a:pt x="195" y="85"/>
                  <a:pt x="198" y="82"/>
                  <a:pt x="196" y="83"/>
                </a:cubicBezTo>
                <a:cubicBezTo>
                  <a:pt x="196" y="83"/>
                  <a:pt x="196" y="83"/>
                  <a:pt x="196" y="84"/>
                </a:cubicBezTo>
                <a:close/>
                <a:moveTo>
                  <a:pt x="187" y="104"/>
                </a:moveTo>
                <a:cubicBezTo>
                  <a:pt x="188" y="103"/>
                  <a:pt x="188" y="105"/>
                  <a:pt x="192" y="103"/>
                </a:cubicBezTo>
                <a:cubicBezTo>
                  <a:pt x="192" y="102"/>
                  <a:pt x="190" y="103"/>
                  <a:pt x="190" y="103"/>
                </a:cubicBezTo>
                <a:cubicBezTo>
                  <a:pt x="192" y="102"/>
                  <a:pt x="193" y="101"/>
                  <a:pt x="194" y="99"/>
                </a:cubicBezTo>
                <a:cubicBezTo>
                  <a:pt x="195" y="100"/>
                  <a:pt x="195" y="100"/>
                  <a:pt x="195" y="100"/>
                </a:cubicBezTo>
                <a:cubicBezTo>
                  <a:pt x="197" y="98"/>
                  <a:pt x="198" y="98"/>
                  <a:pt x="201" y="96"/>
                </a:cubicBezTo>
                <a:cubicBezTo>
                  <a:pt x="200" y="96"/>
                  <a:pt x="201" y="94"/>
                  <a:pt x="200" y="95"/>
                </a:cubicBezTo>
                <a:cubicBezTo>
                  <a:pt x="196" y="97"/>
                  <a:pt x="191" y="101"/>
                  <a:pt x="189" y="102"/>
                </a:cubicBezTo>
                <a:cubicBezTo>
                  <a:pt x="188" y="103"/>
                  <a:pt x="191" y="102"/>
                  <a:pt x="188" y="103"/>
                </a:cubicBezTo>
                <a:cubicBezTo>
                  <a:pt x="188" y="103"/>
                  <a:pt x="187" y="104"/>
                  <a:pt x="187" y="104"/>
                </a:cubicBezTo>
                <a:close/>
                <a:moveTo>
                  <a:pt x="198" y="107"/>
                </a:moveTo>
                <a:cubicBezTo>
                  <a:pt x="200" y="106"/>
                  <a:pt x="201" y="105"/>
                  <a:pt x="202" y="105"/>
                </a:cubicBezTo>
                <a:cubicBezTo>
                  <a:pt x="201" y="105"/>
                  <a:pt x="199" y="106"/>
                  <a:pt x="198" y="106"/>
                </a:cubicBezTo>
                <a:cubicBezTo>
                  <a:pt x="200" y="105"/>
                  <a:pt x="200" y="104"/>
                  <a:pt x="202" y="103"/>
                </a:cubicBezTo>
                <a:cubicBezTo>
                  <a:pt x="201" y="104"/>
                  <a:pt x="203" y="102"/>
                  <a:pt x="205" y="102"/>
                </a:cubicBezTo>
                <a:cubicBezTo>
                  <a:pt x="204" y="101"/>
                  <a:pt x="200" y="104"/>
                  <a:pt x="197" y="105"/>
                </a:cubicBezTo>
                <a:cubicBezTo>
                  <a:pt x="199" y="105"/>
                  <a:pt x="196" y="108"/>
                  <a:pt x="198" y="107"/>
                </a:cubicBezTo>
                <a:close/>
                <a:moveTo>
                  <a:pt x="186" y="99"/>
                </a:moveTo>
                <a:cubicBezTo>
                  <a:pt x="183" y="101"/>
                  <a:pt x="173" y="108"/>
                  <a:pt x="182" y="103"/>
                </a:cubicBezTo>
                <a:cubicBezTo>
                  <a:pt x="183" y="101"/>
                  <a:pt x="187" y="99"/>
                  <a:pt x="183" y="102"/>
                </a:cubicBezTo>
                <a:cubicBezTo>
                  <a:pt x="186" y="100"/>
                  <a:pt x="187" y="99"/>
                  <a:pt x="188" y="98"/>
                </a:cubicBezTo>
                <a:cubicBezTo>
                  <a:pt x="187" y="99"/>
                  <a:pt x="187" y="98"/>
                  <a:pt x="186" y="99"/>
                </a:cubicBezTo>
                <a:close/>
                <a:moveTo>
                  <a:pt x="169" y="89"/>
                </a:moveTo>
                <a:cubicBezTo>
                  <a:pt x="171" y="89"/>
                  <a:pt x="178" y="83"/>
                  <a:pt x="174" y="85"/>
                </a:cubicBezTo>
                <a:cubicBezTo>
                  <a:pt x="174" y="86"/>
                  <a:pt x="171" y="88"/>
                  <a:pt x="169" y="89"/>
                </a:cubicBezTo>
                <a:close/>
                <a:moveTo>
                  <a:pt x="182" y="123"/>
                </a:moveTo>
                <a:cubicBezTo>
                  <a:pt x="187" y="120"/>
                  <a:pt x="189" y="118"/>
                  <a:pt x="195" y="114"/>
                </a:cubicBezTo>
                <a:cubicBezTo>
                  <a:pt x="194" y="115"/>
                  <a:pt x="195" y="113"/>
                  <a:pt x="194" y="114"/>
                </a:cubicBezTo>
                <a:cubicBezTo>
                  <a:pt x="194" y="114"/>
                  <a:pt x="191" y="117"/>
                  <a:pt x="189" y="118"/>
                </a:cubicBezTo>
                <a:cubicBezTo>
                  <a:pt x="190" y="117"/>
                  <a:pt x="190" y="117"/>
                  <a:pt x="190" y="116"/>
                </a:cubicBezTo>
                <a:cubicBezTo>
                  <a:pt x="188" y="118"/>
                  <a:pt x="186" y="120"/>
                  <a:pt x="183" y="121"/>
                </a:cubicBezTo>
                <a:cubicBezTo>
                  <a:pt x="184" y="121"/>
                  <a:pt x="184" y="120"/>
                  <a:pt x="183" y="121"/>
                </a:cubicBezTo>
                <a:cubicBezTo>
                  <a:pt x="183" y="121"/>
                  <a:pt x="182" y="123"/>
                  <a:pt x="182" y="123"/>
                </a:cubicBezTo>
                <a:close/>
                <a:moveTo>
                  <a:pt x="178" y="110"/>
                </a:moveTo>
                <a:cubicBezTo>
                  <a:pt x="180" y="109"/>
                  <a:pt x="180" y="109"/>
                  <a:pt x="180" y="109"/>
                </a:cubicBezTo>
                <a:cubicBezTo>
                  <a:pt x="178" y="111"/>
                  <a:pt x="182" y="109"/>
                  <a:pt x="182" y="108"/>
                </a:cubicBezTo>
                <a:cubicBezTo>
                  <a:pt x="181" y="108"/>
                  <a:pt x="179" y="109"/>
                  <a:pt x="178" y="110"/>
                </a:cubicBezTo>
                <a:close/>
                <a:moveTo>
                  <a:pt x="178" y="117"/>
                </a:moveTo>
                <a:cubicBezTo>
                  <a:pt x="177" y="118"/>
                  <a:pt x="176" y="118"/>
                  <a:pt x="175" y="120"/>
                </a:cubicBezTo>
                <a:cubicBezTo>
                  <a:pt x="176" y="119"/>
                  <a:pt x="176" y="119"/>
                  <a:pt x="177" y="119"/>
                </a:cubicBezTo>
                <a:cubicBezTo>
                  <a:pt x="178" y="118"/>
                  <a:pt x="182" y="116"/>
                  <a:pt x="181" y="116"/>
                </a:cubicBezTo>
                <a:cubicBezTo>
                  <a:pt x="177" y="119"/>
                  <a:pt x="181" y="114"/>
                  <a:pt x="178" y="117"/>
                </a:cubicBezTo>
                <a:close/>
                <a:moveTo>
                  <a:pt x="164" y="122"/>
                </a:moveTo>
                <a:cubicBezTo>
                  <a:pt x="169" y="117"/>
                  <a:pt x="172" y="117"/>
                  <a:pt x="177" y="112"/>
                </a:cubicBezTo>
                <a:cubicBezTo>
                  <a:pt x="174" y="114"/>
                  <a:pt x="176" y="112"/>
                  <a:pt x="174" y="113"/>
                </a:cubicBezTo>
                <a:cubicBezTo>
                  <a:pt x="171" y="116"/>
                  <a:pt x="165" y="119"/>
                  <a:pt x="164" y="122"/>
                </a:cubicBezTo>
                <a:close/>
                <a:moveTo>
                  <a:pt x="159" y="111"/>
                </a:moveTo>
                <a:cubicBezTo>
                  <a:pt x="160" y="110"/>
                  <a:pt x="164" y="108"/>
                  <a:pt x="164" y="107"/>
                </a:cubicBezTo>
                <a:cubicBezTo>
                  <a:pt x="162" y="109"/>
                  <a:pt x="158" y="112"/>
                  <a:pt x="159" y="111"/>
                </a:cubicBezTo>
                <a:close/>
                <a:moveTo>
                  <a:pt x="170" y="123"/>
                </a:moveTo>
                <a:cubicBezTo>
                  <a:pt x="172" y="122"/>
                  <a:pt x="175" y="118"/>
                  <a:pt x="172" y="121"/>
                </a:cubicBezTo>
                <a:cubicBezTo>
                  <a:pt x="172" y="121"/>
                  <a:pt x="173" y="120"/>
                  <a:pt x="173" y="121"/>
                </a:cubicBezTo>
                <a:cubicBezTo>
                  <a:pt x="172" y="121"/>
                  <a:pt x="168" y="124"/>
                  <a:pt x="170" y="123"/>
                </a:cubicBezTo>
                <a:close/>
                <a:moveTo>
                  <a:pt x="125" y="113"/>
                </a:moveTo>
                <a:cubicBezTo>
                  <a:pt x="123" y="114"/>
                  <a:pt x="123" y="114"/>
                  <a:pt x="123" y="114"/>
                </a:cubicBezTo>
                <a:cubicBezTo>
                  <a:pt x="123" y="115"/>
                  <a:pt x="122" y="116"/>
                  <a:pt x="123" y="115"/>
                </a:cubicBezTo>
                <a:cubicBezTo>
                  <a:pt x="125" y="114"/>
                  <a:pt x="125" y="114"/>
                  <a:pt x="125" y="113"/>
                </a:cubicBezTo>
                <a:cubicBezTo>
                  <a:pt x="125" y="113"/>
                  <a:pt x="126" y="113"/>
                  <a:pt x="126" y="112"/>
                </a:cubicBezTo>
                <a:cubicBezTo>
                  <a:pt x="125" y="113"/>
                  <a:pt x="125" y="113"/>
                  <a:pt x="125" y="113"/>
                </a:cubicBezTo>
                <a:close/>
                <a:moveTo>
                  <a:pt x="107" y="138"/>
                </a:moveTo>
                <a:cubicBezTo>
                  <a:pt x="106" y="138"/>
                  <a:pt x="106" y="138"/>
                  <a:pt x="105" y="139"/>
                </a:cubicBezTo>
                <a:cubicBezTo>
                  <a:pt x="105" y="138"/>
                  <a:pt x="107" y="136"/>
                  <a:pt x="107" y="136"/>
                </a:cubicBezTo>
                <a:cubicBezTo>
                  <a:pt x="105" y="138"/>
                  <a:pt x="104" y="139"/>
                  <a:pt x="102" y="141"/>
                </a:cubicBezTo>
                <a:cubicBezTo>
                  <a:pt x="104" y="141"/>
                  <a:pt x="106" y="140"/>
                  <a:pt x="108" y="139"/>
                </a:cubicBezTo>
                <a:cubicBezTo>
                  <a:pt x="104" y="141"/>
                  <a:pt x="110" y="134"/>
                  <a:pt x="107" y="137"/>
                </a:cubicBezTo>
                <a:cubicBezTo>
                  <a:pt x="107" y="137"/>
                  <a:pt x="107" y="137"/>
                  <a:pt x="107" y="138"/>
                </a:cubicBezTo>
                <a:close/>
                <a:moveTo>
                  <a:pt x="128" y="160"/>
                </a:moveTo>
                <a:cubicBezTo>
                  <a:pt x="127" y="161"/>
                  <a:pt x="126" y="161"/>
                  <a:pt x="126" y="161"/>
                </a:cubicBezTo>
                <a:cubicBezTo>
                  <a:pt x="125" y="163"/>
                  <a:pt x="128" y="160"/>
                  <a:pt x="128" y="162"/>
                </a:cubicBezTo>
                <a:cubicBezTo>
                  <a:pt x="127" y="163"/>
                  <a:pt x="126" y="164"/>
                  <a:pt x="125" y="164"/>
                </a:cubicBezTo>
                <a:cubicBezTo>
                  <a:pt x="125" y="165"/>
                  <a:pt x="128" y="162"/>
                  <a:pt x="129" y="162"/>
                </a:cubicBezTo>
                <a:cubicBezTo>
                  <a:pt x="128" y="162"/>
                  <a:pt x="127" y="163"/>
                  <a:pt x="127" y="163"/>
                </a:cubicBezTo>
                <a:cubicBezTo>
                  <a:pt x="131" y="161"/>
                  <a:pt x="128" y="162"/>
                  <a:pt x="131" y="159"/>
                </a:cubicBezTo>
                <a:cubicBezTo>
                  <a:pt x="130" y="159"/>
                  <a:pt x="127" y="162"/>
                  <a:pt x="128" y="160"/>
                </a:cubicBezTo>
                <a:close/>
                <a:moveTo>
                  <a:pt x="95" y="148"/>
                </a:moveTo>
                <a:cubicBezTo>
                  <a:pt x="95" y="148"/>
                  <a:pt x="96" y="148"/>
                  <a:pt x="96" y="148"/>
                </a:cubicBezTo>
                <a:cubicBezTo>
                  <a:pt x="94" y="149"/>
                  <a:pt x="94" y="150"/>
                  <a:pt x="94" y="150"/>
                </a:cubicBezTo>
                <a:cubicBezTo>
                  <a:pt x="98" y="147"/>
                  <a:pt x="99" y="145"/>
                  <a:pt x="101" y="143"/>
                </a:cubicBezTo>
                <a:cubicBezTo>
                  <a:pt x="102" y="143"/>
                  <a:pt x="102" y="142"/>
                  <a:pt x="102" y="141"/>
                </a:cubicBezTo>
                <a:cubicBezTo>
                  <a:pt x="100" y="143"/>
                  <a:pt x="97" y="147"/>
                  <a:pt x="95" y="148"/>
                </a:cubicBezTo>
                <a:close/>
                <a:moveTo>
                  <a:pt x="110" y="169"/>
                </a:moveTo>
                <a:cubicBezTo>
                  <a:pt x="110" y="169"/>
                  <a:pt x="111" y="169"/>
                  <a:pt x="111" y="169"/>
                </a:cubicBezTo>
                <a:cubicBezTo>
                  <a:pt x="110" y="170"/>
                  <a:pt x="109" y="171"/>
                  <a:pt x="109" y="171"/>
                </a:cubicBezTo>
                <a:cubicBezTo>
                  <a:pt x="112" y="168"/>
                  <a:pt x="113" y="166"/>
                  <a:pt x="114" y="165"/>
                </a:cubicBezTo>
                <a:cubicBezTo>
                  <a:pt x="114" y="165"/>
                  <a:pt x="114" y="165"/>
                  <a:pt x="114" y="165"/>
                </a:cubicBezTo>
                <a:cubicBezTo>
                  <a:pt x="112" y="167"/>
                  <a:pt x="111" y="169"/>
                  <a:pt x="110" y="169"/>
                </a:cubicBezTo>
                <a:close/>
                <a:moveTo>
                  <a:pt x="91" y="154"/>
                </a:moveTo>
                <a:cubicBezTo>
                  <a:pt x="92" y="155"/>
                  <a:pt x="92" y="155"/>
                  <a:pt x="92" y="155"/>
                </a:cubicBezTo>
                <a:cubicBezTo>
                  <a:pt x="94" y="153"/>
                  <a:pt x="93" y="153"/>
                  <a:pt x="94" y="152"/>
                </a:cubicBezTo>
                <a:cubicBezTo>
                  <a:pt x="94" y="152"/>
                  <a:pt x="94" y="152"/>
                  <a:pt x="95" y="152"/>
                </a:cubicBezTo>
                <a:cubicBezTo>
                  <a:pt x="95" y="152"/>
                  <a:pt x="95" y="151"/>
                  <a:pt x="95" y="151"/>
                </a:cubicBezTo>
                <a:cubicBezTo>
                  <a:pt x="94" y="151"/>
                  <a:pt x="94" y="151"/>
                  <a:pt x="94" y="152"/>
                </a:cubicBezTo>
                <a:cubicBezTo>
                  <a:pt x="93" y="153"/>
                  <a:pt x="93" y="153"/>
                  <a:pt x="91" y="154"/>
                </a:cubicBezTo>
                <a:close/>
                <a:moveTo>
                  <a:pt x="92" y="162"/>
                </a:moveTo>
                <a:cubicBezTo>
                  <a:pt x="94" y="162"/>
                  <a:pt x="97" y="157"/>
                  <a:pt x="99" y="155"/>
                </a:cubicBezTo>
                <a:cubicBezTo>
                  <a:pt x="96" y="158"/>
                  <a:pt x="95" y="159"/>
                  <a:pt x="92" y="162"/>
                </a:cubicBezTo>
                <a:close/>
                <a:moveTo>
                  <a:pt x="88" y="161"/>
                </a:moveTo>
                <a:cubicBezTo>
                  <a:pt x="87" y="161"/>
                  <a:pt x="87" y="161"/>
                  <a:pt x="87" y="161"/>
                </a:cubicBezTo>
                <a:cubicBezTo>
                  <a:pt x="87" y="161"/>
                  <a:pt x="87" y="161"/>
                  <a:pt x="87" y="161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3"/>
                  <a:pt x="87" y="163"/>
                </a:cubicBezTo>
                <a:cubicBezTo>
                  <a:pt x="87" y="163"/>
                  <a:pt x="87" y="162"/>
                  <a:pt x="87" y="162"/>
                </a:cubicBezTo>
                <a:cubicBezTo>
                  <a:pt x="87" y="162"/>
                  <a:pt x="87" y="162"/>
                  <a:pt x="88" y="161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8" y="162"/>
                  <a:pt x="90" y="159"/>
                  <a:pt x="91" y="158"/>
                </a:cubicBezTo>
                <a:cubicBezTo>
                  <a:pt x="91" y="157"/>
                  <a:pt x="93" y="157"/>
                  <a:pt x="94" y="156"/>
                </a:cubicBezTo>
                <a:cubicBezTo>
                  <a:pt x="92" y="156"/>
                  <a:pt x="90" y="158"/>
                  <a:pt x="88" y="161"/>
                </a:cubicBezTo>
                <a:close/>
                <a:moveTo>
                  <a:pt x="106" y="176"/>
                </a:moveTo>
                <a:cubicBezTo>
                  <a:pt x="106" y="177"/>
                  <a:pt x="105" y="177"/>
                  <a:pt x="105" y="178"/>
                </a:cubicBezTo>
                <a:cubicBezTo>
                  <a:pt x="104" y="178"/>
                  <a:pt x="104" y="178"/>
                  <a:pt x="104" y="178"/>
                </a:cubicBezTo>
                <a:cubicBezTo>
                  <a:pt x="104" y="179"/>
                  <a:pt x="103" y="179"/>
                  <a:pt x="103" y="180"/>
                </a:cubicBezTo>
                <a:cubicBezTo>
                  <a:pt x="104" y="179"/>
                  <a:pt x="104" y="180"/>
                  <a:pt x="104" y="179"/>
                </a:cubicBezTo>
                <a:cubicBezTo>
                  <a:pt x="105" y="179"/>
                  <a:pt x="105" y="180"/>
                  <a:pt x="106" y="179"/>
                </a:cubicBezTo>
                <a:cubicBezTo>
                  <a:pt x="105" y="179"/>
                  <a:pt x="105" y="179"/>
                  <a:pt x="105" y="179"/>
                </a:cubicBezTo>
                <a:cubicBezTo>
                  <a:pt x="105" y="178"/>
                  <a:pt x="105" y="179"/>
                  <a:pt x="106" y="178"/>
                </a:cubicBezTo>
                <a:cubicBezTo>
                  <a:pt x="105" y="179"/>
                  <a:pt x="108" y="175"/>
                  <a:pt x="108" y="175"/>
                </a:cubicBezTo>
                <a:cubicBezTo>
                  <a:pt x="108" y="175"/>
                  <a:pt x="108" y="175"/>
                  <a:pt x="109" y="175"/>
                </a:cubicBezTo>
                <a:cubicBezTo>
                  <a:pt x="108" y="175"/>
                  <a:pt x="107" y="175"/>
                  <a:pt x="106" y="176"/>
                </a:cubicBezTo>
                <a:close/>
                <a:moveTo>
                  <a:pt x="109" y="180"/>
                </a:moveTo>
                <a:cubicBezTo>
                  <a:pt x="108" y="180"/>
                  <a:pt x="108" y="180"/>
                  <a:pt x="108" y="180"/>
                </a:cubicBezTo>
                <a:cubicBezTo>
                  <a:pt x="108" y="181"/>
                  <a:pt x="108" y="181"/>
                  <a:pt x="108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6" y="182"/>
                  <a:pt x="106" y="183"/>
                  <a:pt x="105" y="184"/>
                </a:cubicBezTo>
                <a:cubicBezTo>
                  <a:pt x="106" y="184"/>
                  <a:pt x="107" y="183"/>
                  <a:pt x="107" y="182"/>
                </a:cubicBezTo>
                <a:cubicBezTo>
                  <a:pt x="108" y="182"/>
                  <a:pt x="108" y="182"/>
                  <a:pt x="108" y="182"/>
                </a:cubicBezTo>
                <a:cubicBezTo>
                  <a:pt x="108" y="182"/>
                  <a:pt x="108" y="182"/>
                  <a:pt x="110" y="180"/>
                </a:cubicBezTo>
                <a:cubicBezTo>
                  <a:pt x="110" y="180"/>
                  <a:pt x="109" y="180"/>
                  <a:pt x="109" y="180"/>
                </a:cubicBezTo>
                <a:close/>
                <a:moveTo>
                  <a:pt x="88" y="171"/>
                </a:moveTo>
                <a:cubicBezTo>
                  <a:pt x="89" y="170"/>
                  <a:pt x="88" y="170"/>
                  <a:pt x="88" y="170"/>
                </a:cubicBezTo>
                <a:cubicBezTo>
                  <a:pt x="89" y="171"/>
                  <a:pt x="90" y="169"/>
                  <a:pt x="90" y="169"/>
                </a:cubicBezTo>
                <a:cubicBezTo>
                  <a:pt x="90" y="169"/>
                  <a:pt x="90" y="168"/>
                  <a:pt x="89" y="169"/>
                </a:cubicBezTo>
                <a:cubicBezTo>
                  <a:pt x="89" y="169"/>
                  <a:pt x="88" y="170"/>
                  <a:pt x="88" y="171"/>
                </a:cubicBezTo>
                <a:close/>
                <a:moveTo>
                  <a:pt x="98" y="180"/>
                </a:moveTo>
                <a:cubicBezTo>
                  <a:pt x="99" y="179"/>
                  <a:pt x="99" y="180"/>
                  <a:pt x="100" y="180"/>
                </a:cubicBezTo>
                <a:cubicBezTo>
                  <a:pt x="99" y="179"/>
                  <a:pt x="98" y="179"/>
                  <a:pt x="98" y="180"/>
                </a:cubicBezTo>
                <a:close/>
                <a:moveTo>
                  <a:pt x="102" y="183"/>
                </a:moveTo>
                <a:cubicBezTo>
                  <a:pt x="102" y="182"/>
                  <a:pt x="101" y="182"/>
                  <a:pt x="102" y="182"/>
                </a:cubicBezTo>
                <a:cubicBezTo>
                  <a:pt x="102" y="182"/>
                  <a:pt x="102" y="183"/>
                  <a:pt x="102" y="182"/>
                </a:cubicBezTo>
                <a:cubicBezTo>
                  <a:pt x="102" y="182"/>
                  <a:pt x="101" y="182"/>
                  <a:pt x="101" y="182"/>
                </a:cubicBezTo>
                <a:cubicBezTo>
                  <a:pt x="102" y="182"/>
                  <a:pt x="101" y="183"/>
                  <a:pt x="102" y="183"/>
                </a:cubicBezTo>
                <a:close/>
                <a:moveTo>
                  <a:pt x="102" y="191"/>
                </a:moveTo>
                <a:cubicBezTo>
                  <a:pt x="102" y="191"/>
                  <a:pt x="104" y="189"/>
                  <a:pt x="104" y="188"/>
                </a:cubicBezTo>
                <a:cubicBezTo>
                  <a:pt x="103" y="187"/>
                  <a:pt x="103" y="186"/>
                  <a:pt x="102" y="187"/>
                </a:cubicBezTo>
                <a:cubicBezTo>
                  <a:pt x="104" y="188"/>
                  <a:pt x="101" y="190"/>
                  <a:pt x="102" y="191"/>
                </a:cubicBezTo>
                <a:close/>
                <a:moveTo>
                  <a:pt x="100" y="187"/>
                </a:moveTo>
                <a:cubicBezTo>
                  <a:pt x="100" y="187"/>
                  <a:pt x="99" y="187"/>
                  <a:pt x="100" y="187"/>
                </a:cubicBezTo>
                <a:cubicBezTo>
                  <a:pt x="100" y="187"/>
                  <a:pt x="101" y="187"/>
                  <a:pt x="101" y="187"/>
                </a:cubicBezTo>
                <a:cubicBezTo>
                  <a:pt x="100" y="187"/>
                  <a:pt x="100" y="187"/>
                  <a:pt x="100" y="187"/>
                </a:cubicBezTo>
                <a:close/>
                <a:moveTo>
                  <a:pt x="99" y="192"/>
                </a:moveTo>
                <a:cubicBezTo>
                  <a:pt x="97" y="193"/>
                  <a:pt x="94" y="197"/>
                  <a:pt x="94" y="198"/>
                </a:cubicBezTo>
                <a:cubicBezTo>
                  <a:pt x="95" y="197"/>
                  <a:pt x="96" y="196"/>
                  <a:pt x="97" y="194"/>
                </a:cubicBezTo>
                <a:cubicBezTo>
                  <a:pt x="97" y="195"/>
                  <a:pt x="97" y="195"/>
                  <a:pt x="97" y="194"/>
                </a:cubicBezTo>
                <a:cubicBezTo>
                  <a:pt x="98" y="192"/>
                  <a:pt x="101" y="192"/>
                  <a:pt x="102" y="189"/>
                </a:cubicBezTo>
                <a:cubicBezTo>
                  <a:pt x="101" y="189"/>
                  <a:pt x="101" y="190"/>
                  <a:pt x="101" y="190"/>
                </a:cubicBezTo>
                <a:cubicBezTo>
                  <a:pt x="100" y="189"/>
                  <a:pt x="102" y="189"/>
                  <a:pt x="102" y="188"/>
                </a:cubicBezTo>
                <a:cubicBezTo>
                  <a:pt x="100" y="189"/>
                  <a:pt x="100" y="191"/>
                  <a:pt x="98" y="191"/>
                </a:cubicBezTo>
                <a:cubicBezTo>
                  <a:pt x="99" y="191"/>
                  <a:pt x="99" y="192"/>
                  <a:pt x="99" y="192"/>
                </a:cubicBezTo>
                <a:close/>
                <a:moveTo>
                  <a:pt x="95" y="191"/>
                </a:moveTo>
                <a:cubicBezTo>
                  <a:pt x="96" y="191"/>
                  <a:pt x="95" y="192"/>
                  <a:pt x="96" y="192"/>
                </a:cubicBezTo>
                <a:cubicBezTo>
                  <a:pt x="96" y="191"/>
                  <a:pt x="98" y="191"/>
                  <a:pt x="97" y="190"/>
                </a:cubicBezTo>
                <a:cubicBezTo>
                  <a:pt x="98" y="190"/>
                  <a:pt x="98" y="189"/>
                  <a:pt x="98" y="189"/>
                </a:cubicBezTo>
                <a:cubicBezTo>
                  <a:pt x="98" y="189"/>
                  <a:pt x="97" y="189"/>
                  <a:pt x="98" y="189"/>
                </a:cubicBezTo>
                <a:cubicBezTo>
                  <a:pt x="98" y="189"/>
                  <a:pt x="99" y="189"/>
                  <a:pt x="100" y="188"/>
                </a:cubicBezTo>
                <a:cubicBezTo>
                  <a:pt x="99" y="187"/>
                  <a:pt x="99" y="187"/>
                  <a:pt x="99" y="187"/>
                </a:cubicBezTo>
                <a:cubicBezTo>
                  <a:pt x="98" y="187"/>
                  <a:pt x="99" y="188"/>
                  <a:pt x="98" y="188"/>
                </a:cubicBezTo>
                <a:cubicBezTo>
                  <a:pt x="98" y="187"/>
                  <a:pt x="96" y="189"/>
                  <a:pt x="97" y="190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0"/>
                  <a:pt x="97" y="190"/>
                  <a:pt x="96" y="191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1"/>
                  <a:pt x="96" y="191"/>
                  <a:pt x="95" y="191"/>
                </a:cubicBezTo>
                <a:close/>
                <a:moveTo>
                  <a:pt x="85" y="191"/>
                </a:moveTo>
                <a:cubicBezTo>
                  <a:pt x="85" y="194"/>
                  <a:pt x="82" y="195"/>
                  <a:pt x="81" y="197"/>
                </a:cubicBezTo>
                <a:cubicBezTo>
                  <a:pt x="82" y="198"/>
                  <a:pt x="82" y="197"/>
                  <a:pt x="82" y="197"/>
                </a:cubicBezTo>
                <a:cubicBezTo>
                  <a:pt x="84" y="195"/>
                  <a:pt x="85" y="193"/>
                  <a:pt x="87" y="192"/>
                </a:cubicBezTo>
                <a:cubicBezTo>
                  <a:pt x="87" y="192"/>
                  <a:pt x="87" y="193"/>
                  <a:pt x="88" y="193"/>
                </a:cubicBezTo>
                <a:cubicBezTo>
                  <a:pt x="88" y="193"/>
                  <a:pt x="89" y="191"/>
                  <a:pt x="90" y="191"/>
                </a:cubicBezTo>
                <a:cubicBezTo>
                  <a:pt x="89" y="190"/>
                  <a:pt x="89" y="190"/>
                  <a:pt x="89" y="190"/>
                </a:cubicBezTo>
                <a:cubicBezTo>
                  <a:pt x="89" y="191"/>
                  <a:pt x="88" y="193"/>
                  <a:pt x="87" y="192"/>
                </a:cubicBezTo>
                <a:cubicBezTo>
                  <a:pt x="87" y="191"/>
                  <a:pt x="88" y="190"/>
                  <a:pt x="89" y="189"/>
                </a:cubicBezTo>
                <a:cubicBezTo>
                  <a:pt x="88" y="189"/>
                  <a:pt x="88" y="188"/>
                  <a:pt x="87" y="189"/>
                </a:cubicBezTo>
                <a:cubicBezTo>
                  <a:pt x="88" y="189"/>
                  <a:pt x="87" y="190"/>
                  <a:pt x="88" y="190"/>
                </a:cubicBezTo>
                <a:cubicBezTo>
                  <a:pt x="87" y="190"/>
                  <a:pt x="88" y="190"/>
                  <a:pt x="87" y="190"/>
                </a:cubicBezTo>
                <a:cubicBezTo>
                  <a:pt x="86" y="190"/>
                  <a:pt x="86" y="192"/>
                  <a:pt x="85" y="191"/>
                </a:cubicBezTo>
                <a:cubicBezTo>
                  <a:pt x="86" y="191"/>
                  <a:pt x="86" y="191"/>
                  <a:pt x="86" y="191"/>
                </a:cubicBezTo>
                <a:cubicBezTo>
                  <a:pt x="85" y="191"/>
                  <a:pt x="86" y="191"/>
                  <a:pt x="85" y="191"/>
                </a:cubicBezTo>
                <a:close/>
                <a:moveTo>
                  <a:pt x="94" y="201"/>
                </a:moveTo>
                <a:cubicBezTo>
                  <a:pt x="95" y="200"/>
                  <a:pt x="94" y="199"/>
                  <a:pt x="95" y="200"/>
                </a:cubicBezTo>
                <a:cubicBezTo>
                  <a:pt x="95" y="199"/>
                  <a:pt x="95" y="199"/>
                  <a:pt x="96" y="199"/>
                </a:cubicBezTo>
                <a:cubicBezTo>
                  <a:pt x="94" y="198"/>
                  <a:pt x="94" y="200"/>
                  <a:pt x="94" y="201"/>
                </a:cubicBezTo>
                <a:close/>
                <a:moveTo>
                  <a:pt x="93" y="198"/>
                </a:moveTo>
                <a:cubicBezTo>
                  <a:pt x="93" y="199"/>
                  <a:pt x="93" y="199"/>
                  <a:pt x="92" y="199"/>
                </a:cubicBezTo>
                <a:cubicBezTo>
                  <a:pt x="93" y="200"/>
                  <a:pt x="91" y="200"/>
                  <a:pt x="92" y="200"/>
                </a:cubicBezTo>
                <a:cubicBezTo>
                  <a:pt x="92" y="199"/>
                  <a:pt x="94" y="199"/>
                  <a:pt x="93" y="198"/>
                </a:cubicBezTo>
                <a:close/>
                <a:moveTo>
                  <a:pt x="91" y="201"/>
                </a:moveTo>
                <a:cubicBezTo>
                  <a:pt x="91" y="202"/>
                  <a:pt x="91" y="201"/>
                  <a:pt x="90" y="201"/>
                </a:cubicBezTo>
                <a:cubicBezTo>
                  <a:pt x="90" y="202"/>
                  <a:pt x="91" y="202"/>
                  <a:pt x="91" y="202"/>
                </a:cubicBezTo>
                <a:cubicBezTo>
                  <a:pt x="91" y="202"/>
                  <a:pt x="91" y="202"/>
                  <a:pt x="91" y="203"/>
                </a:cubicBezTo>
                <a:cubicBezTo>
                  <a:pt x="91" y="202"/>
                  <a:pt x="92" y="202"/>
                  <a:pt x="91" y="202"/>
                </a:cubicBezTo>
                <a:cubicBezTo>
                  <a:pt x="92" y="201"/>
                  <a:pt x="92" y="202"/>
                  <a:pt x="92" y="201"/>
                </a:cubicBezTo>
                <a:cubicBezTo>
                  <a:pt x="92" y="201"/>
                  <a:pt x="92" y="201"/>
                  <a:pt x="92" y="201"/>
                </a:cubicBezTo>
                <a:cubicBezTo>
                  <a:pt x="92" y="200"/>
                  <a:pt x="92" y="201"/>
                  <a:pt x="93" y="201"/>
                </a:cubicBezTo>
                <a:cubicBezTo>
                  <a:pt x="93" y="200"/>
                  <a:pt x="93" y="200"/>
                  <a:pt x="93" y="200"/>
                </a:cubicBezTo>
                <a:cubicBezTo>
                  <a:pt x="92" y="199"/>
                  <a:pt x="92" y="201"/>
                  <a:pt x="91" y="201"/>
                </a:cubicBezTo>
                <a:close/>
                <a:moveTo>
                  <a:pt x="87" y="202"/>
                </a:moveTo>
                <a:cubicBezTo>
                  <a:pt x="87" y="203"/>
                  <a:pt x="86" y="204"/>
                  <a:pt x="86" y="205"/>
                </a:cubicBezTo>
                <a:cubicBezTo>
                  <a:pt x="88" y="203"/>
                  <a:pt x="89" y="204"/>
                  <a:pt x="90" y="205"/>
                </a:cubicBezTo>
                <a:cubicBezTo>
                  <a:pt x="89" y="204"/>
                  <a:pt x="90" y="204"/>
                  <a:pt x="90" y="204"/>
                </a:cubicBezTo>
                <a:cubicBezTo>
                  <a:pt x="90" y="204"/>
                  <a:pt x="89" y="204"/>
                  <a:pt x="89" y="203"/>
                </a:cubicBezTo>
                <a:cubicBezTo>
                  <a:pt x="89" y="204"/>
                  <a:pt x="89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2"/>
                  <a:pt x="89" y="202"/>
                </a:cubicBezTo>
                <a:cubicBezTo>
                  <a:pt x="87" y="202"/>
                  <a:pt x="88" y="201"/>
                  <a:pt x="87" y="202"/>
                </a:cubicBezTo>
                <a:close/>
                <a:moveTo>
                  <a:pt x="64" y="186"/>
                </a:move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4" y="186"/>
                  <a:pt x="64" y="186"/>
                </a:cubicBezTo>
                <a:close/>
                <a:moveTo>
                  <a:pt x="86" y="208"/>
                </a:moveTo>
                <a:cubicBezTo>
                  <a:pt x="86" y="208"/>
                  <a:pt x="86" y="207"/>
                  <a:pt x="86" y="207"/>
                </a:cubicBezTo>
                <a:cubicBezTo>
                  <a:pt x="85" y="207"/>
                  <a:pt x="87" y="207"/>
                  <a:pt x="87" y="206"/>
                </a:cubicBezTo>
                <a:cubicBezTo>
                  <a:pt x="86" y="206"/>
                  <a:pt x="85" y="208"/>
                  <a:pt x="86" y="208"/>
                </a:cubicBezTo>
                <a:close/>
                <a:moveTo>
                  <a:pt x="84" y="206"/>
                </a:moveTo>
                <a:cubicBezTo>
                  <a:pt x="84" y="206"/>
                  <a:pt x="84" y="207"/>
                  <a:pt x="85" y="206"/>
                </a:cubicBezTo>
                <a:cubicBezTo>
                  <a:pt x="84" y="206"/>
                  <a:pt x="84" y="205"/>
                  <a:pt x="84" y="206"/>
                </a:cubicBezTo>
                <a:cubicBezTo>
                  <a:pt x="84" y="206"/>
                  <a:pt x="83" y="205"/>
                  <a:pt x="84" y="206"/>
                </a:cubicBezTo>
                <a:close/>
                <a:moveTo>
                  <a:pt x="79" y="215"/>
                </a:moveTo>
                <a:cubicBezTo>
                  <a:pt x="79" y="215"/>
                  <a:pt x="79" y="215"/>
                  <a:pt x="80" y="215"/>
                </a:cubicBezTo>
                <a:cubicBezTo>
                  <a:pt x="80" y="214"/>
                  <a:pt x="82" y="213"/>
                  <a:pt x="81" y="212"/>
                </a:cubicBezTo>
                <a:cubicBezTo>
                  <a:pt x="81" y="212"/>
                  <a:pt x="81" y="212"/>
                  <a:pt x="81" y="212"/>
                </a:cubicBezTo>
                <a:cubicBezTo>
                  <a:pt x="81" y="212"/>
                  <a:pt x="80" y="212"/>
                  <a:pt x="80" y="212"/>
                </a:cubicBezTo>
                <a:cubicBezTo>
                  <a:pt x="81" y="212"/>
                  <a:pt x="81" y="212"/>
                  <a:pt x="81" y="213"/>
                </a:cubicBezTo>
                <a:cubicBezTo>
                  <a:pt x="80" y="212"/>
                  <a:pt x="80" y="213"/>
                  <a:pt x="80" y="212"/>
                </a:cubicBezTo>
                <a:cubicBezTo>
                  <a:pt x="79" y="212"/>
                  <a:pt x="79" y="212"/>
                  <a:pt x="79" y="213"/>
                </a:cubicBezTo>
                <a:cubicBezTo>
                  <a:pt x="79" y="214"/>
                  <a:pt x="77" y="216"/>
                  <a:pt x="76" y="217"/>
                </a:cubicBezTo>
                <a:cubicBezTo>
                  <a:pt x="77" y="217"/>
                  <a:pt x="77" y="216"/>
                  <a:pt x="77" y="217"/>
                </a:cubicBezTo>
                <a:cubicBezTo>
                  <a:pt x="77" y="217"/>
                  <a:pt x="77" y="217"/>
                  <a:pt x="77" y="217"/>
                </a:cubicBezTo>
                <a:cubicBezTo>
                  <a:pt x="77" y="217"/>
                  <a:pt x="78" y="216"/>
                  <a:pt x="79" y="216"/>
                </a:cubicBezTo>
                <a:cubicBezTo>
                  <a:pt x="78" y="216"/>
                  <a:pt x="78" y="215"/>
                  <a:pt x="78" y="215"/>
                </a:cubicBezTo>
                <a:cubicBezTo>
                  <a:pt x="79" y="215"/>
                  <a:pt x="78" y="215"/>
                  <a:pt x="79" y="215"/>
                </a:cubicBezTo>
                <a:cubicBezTo>
                  <a:pt x="79" y="215"/>
                  <a:pt x="79" y="215"/>
                  <a:pt x="79" y="215"/>
                </a:cubicBezTo>
                <a:close/>
                <a:moveTo>
                  <a:pt x="74" y="207"/>
                </a:moveTo>
                <a:cubicBezTo>
                  <a:pt x="73" y="207"/>
                  <a:pt x="73" y="208"/>
                  <a:pt x="72" y="207"/>
                </a:cubicBezTo>
                <a:cubicBezTo>
                  <a:pt x="71" y="209"/>
                  <a:pt x="70" y="210"/>
                  <a:pt x="69" y="210"/>
                </a:cubicBezTo>
                <a:cubicBezTo>
                  <a:pt x="68" y="211"/>
                  <a:pt x="69" y="210"/>
                  <a:pt x="69" y="211"/>
                </a:cubicBezTo>
                <a:cubicBezTo>
                  <a:pt x="68" y="211"/>
                  <a:pt x="69" y="212"/>
                  <a:pt x="68" y="212"/>
                </a:cubicBezTo>
                <a:cubicBezTo>
                  <a:pt x="69" y="212"/>
                  <a:pt x="69" y="211"/>
                  <a:pt x="68" y="211"/>
                </a:cubicBezTo>
                <a:cubicBezTo>
                  <a:pt x="68" y="212"/>
                  <a:pt x="67" y="212"/>
                  <a:pt x="68" y="213"/>
                </a:cubicBezTo>
                <a:cubicBezTo>
                  <a:pt x="68" y="213"/>
                  <a:pt x="68" y="213"/>
                  <a:pt x="68" y="213"/>
                </a:cubicBezTo>
                <a:cubicBezTo>
                  <a:pt x="69" y="212"/>
                  <a:pt x="69" y="213"/>
                  <a:pt x="69" y="214"/>
                </a:cubicBezTo>
                <a:cubicBezTo>
                  <a:pt x="70" y="213"/>
                  <a:pt x="70" y="211"/>
                  <a:pt x="71" y="211"/>
                </a:cubicBezTo>
                <a:cubicBezTo>
                  <a:pt x="70" y="211"/>
                  <a:pt x="70" y="212"/>
                  <a:pt x="70" y="212"/>
                </a:cubicBezTo>
                <a:cubicBezTo>
                  <a:pt x="71" y="212"/>
                  <a:pt x="71" y="212"/>
                  <a:pt x="71" y="212"/>
                </a:cubicBezTo>
                <a:cubicBezTo>
                  <a:pt x="71" y="213"/>
                  <a:pt x="70" y="213"/>
                  <a:pt x="71" y="214"/>
                </a:cubicBezTo>
                <a:cubicBezTo>
                  <a:pt x="69" y="213"/>
                  <a:pt x="70" y="215"/>
                  <a:pt x="69" y="216"/>
                </a:cubicBezTo>
                <a:cubicBezTo>
                  <a:pt x="68" y="217"/>
                  <a:pt x="66" y="218"/>
                  <a:pt x="67" y="219"/>
                </a:cubicBezTo>
                <a:cubicBezTo>
                  <a:pt x="65" y="219"/>
                  <a:pt x="64" y="222"/>
                  <a:pt x="62" y="223"/>
                </a:cubicBezTo>
                <a:cubicBezTo>
                  <a:pt x="63" y="223"/>
                  <a:pt x="62" y="223"/>
                  <a:pt x="63" y="223"/>
                </a:cubicBezTo>
                <a:cubicBezTo>
                  <a:pt x="63" y="223"/>
                  <a:pt x="62" y="225"/>
                  <a:pt x="63" y="225"/>
                </a:cubicBezTo>
                <a:cubicBezTo>
                  <a:pt x="63" y="224"/>
                  <a:pt x="63" y="223"/>
                  <a:pt x="64" y="223"/>
                </a:cubicBezTo>
                <a:cubicBezTo>
                  <a:pt x="64" y="221"/>
                  <a:pt x="67" y="221"/>
                  <a:pt x="67" y="219"/>
                </a:cubicBezTo>
                <a:cubicBezTo>
                  <a:pt x="68" y="218"/>
                  <a:pt x="68" y="218"/>
                  <a:pt x="69" y="217"/>
                </a:cubicBezTo>
                <a:cubicBezTo>
                  <a:pt x="69" y="217"/>
                  <a:pt x="68" y="217"/>
                  <a:pt x="69" y="216"/>
                </a:cubicBezTo>
                <a:cubicBezTo>
                  <a:pt x="70" y="217"/>
                  <a:pt x="69" y="216"/>
                  <a:pt x="69" y="216"/>
                </a:cubicBezTo>
                <a:cubicBezTo>
                  <a:pt x="70" y="216"/>
                  <a:pt x="73" y="213"/>
                  <a:pt x="72" y="212"/>
                </a:cubicBezTo>
                <a:cubicBezTo>
                  <a:pt x="73" y="212"/>
                  <a:pt x="73" y="212"/>
                  <a:pt x="73" y="212"/>
                </a:cubicBezTo>
                <a:cubicBezTo>
                  <a:pt x="73" y="211"/>
                  <a:pt x="73" y="210"/>
                  <a:pt x="72" y="210"/>
                </a:cubicBezTo>
                <a:cubicBezTo>
                  <a:pt x="73" y="210"/>
                  <a:pt x="73" y="210"/>
                  <a:pt x="73" y="211"/>
                </a:cubicBezTo>
                <a:cubicBezTo>
                  <a:pt x="72" y="210"/>
                  <a:pt x="72" y="211"/>
                  <a:pt x="72" y="211"/>
                </a:cubicBezTo>
                <a:cubicBezTo>
                  <a:pt x="72" y="210"/>
                  <a:pt x="72" y="209"/>
                  <a:pt x="72" y="209"/>
                </a:cubicBezTo>
                <a:cubicBezTo>
                  <a:pt x="72" y="210"/>
                  <a:pt x="71" y="210"/>
                  <a:pt x="71" y="210"/>
                </a:cubicBezTo>
                <a:cubicBezTo>
                  <a:pt x="72" y="210"/>
                  <a:pt x="71" y="209"/>
                  <a:pt x="72" y="209"/>
                </a:cubicBezTo>
                <a:cubicBezTo>
                  <a:pt x="73" y="209"/>
                  <a:pt x="72" y="207"/>
                  <a:pt x="74" y="208"/>
                </a:cubicBezTo>
                <a:cubicBezTo>
                  <a:pt x="74" y="208"/>
                  <a:pt x="74" y="207"/>
                  <a:pt x="74" y="207"/>
                </a:cubicBezTo>
                <a:close/>
                <a:moveTo>
                  <a:pt x="64" y="211"/>
                </a:moveTo>
                <a:cubicBezTo>
                  <a:pt x="66" y="211"/>
                  <a:pt x="67" y="206"/>
                  <a:pt x="68" y="207"/>
                </a:cubicBezTo>
                <a:cubicBezTo>
                  <a:pt x="68" y="206"/>
                  <a:pt x="70" y="205"/>
                  <a:pt x="69" y="204"/>
                </a:cubicBezTo>
                <a:cubicBezTo>
                  <a:pt x="68" y="206"/>
                  <a:pt x="66" y="208"/>
                  <a:pt x="64" y="211"/>
                </a:cubicBezTo>
                <a:close/>
                <a:moveTo>
                  <a:pt x="73" y="215"/>
                </a:moveTo>
                <a:cubicBezTo>
                  <a:pt x="73" y="215"/>
                  <a:pt x="74" y="214"/>
                  <a:pt x="73" y="214"/>
                </a:cubicBezTo>
                <a:cubicBezTo>
                  <a:pt x="73" y="215"/>
                  <a:pt x="72" y="214"/>
                  <a:pt x="72" y="215"/>
                </a:cubicBezTo>
                <a:cubicBezTo>
                  <a:pt x="72" y="215"/>
                  <a:pt x="71" y="215"/>
                  <a:pt x="71" y="217"/>
                </a:cubicBezTo>
                <a:cubicBezTo>
                  <a:pt x="71" y="217"/>
                  <a:pt x="71" y="217"/>
                  <a:pt x="71" y="217"/>
                </a:cubicBezTo>
                <a:cubicBezTo>
                  <a:pt x="72" y="217"/>
                  <a:pt x="73" y="215"/>
                  <a:pt x="74" y="216"/>
                </a:cubicBezTo>
                <a:cubicBezTo>
                  <a:pt x="74" y="216"/>
                  <a:pt x="74" y="215"/>
                  <a:pt x="75" y="215"/>
                </a:cubicBezTo>
                <a:cubicBezTo>
                  <a:pt x="74" y="214"/>
                  <a:pt x="74" y="214"/>
                  <a:pt x="74" y="213"/>
                </a:cubicBezTo>
                <a:cubicBezTo>
                  <a:pt x="75" y="213"/>
                  <a:pt x="75" y="212"/>
                  <a:pt x="76" y="212"/>
                </a:cubicBezTo>
                <a:cubicBezTo>
                  <a:pt x="75" y="212"/>
                  <a:pt x="76" y="211"/>
                  <a:pt x="76" y="211"/>
                </a:cubicBezTo>
                <a:cubicBezTo>
                  <a:pt x="75" y="211"/>
                  <a:pt x="74" y="213"/>
                  <a:pt x="73" y="214"/>
                </a:cubicBezTo>
                <a:cubicBezTo>
                  <a:pt x="74" y="214"/>
                  <a:pt x="74" y="215"/>
                  <a:pt x="73" y="215"/>
                </a:cubicBezTo>
                <a:close/>
                <a:moveTo>
                  <a:pt x="74" y="210"/>
                </a:moveTo>
                <a:cubicBezTo>
                  <a:pt x="74" y="210"/>
                  <a:pt x="74" y="210"/>
                  <a:pt x="74" y="210"/>
                </a:cubicBezTo>
                <a:cubicBezTo>
                  <a:pt x="75" y="211"/>
                  <a:pt x="75" y="211"/>
                  <a:pt x="75" y="211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4" y="210"/>
                  <a:pt x="74" y="210"/>
                </a:cubicBezTo>
                <a:close/>
                <a:moveTo>
                  <a:pt x="48" y="194"/>
                </a:moveTo>
                <a:cubicBezTo>
                  <a:pt x="47" y="194"/>
                  <a:pt x="49" y="193"/>
                  <a:pt x="48" y="193"/>
                </a:cubicBezTo>
                <a:cubicBezTo>
                  <a:pt x="47" y="193"/>
                  <a:pt x="47" y="195"/>
                  <a:pt x="48" y="194"/>
                </a:cubicBezTo>
                <a:close/>
                <a:moveTo>
                  <a:pt x="75" y="220"/>
                </a:moveTo>
                <a:cubicBezTo>
                  <a:pt x="76" y="219"/>
                  <a:pt x="77" y="219"/>
                  <a:pt x="77" y="217"/>
                </a:cubicBezTo>
                <a:cubicBezTo>
                  <a:pt x="76" y="218"/>
                  <a:pt x="75" y="219"/>
                  <a:pt x="75" y="220"/>
                </a:cubicBezTo>
                <a:close/>
                <a:moveTo>
                  <a:pt x="39" y="198"/>
                </a:moveTo>
                <a:cubicBezTo>
                  <a:pt x="39" y="199"/>
                  <a:pt x="39" y="198"/>
                  <a:pt x="39" y="199"/>
                </a:cubicBezTo>
                <a:cubicBezTo>
                  <a:pt x="40" y="199"/>
                  <a:pt x="40" y="198"/>
                  <a:pt x="40" y="198"/>
                </a:cubicBezTo>
                <a:cubicBezTo>
                  <a:pt x="40" y="198"/>
                  <a:pt x="39" y="198"/>
                  <a:pt x="39" y="198"/>
                </a:cubicBezTo>
                <a:close/>
                <a:moveTo>
                  <a:pt x="67" y="230"/>
                </a:moveTo>
                <a:cubicBezTo>
                  <a:pt x="68" y="230"/>
                  <a:pt x="68" y="229"/>
                  <a:pt x="67" y="229"/>
                </a:cubicBezTo>
                <a:cubicBezTo>
                  <a:pt x="67" y="229"/>
                  <a:pt x="66" y="229"/>
                  <a:pt x="67" y="230"/>
                </a:cubicBezTo>
                <a:cubicBezTo>
                  <a:pt x="67" y="230"/>
                  <a:pt x="67" y="230"/>
                  <a:pt x="67" y="230"/>
                </a:cubicBezTo>
                <a:cubicBezTo>
                  <a:pt x="68" y="230"/>
                  <a:pt x="71" y="228"/>
                  <a:pt x="70" y="227"/>
                </a:cubicBezTo>
                <a:cubicBezTo>
                  <a:pt x="70" y="228"/>
                  <a:pt x="69" y="228"/>
                  <a:pt x="68" y="228"/>
                </a:cubicBezTo>
                <a:cubicBezTo>
                  <a:pt x="68" y="228"/>
                  <a:pt x="67" y="228"/>
                  <a:pt x="68" y="227"/>
                </a:cubicBezTo>
                <a:cubicBezTo>
                  <a:pt x="67" y="228"/>
                  <a:pt x="67" y="229"/>
                  <a:pt x="68" y="229"/>
                </a:cubicBezTo>
                <a:cubicBezTo>
                  <a:pt x="68" y="229"/>
                  <a:pt x="68" y="229"/>
                  <a:pt x="68" y="230"/>
                </a:cubicBezTo>
                <a:cubicBezTo>
                  <a:pt x="68" y="229"/>
                  <a:pt x="67" y="230"/>
                  <a:pt x="67" y="230"/>
                </a:cubicBezTo>
                <a:close/>
                <a:moveTo>
                  <a:pt x="57" y="232"/>
                </a:moveTo>
                <a:cubicBezTo>
                  <a:pt x="56" y="231"/>
                  <a:pt x="57" y="233"/>
                  <a:pt x="56" y="233"/>
                </a:cubicBezTo>
                <a:cubicBezTo>
                  <a:pt x="56" y="233"/>
                  <a:pt x="57" y="233"/>
                  <a:pt x="57" y="232"/>
                </a:cubicBezTo>
                <a:cubicBezTo>
                  <a:pt x="57" y="231"/>
                  <a:pt x="60" y="229"/>
                  <a:pt x="61" y="228"/>
                </a:cubicBezTo>
                <a:cubicBezTo>
                  <a:pt x="60" y="228"/>
                  <a:pt x="60" y="227"/>
                  <a:pt x="60" y="227"/>
                </a:cubicBezTo>
                <a:cubicBezTo>
                  <a:pt x="61" y="227"/>
                  <a:pt x="62" y="226"/>
                  <a:pt x="62" y="226"/>
                </a:cubicBezTo>
                <a:cubicBezTo>
                  <a:pt x="61" y="226"/>
                  <a:pt x="61" y="226"/>
                  <a:pt x="60" y="226"/>
                </a:cubicBezTo>
                <a:cubicBezTo>
                  <a:pt x="61" y="226"/>
                  <a:pt x="61" y="227"/>
                  <a:pt x="61" y="227"/>
                </a:cubicBezTo>
                <a:cubicBezTo>
                  <a:pt x="59" y="228"/>
                  <a:pt x="58" y="230"/>
                  <a:pt x="57" y="232"/>
                </a:cubicBezTo>
                <a:close/>
                <a:moveTo>
                  <a:pt x="66" y="232"/>
                </a:moveTo>
                <a:cubicBezTo>
                  <a:pt x="67" y="232"/>
                  <a:pt x="65" y="232"/>
                  <a:pt x="65" y="231"/>
                </a:cubicBezTo>
                <a:cubicBezTo>
                  <a:pt x="66" y="232"/>
                  <a:pt x="64" y="232"/>
                  <a:pt x="64" y="233"/>
                </a:cubicBezTo>
                <a:cubicBezTo>
                  <a:pt x="65" y="233"/>
                  <a:pt x="65" y="233"/>
                  <a:pt x="66" y="233"/>
                </a:cubicBezTo>
                <a:cubicBezTo>
                  <a:pt x="65" y="232"/>
                  <a:pt x="65" y="233"/>
                  <a:pt x="65" y="233"/>
                </a:cubicBezTo>
                <a:cubicBezTo>
                  <a:pt x="65" y="232"/>
                  <a:pt x="65" y="232"/>
                  <a:pt x="66" y="232"/>
                </a:cubicBezTo>
                <a:cubicBezTo>
                  <a:pt x="66" y="232"/>
                  <a:pt x="66" y="232"/>
                  <a:pt x="66" y="233"/>
                </a:cubicBezTo>
                <a:cubicBezTo>
                  <a:pt x="67" y="232"/>
                  <a:pt x="68" y="232"/>
                  <a:pt x="67" y="231"/>
                </a:cubicBezTo>
                <a:cubicBezTo>
                  <a:pt x="67" y="231"/>
                  <a:pt x="67" y="232"/>
                  <a:pt x="66" y="232"/>
                </a:cubicBezTo>
                <a:close/>
                <a:moveTo>
                  <a:pt x="50" y="233"/>
                </a:moveTo>
                <a:cubicBezTo>
                  <a:pt x="50" y="232"/>
                  <a:pt x="50" y="232"/>
                  <a:pt x="50" y="232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8" y="233"/>
                  <a:pt x="48" y="234"/>
                  <a:pt x="47" y="235"/>
                </a:cubicBezTo>
                <a:cubicBezTo>
                  <a:pt x="48" y="233"/>
                  <a:pt x="49" y="231"/>
                  <a:pt x="50" y="229"/>
                </a:cubicBezTo>
                <a:cubicBezTo>
                  <a:pt x="52" y="228"/>
                  <a:pt x="53" y="226"/>
                  <a:pt x="55" y="224"/>
                </a:cubicBezTo>
                <a:cubicBezTo>
                  <a:pt x="55" y="225"/>
                  <a:pt x="54" y="226"/>
                  <a:pt x="53" y="227"/>
                </a:cubicBezTo>
                <a:cubicBezTo>
                  <a:pt x="52" y="228"/>
                  <a:pt x="53" y="228"/>
                  <a:pt x="52" y="229"/>
                </a:cubicBezTo>
                <a:cubicBezTo>
                  <a:pt x="52" y="229"/>
                  <a:pt x="52" y="230"/>
                  <a:pt x="52" y="229"/>
                </a:cubicBezTo>
                <a:cubicBezTo>
                  <a:pt x="52" y="231"/>
                  <a:pt x="50" y="232"/>
                  <a:pt x="50" y="233"/>
                </a:cubicBezTo>
                <a:close/>
                <a:moveTo>
                  <a:pt x="51" y="231"/>
                </a:moveTo>
                <a:cubicBezTo>
                  <a:pt x="51" y="231"/>
                  <a:pt x="50" y="231"/>
                  <a:pt x="50" y="231"/>
                </a:cubicBezTo>
                <a:cubicBezTo>
                  <a:pt x="50" y="232"/>
                  <a:pt x="50" y="232"/>
                  <a:pt x="51" y="231"/>
                </a:cubicBezTo>
                <a:close/>
                <a:moveTo>
                  <a:pt x="47" y="227"/>
                </a:moveTo>
                <a:cubicBezTo>
                  <a:pt x="47" y="226"/>
                  <a:pt x="48" y="225"/>
                  <a:pt x="48" y="225"/>
                </a:cubicBezTo>
                <a:cubicBezTo>
                  <a:pt x="47" y="225"/>
                  <a:pt x="47" y="225"/>
                  <a:pt x="47" y="225"/>
                </a:cubicBezTo>
                <a:cubicBezTo>
                  <a:pt x="48" y="226"/>
                  <a:pt x="46" y="226"/>
                  <a:pt x="47" y="227"/>
                </a:cubicBezTo>
                <a:close/>
                <a:moveTo>
                  <a:pt x="64" y="239"/>
                </a:moveTo>
                <a:cubicBezTo>
                  <a:pt x="64" y="238"/>
                  <a:pt x="65" y="238"/>
                  <a:pt x="64" y="238"/>
                </a:cubicBezTo>
                <a:cubicBezTo>
                  <a:pt x="64" y="238"/>
                  <a:pt x="64" y="238"/>
                  <a:pt x="64" y="238"/>
                </a:cubicBezTo>
                <a:cubicBezTo>
                  <a:pt x="65" y="238"/>
                  <a:pt x="63" y="239"/>
                  <a:pt x="64" y="239"/>
                </a:cubicBezTo>
                <a:close/>
                <a:moveTo>
                  <a:pt x="54" y="231"/>
                </a:moveTo>
                <a:cubicBezTo>
                  <a:pt x="53" y="232"/>
                  <a:pt x="53" y="232"/>
                  <a:pt x="53" y="232"/>
                </a:cubicBezTo>
                <a:cubicBezTo>
                  <a:pt x="53" y="231"/>
                  <a:pt x="53" y="231"/>
                  <a:pt x="53" y="231"/>
                </a:cubicBezTo>
                <a:cubicBezTo>
                  <a:pt x="53" y="231"/>
                  <a:pt x="52" y="231"/>
                  <a:pt x="52" y="231"/>
                </a:cubicBezTo>
                <a:cubicBezTo>
                  <a:pt x="52" y="232"/>
                  <a:pt x="53" y="232"/>
                  <a:pt x="52" y="232"/>
                </a:cubicBezTo>
                <a:cubicBezTo>
                  <a:pt x="51" y="232"/>
                  <a:pt x="51" y="234"/>
                  <a:pt x="50" y="235"/>
                </a:cubicBezTo>
                <a:cubicBezTo>
                  <a:pt x="50" y="235"/>
                  <a:pt x="51" y="236"/>
                  <a:pt x="51" y="235"/>
                </a:cubicBezTo>
                <a:cubicBezTo>
                  <a:pt x="52" y="235"/>
                  <a:pt x="50" y="235"/>
                  <a:pt x="51" y="235"/>
                </a:cubicBezTo>
                <a:cubicBezTo>
                  <a:pt x="51" y="235"/>
                  <a:pt x="52" y="235"/>
                  <a:pt x="52" y="234"/>
                </a:cubicBezTo>
                <a:cubicBezTo>
                  <a:pt x="51" y="234"/>
                  <a:pt x="51" y="234"/>
                  <a:pt x="51" y="233"/>
                </a:cubicBezTo>
                <a:cubicBezTo>
                  <a:pt x="52" y="233"/>
                  <a:pt x="52" y="232"/>
                  <a:pt x="53" y="232"/>
                </a:cubicBezTo>
                <a:cubicBezTo>
                  <a:pt x="53" y="232"/>
                  <a:pt x="53" y="233"/>
                  <a:pt x="53" y="233"/>
                </a:cubicBezTo>
                <a:cubicBezTo>
                  <a:pt x="54" y="232"/>
                  <a:pt x="54" y="231"/>
                  <a:pt x="53" y="231"/>
                </a:cubicBezTo>
                <a:cubicBezTo>
                  <a:pt x="53" y="231"/>
                  <a:pt x="54" y="231"/>
                  <a:pt x="54" y="231"/>
                </a:cubicBezTo>
                <a:close/>
                <a:moveTo>
                  <a:pt x="53" y="236"/>
                </a:moveTo>
                <a:cubicBezTo>
                  <a:pt x="54" y="237"/>
                  <a:pt x="51" y="238"/>
                  <a:pt x="52" y="239"/>
                </a:cubicBezTo>
                <a:cubicBezTo>
                  <a:pt x="53" y="237"/>
                  <a:pt x="55" y="235"/>
                  <a:pt x="56" y="233"/>
                </a:cubicBezTo>
                <a:cubicBezTo>
                  <a:pt x="55" y="234"/>
                  <a:pt x="55" y="235"/>
                  <a:pt x="54" y="235"/>
                </a:cubicBezTo>
                <a:cubicBezTo>
                  <a:pt x="54" y="236"/>
                  <a:pt x="54" y="236"/>
                  <a:pt x="54" y="235"/>
                </a:cubicBezTo>
                <a:cubicBezTo>
                  <a:pt x="54" y="236"/>
                  <a:pt x="53" y="237"/>
                  <a:pt x="53" y="236"/>
                </a:cubicBezTo>
                <a:close/>
                <a:moveTo>
                  <a:pt x="59" y="240"/>
                </a:moveTo>
                <a:cubicBezTo>
                  <a:pt x="59" y="240"/>
                  <a:pt x="60" y="240"/>
                  <a:pt x="60" y="240"/>
                </a:cubicBezTo>
                <a:cubicBezTo>
                  <a:pt x="60" y="239"/>
                  <a:pt x="60" y="240"/>
                  <a:pt x="59" y="239"/>
                </a:cubicBezTo>
                <a:cubicBezTo>
                  <a:pt x="60" y="239"/>
                  <a:pt x="59" y="239"/>
                  <a:pt x="59" y="239"/>
                </a:cubicBezTo>
                <a:cubicBezTo>
                  <a:pt x="60" y="240"/>
                  <a:pt x="59" y="240"/>
                  <a:pt x="59" y="240"/>
                </a:cubicBezTo>
                <a:close/>
                <a:moveTo>
                  <a:pt x="46" y="234"/>
                </a:moveTo>
                <a:cubicBezTo>
                  <a:pt x="47" y="234"/>
                  <a:pt x="47" y="233"/>
                  <a:pt x="47" y="233"/>
                </a:cubicBezTo>
                <a:cubicBezTo>
                  <a:pt x="46" y="234"/>
                  <a:pt x="46" y="232"/>
                  <a:pt x="46" y="233"/>
                </a:cubicBezTo>
                <a:cubicBezTo>
                  <a:pt x="46" y="233"/>
                  <a:pt x="46" y="233"/>
                  <a:pt x="46" y="233"/>
                </a:cubicBezTo>
                <a:cubicBezTo>
                  <a:pt x="46" y="233"/>
                  <a:pt x="46" y="234"/>
                  <a:pt x="46" y="234"/>
                </a:cubicBezTo>
                <a:close/>
                <a:moveTo>
                  <a:pt x="48" y="236"/>
                </a:moveTo>
                <a:cubicBezTo>
                  <a:pt x="48" y="237"/>
                  <a:pt x="49" y="237"/>
                  <a:pt x="49" y="238"/>
                </a:cubicBezTo>
                <a:cubicBezTo>
                  <a:pt x="49" y="237"/>
                  <a:pt x="51" y="237"/>
                  <a:pt x="51" y="236"/>
                </a:cubicBezTo>
                <a:cubicBezTo>
                  <a:pt x="50" y="236"/>
                  <a:pt x="50" y="236"/>
                  <a:pt x="49" y="237"/>
                </a:cubicBezTo>
                <a:cubicBezTo>
                  <a:pt x="49" y="236"/>
                  <a:pt x="50" y="236"/>
                  <a:pt x="49" y="235"/>
                </a:cubicBezTo>
                <a:cubicBezTo>
                  <a:pt x="49" y="236"/>
                  <a:pt x="49" y="236"/>
                  <a:pt x="48" y="236"/>
                </a:cubicBezTo>
                <a:close/>
                <a:moveTo>
                  <a:pt x="24" y="224"/>
                </a:moveTo>
                <a:cubicBezTo>
                  <a:pt x="24" y="223"/>
                  <a:pt x="24" y="224"/>
                  <a:pt x="25" y="223"/>
                </a:cubicBezTo>
                <a:cubicBezTo>
                  <a:pt x="24" y="223"/>
                  <a:pt x="24" y="223"/>
                  <a:pt x="23" y="223"/>
                </a:cubicBezTo>
                <a:cubicBezTo>
                  <a:pt x="24" y="224"/>
                  <a:pt x="24" y="223"/>
                  <a:pt x="24" y="224"/>
                </a:cubicBezTo>
                <a:cubicBezTo>
                  <a:pt x="24" y="224"/>
                  <a:pt x="24" y="224"/>
                  <a:pt x="24" y="224"/>
                </a:cubicBezTo>
                <a:close/>
                <a:moveTo>
                  <a:pt x="17" y="230"/>
                </a:moveTo>
                <a:cubicBezTo>
                  <a:pt x="18" y="228"/>
                  <a:pt x="19" y="228"/>
                  <a:pt x="19" y="227"/>
                </a:cubicBezTo>
                <a:cubicBezTo>
                  <a:pt x="19" y="227"/>
                  <a:pt x="16" y="229"/>
                  <a:pt x="17" y="230"/>
                </a:cubicBezTo>
                <a:close/>
                <a:moveTo>
                  <a:pt x="45" y="246"/>
                </a:moveTo>
                <a:cubicBezTo>
                  <a:pt x="45" y="246"/>
                  <a:pt x="46" y="247"/>
                  <a:pt x="46" y="247"/>
                </a:cubicBezTo>
                <a:cubicBezTo>
                  <a:pt x="45" y="247"/>
                  <a:pt x="45" y="248"/>
                  <a:pt x="45" y="248"/>
                </a:cubicBezTo>
                <a:cubicBezTo>
                  <a:pt x="46" y="248"/>
                  <a:pt x="46" y="247"/>
                  <a:pt x="47" y="247"/>
                </a:cubicBezTo>
                <a:cubicBezTo>
                  <a:pt x="47" y="247"/>
                  <a:pt x="47" y="247"/>
                  <a:pt x="47" y="247"/>
                </a:cubicBezTo>
                <a:cubicBezTo>
                  <a:pt x="46" y="247"/>
                  <a:pt x="46" y="245"/>
                  <a:pt x="45" y="246"/>
                </a:cubicBezTo>
                <a:close/>
                <a:moveTo>
                  <a:pt x="19" y="231"/>
                </a:moveTo>
                <a:cubicBezTo>
                  <a:pt x="19" y="231"/>
                  <a:pt x="18" y="231"/>
                  <a:pt x="18" y="231"/>
                </a:cubicBezTo>
                <a:cubicBezTo>
                  <a:pt x="19" y="232"/>
                  <a:pt x="19" y="230"/>
                  <a:pt x="18" y="230"/>
                </a:cubicBezTo>
                <a:cubicBezTo>
                  <a:pt x="18" y="231"/>
                  <a:pt x="19" y="230"/>
                  <a:pt x="19" y="231"/>
                </a:cubicBezTo>
                <a:close/>
                <a:moveTo>
                  <a:pt x="18" y="232"/>
                </a:moveTo>
                <a:cubicBezTo>
                  <a:pt x="18" y="234"/>
                  <a:pt x="17" y="234"/>
                  <a:pt x="17" y="235"/>
                </a:cubicBezTo>
                <a:cubicBezTo>
                  <a:pt x="17" y="235"/>
                  <a:pt x="17" y="234"/>
                  <a:pt x="18" y="234"/>
                </a:cubicBezTo>
                <a:cubicBezTo>
                  <a:pt x="18" y="233"/>
                  <a:pt x="19" y="232"/>
                  <a:pt x="18" y="232"/>
                </a:cubicBezTo>
                <a:cubicBezTo>
                  <a:pt x="17" y="232"/>
                  <a:pt x="18" y="233"/>
                  <a:pt x="18" y="232"/>
                </a:cubicBezTo>
                <a:close/>
                <a:moveTo>
                  <a:pt x="4" y="256"/>
                </a:moveTo>
                <a:cubicBezTo>
                  <a:pt x="5" y="255"/>
                  <a:pt x="5" y="254"/>
                  <a:pt x="6" y="253"/>
                </a:cubicBezTo>
                <a:cubicBezTo>
                  <a:pt x="5" y="254"/>
                  <a:pt x="4" y="255"/>
                  <a:pt x="4" y="256"/>
                </a:cubicBezTo>
                <a:close/>
                <a:moveTo>
                  <a:pt x="5" y="258"/>
                </a:moveTo>
                <a:cubicBezTo>
                  <a:pt x="6" y="257"/>
                  <a:pt x="6" y="258"/>
                  <a:pt x="6" y="257"/>
                </a:cubicBezTo>
                <a:cubicBezTo>
                  <a:pt x="6" y="257"/>
                  <a:pt x="6" y="256"/>
                  <a:pt x="6" y="257"/>
                </a:cubicBezTo>
                <a:cubicBezTo>
                  <a:pt x="6" y="257"/>
                  <a:pt x="6" y="257"/>
                  <a:pt x="6" y="257"/>
                </a:cubicBezTo>
                <a:cubicBezTo>
                  <a:pt x="5" y="257"/>
                  <a:pt x="5" y="257"/>
                  <a:pt x="5" y="258"/>
                </a:cubicBezTo>
                <a:close/>
                <a:moveTo>
                  <a:pt x="810" y="264"/>
                </a:moveTo>
                <a:cubicBezTo>
                  <a:pt x="810" y="263"/>
                  <a:pt x="808" y="261"/>
                  <a:pt x="809" y="261"/>
                </a:cubicBezTo>
                <a:cubicBezTo>
                  <a:pt x="810" y="263"/>
                  <a:pt x="809" y="259"/>
                  <a:pt x="809" y="258"/>
                </a:cubicBezTo>
                <a:cubicBezTo>
                  <a:pt x="810" y="258"/>
                  <a:pt x="811" y="261"/>
                  <a:pt x="811" y="261"/>
                </a:cubicBezTo>
                <a:cubicBezTo>
                  <a:pt x="809" y="256"/>
                  <a:pt x="809" y="255"/>
                  <a:pt x="807" y="251"/>
                </a:cubicBezTo>
                <a:cubicBezTo>
                  <a:pt x="808" y="254"/>
                  <a:pt x="807" y="252"/>
                  <a:pt x="806" y="253"/>
                </a:cubicBezTo>
                <a:cubicBezTo>
                  <a:pt x="806" y="253"/>
                  <a:pt x="807" y="260"/>
                  <a:pt x="805" y="261"/>
                </a:cubicBezTo>
                <a:cubicBezTo>
                  <a:pt x="805" y="261"/>
                  <a:pt x="804" y="259"/>
                  <a:pt x="804" y="259"/>
                </a:cubicBezTo>
                <a:cubicBezTo>
                  <a:pt x="803" y="261"/>
                  <a:pt x="804" y="266"/>
                  <a:pt x="801" y="262"/>
                </a:cubicBezTo>
                <a:cubicBezTo>
                  <a:pt x="805" y="271"/>
                  <a:pt x="805" y="267"/>
                  <a:pt x="806" y="266"/>
                </a:cubicBezTo>
                <a:cubicBezTo>
                  <a:pt x="806" y="266"/>
                  <a:pt x="810" y="269"/>
                  <a:pt x="808" y="265"/>
                </a:cubicBezTo>
                <a:cubicBezTo>
                  <a:pt x="809" y="266"/>
                  <a:pt x="810" y="269"/>
                  <a:pt x="810" y="268"/>
                </a:cubicBezTo>
                <a:cubicBezTo>
                  <a:pt x="811" y="267"/>
                  <a:pt x="808" y="263"/>
                  <a:pt x="810" y="264"/>
                </a:cubicBezTo>
                <a:close/>
                <a:moveTo>
                  <a:pt x="440" y="4"/>
                </a:moveTo>
                <a:cubicBezTo>
                  <a:pt x="437" y="3"/>
                  <a:pt x="437" y="4"/>
                  <a:pt x="434" y="4"/>
                </a:cubicBezTo>
                <a:cubicBezTo>
                  <a:pt x="434" y="3"/>
                  <a:pt x="433" y="3"/>
                  <a:pt x="433" y="3"/>
                </a:cubicBezTo>
                <a:cubicBezTo>
                  <a:pt x="435" y="3"/>
                  <a:pt x="437" y="3"/>
                  <a:pt x="438" y="2"/>
                </a:cubicBezTo>
                <a:cubicBezTo>
                  <a:pt x="434" y="2"/>
                  <a:pt x="429" y="3"/>
                  <a:pt x="425" y="3"/>
                </a:cubicBezTo>
                <a:cubicBezTo>
                  <a:pt x="428" y="3"/>
                  <a:pt x="433" y="4"/>
                  <a:pt x="437" y="4"/>
                </a:cubicBezTo>
                <a:cubicBezTo>
                  <a:pt x="436" y="4"/>
                  <a:pt x="434" y="4"/>
                  <a:pt x="434" y="4"/>
                </a:cubicBezTo>
                <a:cubicBezTo>
                  <a:pt x="439" y="4"/>
                  <a:pt x="441" y="4"/>
                  <a:pt x="443" y="5"/>
                </a:cubicBezTo>
                <a:cubicBezTo>
                  <a:pt x="442" y="4"/>
                  <a:pt x="446" y="5"/>
                  <a:pt x="446" y="5"/>
                </a:cubicBezTo>
                <a:cubicBezTo>
                  <a:pt x="444" y="4"/>
                  <a:pt x="444" y="5"/>
                  <a:pt x="440" y="4"/>
                </a:cubicBezTo>
                <a:close/>
                <a:moveTo>
                  <a:pt x="399" y="5"/>
                </a:moveTo>
                <a:cubicBezTo>
                  <a:pt x="398" y="4"/>
                  <a:pt x="401" y="4"/>
                  <a:pt x="398" y="4"/>
                </a:cubicBezTo>
                <a:cubicBezTo>
                  <a:pt x="393" y="5"/>
                  <a:pt x="386" y="4"/>
                  <a:pt x="382" y="5"/>
                </a:cubicBezTo>
                <a:cubicBezTo>
                  <a:pt x="385" y="5"/>
                  <a:pt x="389" y="5"/>
                  <a:pt x="390" y="6"/>
                </a:cubicBezTo>
                <a:cubicBezTo>
                  <a:pt x="395" y="5"/>
                  <a:pt x="398" y="6"/>
                  <a:pt x="400" y="5"/>
                </a:cubicBezTo>
                <a:lnTo>
                  <a:pt x="399" y="5"/>
                </a:lnTo>
                <a:close/>
                <a:moveTo>
                  <a:pt x="142" y="101"/>
                </a:moveTo>
                <a:cubicBezTo>
                  <a:pt x="142" y="102"/>
                  <a:pt x="141" y="103"/>
                  <a:pt x="143" y="102"/>
                </a:cubicBezTo>
                <a:cubicBezTo>
                  <a:pt x="147" y="98"/>
                  <a:pt x="152" y="95"/>
                  <a:pt x="156" y="91"/>
                </a:cubicBezTo>
                <a:cubicBezTo>
                  <a:pt x="154" y="92"/>
                  <a:pt x="153" y="93"/>
                  <a:pt x="152" y="94"/>
                </a:cubicBezTo>
                <a:cubicBezTo>
                  <a:pt x="153" y="93"/>
                  <a:pt x="154" y="92"/>
                  <a:pt x="154" y="91"/>
                </a:cubicBezTo>
                <a:cubicBezTo>
                  <a:pt x="149" y="95"/>
                  <a:pt x="141" y="101"/>
                  <a:pt x="134" y="107"/>
                </a:cubicBezTo>
                <a:cubicBezTo>
                  <a:pt x="135" y="107"/>
                  <a:pt x="140" y="103"/>
                  <a:pt x="142" y="101"/>
                </a:cubicBezTo>
                <a:close/>
                <a:moveTo>
                  <a:pt x="84" y="158"/>
                </a:moveTo>
                <a:cubicBezTo>
                  <a:pt x="84" y="159"/>
                  <a:pt x="84" y="160"/>
                  <a:pt x="83" y="160"/>
                </a:cubicBezTo>
                <a:cubicBezTo>
                  <a:pt x="83" y="161"/>
                  <a:pt x="83" y="162"/>
                  <a:pt x="84" y="161"/>
                </a:cubicBezTo>
                <a:cubicBezTo>
                  <a:pt x="84" y="161"/>
                  <a:pt x="84" y="161"/>
                  <a:pt x="84" y="161"/>
                </a:cubicBezTo>
                <a:cubicBezTo>
                  <a:pt x="84" y="160"/>
                  <a:pt x="84" y="160"/>
                  <a:pt x="84" y="160"/>
                </a:cubicBezTo>
                <a:cubicBezTo>
                  <a:pt x="85" y="160"/>
                  <a:pt x="84" y="161"/>
                  <a:pt x="85" y="161"/>
                </a:cubicBezTo>
                <a:cubicBezTo>
                  <a:pt x="85" y="160"/>
                  <a:pt x="86" y="160"/>
                  <a:pt x="85" y="160"/>
                </a:cubicBezTo>
                <a:cubicBezTo>
                  <a:pt x="85" y="160"/>
                  <a:pt x="85" y="160"/>
                  <a:pt x="85" y="160"/>
                </a:cubicBezTo>
                <a:cubicBezTo>
                  <a:pt x="85" y="160"/>
                  <a:pt x="85" y="159"/>
                  <a:pt x="85" y="159"/>
                </a:cubicBezTo>
                <a:cubicBezTo>
                  <a:pt x="85" y="159"/>
                  <a:pt x="86" y="159"/>
                  <a:pt x="87" y="158"/>
                </a:cubicBezTo>
                <a:cubicBezTo>
                  <a:pt x="85" y="159"/>
                  <a:pt x="86" y="157"/>
                  <a:pt x="84" y="158"/>
                </a:cubicBezTo>
                <a:close/>
                <a:moveTo>
                  <a:pt x="103" y="180"/>
                </a:moveTo>
                <a:cubicBezTo>
                  <a:pt x="102" y="180"/>
                  <a:pt x="102" y="181"/>
                  <a:pt x="102" y="181"/>
                </a:cubicBezTo>
                <a:cubicBezTo>
                  <a:pt x="102" y="181"/>
                  <a:pt x="103" y="181"/>
                  <a:pt x="103" y="181"/>
                </a:cubicBezTo>
                <a:cubicBezTo>
                  <a:pt x="103" y="181"/>
                  <a:pt x="102" y="181"/>
                  <a:pt x="103" y="182"/>
                </a:cubicBezTo>
                <a:cubicBezTo>
                  <a:pt x="103" y="182"/>
                  <a:pt x="103" y="181"/>
                  <a:pt x="104" y="181"/>
                </a:cubicBezTo>
                <a:cubicBezTo>
                  <a:pt x="103" y="182"/>
                  <a:pt x="103" y="182"/>
                  <a:pt x="103" y="183"/>
                </a:cubicBezTo>
                <a:cubicBezTo>
                  <a:pt x="103" y="182"/>
                  <a:pt x="104" y="182"/>
                  <a:pt x="104" y="181"/>
                </a:cubicBezTo>
                <a:cubicBezTo>
                  <a:pt x="103" y="182"/>
                  <a:pt x="104" y="180"/>
                  <a:pt x="103" y="180"/>
                </a:cubicBezTo>
                <a:close/>
                <a:moveTo>
                  <a:pt x="77" y="160"/>
                </a:moveTo>
                <a:cubicBezTo>
                  <a:pt x="79" y="161"/>
                  <a:pt x="79" y="158"/>
                  <a:pt x="80" y="158"/>
                </a:cubicBezTo>
                <a:cubicBezTo>
                  <a:pt x="80" y="157"/>
                  <a:pt x="80" y="157"/>
                  <a:pt x="80" y="157"/>
                </a:cubicBezTo>
                <a:cubicBezTo>
                  <a:pt x="79" y="157"/>
                  <a:pt x="78" y="159"/>
                  <a:pt x="77" y="160"/>
                </a:cubicBezTo>
                <a:close/>
                <a:moveTo>
                  <a:pt x="81" y="163"/>
                </a:moveTo>
                <a:cubicBezTo>
                  <a:pt x="81" y="163"/>
                  <a:pt x="81" y="164"/>
                  <a:pt x="81" y="164"/>
                </a:cubicBezTo>
                <a:cubicBezTo>
                  <a:pt x="81" y="164"/>
                  <a:pt x="80" y="165"/>
                  <a:pt x="80" y="165"/>
                </a:cubicBezTo>
                <a:cubicBezTo>
                  <a:pt x="82" y="164"/>
                  <a:pt x="83" y="163"/>
                  <a:pt x="83" y="162"/>
                </a:cubicBezTo>
                <a:cubicBezTo>
                  <a:pt x="83" y="161"/>
                  <a:pt x="83" y="161"/>
                  <a:pt x="82" y="161"/>
                </a:cubicBezTo>
                <a:cubicBezTo>
                  <a:pt x="81" y="161"/>
                  <a:pt x="82" y="163"/>
                  <a:pt x="81" y="163"/>
                </a:cubicBezTo>
                <a:close/>
                <a:moveTo>
                  <a:pt x="95" y="192"/>
                </a:moveTo>
                <a:cubicBezTo>
                  <a:pt x="95" y="192"/>
                  <a:pt x="95" y="192"/>
                  <a:pt x="94" y="192"/>
                </a:cubicBezTo>
                <a:cubicBezTo>
                  <a:pt x="94" y="192"/>
                  <a:pt x="94" y="193"/>
                  <a:pt x="94" y="193"/>
                </a:cubicBezTo>
                <a:cubicBezTo>
                  <a:pt x="93" y="193"/>
                  <a:pt x="93" y="194"/>
                  <a:pt x="94" y="194"/>
                </a:cubicBezTo>
                <a:cubicBezTo>
                  <a:pt x="93" y="194"/>
                  <a:pt x="91" y="196"/>
                  <a:pt x="91" y="197"/>
                </a:cubicBezTo>
                <a:cubicBezTo>
                  <a:pt x="91" y="197"/>
                  <a:pt x="91" y="197"/>
                  <a:pt x="91" y="197"/>
                </a:cubicBezTo>
                <a:cubicBezTo>
                  <a:pt x="91" y="198"/>
                  <a:pt x="90" y="198"/>
                  <a:pt x="90" y="199"/>
                </a:cubicBezTo>
                <a:cubicBezTo>
                  <a:pt x="91" y="197"/>
                  <a:pt x="92" y="197"/>
                  <a:pt x="93" y="197"/>
                </a:cubicBezTo>
                <a:cubicBezTo>
                  <a:pt x="93" y="197"/>
                  <a:pt x="93" y="197"/>
                  <a:pt x="93" y="196"/>
                </a:cubicBezTo>
                <a:cubicBezTo>
                  <a:pt x="93" y="196"/>
                  <a:pt x="94" y="195"/>
                  <a:pt x="94" y="195"/>
                </a:cubicBezTo>
                <a:cubicBezTo>
                  <a:pt x="94" y="195"/>
                  <a:pt x="94" y="195"/>
                  <a:pt x="94" y="196"/>
                </a:cubicBezTo>
                <a:cubicBezTo>
                  <a:pt x="95" y="194"/>
                  <a:pt x="95" y="192"/>
                  <a:pt x="96" y="193"/>
                </a:cubicBezTo>
                <a:cubicBezTo>
                  <a:pt x="96" y="193"/>
                  <a:pt x="96" y="193"/>
                  <a:pt x="96" y="193"/>
                </a:cubicBezTo>
                <a:cubicBezTo>
                  <a:pt x="97" y="193"/>
                  <a:pt x="97" y="193"/>
                  <a:pt x="97" y="192"/>
                </a:cubicBezTo>
                <a:cubicBezTo>
                  <a:pt x="96" y="193"/>
                  <a:pt x="97" y="192"/>
                  <a:pt x="96" y="192"/>
                </a:cubicBezTo>
                <a:cubicBezTo>
                  <a:pt x="96" y="193"/>
                  <a:pt x="96" y="192"/>
                  <a:pt x="95" y="192"/>
                </a:cubicBezTo>
                <a:close/>
                <a:moveTo>
                  <a:pt x="65" y="175"/>
                </a:moveTo>
                <a:cubicBezTo>
                  <a:pt x="64" y="175"/>
                  <a:pt x="64" y="175"/>
                  <a:pt x="63" y="175"/>
                </a:cubicBezTo>
                <a:cubicBezTo>
                  <a:pt x="63" y="175"/>
                  <a:pt x="63" y="175"/>
                  <a:pt x="63" y="176"/>
                </a:cubicBezTo>
                <a:cubicBezTo>
                  <a:pt x="64" y="176"/>
                  <a:pt x="64" y="176"/>
                  <a:pt x="64" y="177"/>
                </a:cubicBezTo>
                <a:cubicBezTo>
                  <a:pt x="65" y="175"/>
                  <a:pt x="66" y="175"/>
                  <a:pt x="67" y="173"/>
                </a:cubicBezTo>
                <a:cubicBezTo>
                  <a:pt x="65" y="173"/>
                  <a:pt x="66" y="174"/>
                  <a:pt x="65" y="175"/>
                </a:cubicBezTo>
                <a:close/>
                <a:moveTo>
                  <a:pt x="45" y="240"/>
                </a:moveTo>
                <a:cubicBezTo>
                  <a:pt x="46" y="241"/>
                  <a:pt x="46" y="241"/>
                  <a:pt x="46" y="241"/>
                </a:cubicBezTo>
                <a:cubicBezTo>
                  <a:pt x="45" y="241"/>
                  <a:pt x="45" y="242"/>
                  <a:pt x="44" y="243"/>
                </a:cubicBezTo>
                <a:cubicBezTo>
                  <a:pt x="44" y="243"/>
                  <a:pt x="43" y="243"/>
                  <a:pt x="43" y="243"/>
                </a:cubicBezTo>
                <a:cubicBezTo>
                  <a:pt x="43" y="244"/>
                  <a:pt x="43" y="244"/>
                  <a:pt x="42" y="245"/>
                </a:cubicBezTo>
                <a:cubicBezTo>
                  <a:pt x="43" y="245"/>
                  <a:pt x="43" y="245"/>
                  <a:pt x="44" y="244"/>
                </a:cubicBezTo>
                <a:cubicBezTo>
                  <a:pt x="44" y="244"/>
                  <a:pt x="44" y="244"/>
                  <a:pt x="44" y="244"/>
                </a:cubicBezTo>
                <a:cubicBezTo>
                  <a:pt x="44" y="244"/>
                  <a:pt x="45" y="243"/>
                  <a:pt x="45" y="244"/>
                </a:cubicBezTo>
                <a:cubicBezTo>
                  <a:pt x="45" y="241"/>
                  <a:pt x="47" y="241"/>
                  <a:pt x="48" y="239"/>
                </a:cubicBezTo>
                <a:cubicBezTo>
                  <a:pt x="47" y="238"/>
                  <a:pt x="48" y="238"/>
                  <a:pt x="48" y="237"/>
                </a:cubicBezTo>
                <a:cubicBezTo>
                  <a:pt x="47" y="238"/>
                  <a:pt x="47" y="240"/>
                  <a:pt x="45" y="240"/>
                </a:cubicBezTo>
                <a:close/>
                <a:moveTo>
                  <a:pt x="820" y="180"/>
                </a:moveTo>
                <a:cubicBezTo>
                  <a:pt x="820" y="181"/>
                  <a:pt x="820" y="181"/>
                  <a:pt x="820" y="181"/>
                </a:cubicBezTo>
                <a:cubicBezTo>
                  <a:pt x="821" y="181"/>
                  <a:pt x="820" y="180"/>
                  <a:pt x="820" y="180"/>
                </a:cubicBezTo>
                <a:close/>
                <a:moveTo>
                  <a:pt x="866" y="171"/>
                </a:moveTo>
                <a:cubicBezTo>
                  <a:pt x="865" y="171"/>
                  <a:pt x="865" y="172"/>
                  <a:pt x="865" y="172"/>
                </a:cubicBezTo>
                <a:cubicBezTo>
                  <a:pt x="865" y="172"/>
                  <a:pt x="866" y="172"/>
                  <a:pt x="866" y="171"/>
                </a:cubicBezTo>
                <a:close/>
                <a:moveTo>
                  <a:pt x="867" y="170"/>
                </a:moveTo>
                <a:cubicBezTo>
                  <a:pt x="867" y="170"/>
                  <a:pt x="866" y="171"/>
                  <a:pt x="866" y="171"/>
                </a:cubicBezTo>
                <a:cubicBezTo>
                  <a:pt x="867" y="171"/>
                  <a:pt x="867" y="170"/>
                  <a:pt x="867" y="170"/>
                </a:cubicBezTo>
                <a:close/>
                <a:moveTo>
                  <a:pt x="861" y="164"/>
                </a:moveTo>
                <a:cubicBezTo>
                  <a:pt x="861" y="164"/>
                  <a:pt x="861" y="165"/>
                  <a:pt x="861" y="165"/>
                </a:cubicBezTo>
                <a:cubicBezTo>
                  <a:pt x="861" y="164"/>
                  <a:pt x="861" y="164"/>
                  <a:pt x="861" y="164"/>
                </a:cubicBezTo>
                <a:close/>
                <a:moveTo>
                  <a:pt x="868" y="162"/>
                </a:moveTo>
                <a:cubicBezTo>
                  <a:pt x="868" y="163"/>
                  <a:pt x="868" y="163"/>
                  <a:pt x="868" y="164"/>
                </a:cubicBezTo>
                <a:cubicBezTo>
                  <a:pt x="868" y="163"/>
                  <a:pt x="868" y="162"/>
                  <a:pt x="868" y="162"/>
                </a:cubicBezTo>
                <a:close/>
                <a:moveTo>
                  <a:pt x="837" y="147"/>
                </a:moveTo>
                <a:cubicBezTo>
                  <a:pt x="837" y="148"/>
                  <a:pt x="837" y="150"/>
                  <a:pt x="836" y="151"/>
                </a:cubicBezTo>
                <a:cubicBezTo>
                  <a:pt x="837" y="150"/>
                  <a:pt x="837" y="148"/>
                  <a:pt x="837" y="147"/>
                </a:cubicBezTo>
                <a:close/>
                <a:moveTo>
                  <a:pt x="852" y="150"/>
                </a:moveTo>
                <a:cubicBezTo>
                  <a:pt x="852" y="149"/>
                  <a:pt x="852" y="149"/>
                  <a:pt x="852" y="149"/>
                </a:cubicBezTo>
                <a:cubicBezTo>
                  <a:pt x="852" y="148"/>
                  <a:pt x="853" y="145"/>
                  <a:pt x="852" y="146"/>
                </a:cubicBezTo>
                <a:cubicBezTo>
                  <a:pt x="852" y="147"/>
                  <a:pt x="851" y="150"/>
                  <a:pt x="851" y="151"/>
                </a:cubicBezTo>
                <a:cubicBezTo>
                  <a:pt x="852" y="151"/>
                  <a:pt x="852" y="150"/>
                  <a:pt x="852" y="150"/>
                </a:cubicBezTo>
                <a:close/>
                <a:moveTo>
                  <a:pt x="857" y="134"/>
                </a:moveTo>
                <a:cubicBezTo>
                  <a:pt x="857" y="134"/>
                  <a:pt x="857" y="134"/>
                  <a:pt x="857" y="134"/>
                </a:cubicBezTo>
                <a:cubicBezTo>
                  <a:pt x="857" y="135"/>
                  <a:pt x="857" y="135"/>
                  <a:pt x="857" y="135"/>
                </a:cubicBezTo>
                <a:lnTo>
                  <a:pt x="857" y="134"/>
                </a:lnTo>
                <a:close/>
                <a:moveTo>
                  <a:pt x="855" y="121"/>
                </a:moveTo>
                <a:cubicBezTo>
                  <a:pt x="855" y="119"/>
                  <a:pt x="855" y="121"/>
                  <a:pt x="855" y="122"/>
                </a:cubicBezTo>
                <a:cubicBezTo>
                  <a:pt x="854" y="122"/>
                  <a:pt x="855" y="122"/>
                  <a:pt x="855" y="122"/>
                </a:cubicBezTo>
                <a:cubicBezTo>
                  <a:pt x="854" y="123"/>
                  <a:pt x="853" y="126"/>
                  <a:pt x="854" y="127"/>
                </a:cubicBezTo>
                <a:cubicBezTo>
                  <a:pt x="854" y="125"/>
                  <a:pt x="855" y="123"/>
                  <a:pt x="855" y="121"/>
                </a:cubicBezTo>
                <a:close/>
                <a:moveTo>
                  <a:pt x="861" y="127"/>
                </a:moveTo>
                <a:cubicBezTo>
                  <a:pt x="861" y="127"/>
                  <a:pt x="861" y="128"/>
                  <a:pt x="861" y="128"/>
                </a:cubicBezTo>
                <a:cubicBezTo>
                  <a:pt x="862" y="128"/>
                  <a:pt x="862" y="127"/>
                  <a:pt x="861" y="127"/>
                </a:cubicBezTo>
                <a:close/>
                <a:moveTo>
                  <a:pt x="843" y="120"/>
                </a:moveTo>
                <a:cubicBezTo>
                  <a:pt x="843" y="121"/>
                  <a:pt x="842" y="121"/>
                  <a:pt x="842" y="122"/>
                </a:cubicBezTo>
                <a:cubicBezTo>
                  <a:pt x="843" y="121"/>
                  <a:pt x="843" y="120"/>
                  <a:pt x="843" y="120"/>
                </a:cubicBezTo>
                <a:close/>
                <a:moveTo>
                  <a:pt x="859" y="124"/>
                </a:moveTo>
                <a:cubicBezTo>
                  <a:pt x="859" y="125"/>
                  <a:pt x="859" y="126"/>
                  <a:pt x="859" y="126"/>
                </a:cubicBezTo>
                <a:cubicBezTo>
                  <a:pt x="859" y="125"/>
                  <a:pt x="860" y="124"/>
                  <a:pt x="859" y="124"/>
                </a:cubicBezTo>
                <a:close/>
                <a:moveTo>
                  <a:pt x="862" y="124"/>
                </a:moveTo>
                <a:cubicBezTo>
                  <a:pt x="862" y="124"/>
                  <a:pt x="861" y="125"/>
                  <a:pt x="862" y="126"/>
                </a:cubicBezTo>
                <a:cubicBezTo>
                  <a:pt x="862" y="125"/>
                  <a:pt x="862" y="124"/>
                  <a:pt x="862" y="124"/>
                </a:cubicBezTo>
                <a:close/>
                <a:moveTo>
                  <a:pt x="839" y="118"/>
                </a:moveTo>
                <a:cubicBezTo>
                  <a:pt x="839" y="118"/>
                  <a:pt x="839" y="119"/>
                  <a:pt x="839" y="119"/>
                </a:cubicBezTo>
                <a:cubicBezTo>
                  <a:pt x="839" y="119"/>
                  <a:pt x="839" y="118"/>
                  <a:pt x="839" y="118"/>
                </a:cubicBezTo>
                <a:close/>
                <a:moveTo>
                  <a:pt x="844" y="116"/>
                </a:moveTo>
                <a:cubicBezTo>
                  <a:pt x="843" y="117"/>
                  <a:pt x="843" y="119"/>
                  <a:pt x="843" y="119"/>
                </a:cubicBezTo>
                <a:cubicBezTo>
                  <a:pt x="843" y="118"/>
                  <a:pt x="844" y="117"/>
                  <a:pt x="844" y="116"/>
                </a:cubicBezTo>
                <a:close/>
                <a:moveTo>
                  <a:pt x="862" y="120"/>
                </a:moveTo>
                <a:cubicBezTo>
                  <a:pt x="862" y="121"/>
                  <a:pt x="861" y="122"/>
                  <a:pt x="862" y="123"/>
                </a:cubicBezTo>
                <a:cubicBezTo>
                  <a:pt x="862" y="122"/>
                  <a:pt x="863" y="121"/>
                  <a:pt x="862" y="120"/>
                </a:cubicBezTo>
                <a:close/>
                <a:moveTo>
                  <a:pt x="855" y="118"/>
                </a:moveTo>
                <a:cubicBezTo>
                  <a:pt x="855" y="118"/>
                  <a:pt x="855" y="119"/>
                  <a:pt x="855" y="119"/>
                </a:cubicBezTo>
                <a:cubicBezTo>
                  <a:pt x="855" y="119"/>
                  <a:pt x="856" y="118"/>
                  <a:pt x="855" y="118"/>
                </a:cubicBezTo>
                <a:close/>
                <a:moveTo>
                  <a:pt x="858" y="117"/>
                </a:moveTo>
                <a:cubicBezTo>
                  <a:pt x="857" y="117"/>
                  <a:pt x="857" y="118"/>
                  <a:pt x="857" y="118"/>
                </a:cubicBezTo>
                <a:cubicBezTo>
                  <a:pt x="857" y="118"/>
                  <a:pt x="858" y="117"/>
                  <a:pt x="858" y="117"/>
                </a:cubicBezTo>
                <a:close/>
                <a:moveTo>
                  <a:pt x="860" y="116"/>
                </a:moveTo>
                <a:cubicBezTo>
                  <a:pt x="860" y="116"/>
                  <a:pt x="860" y="116"/>
                  <a:pt x="860" y="116"/>
                </a:cubicBezTo>
                <a:cubicBezTo>
                  <a:pt x="859" y="115"/>
                  <a:pt x="859" y="117"/>
                  <a:pt x="859" y="117"/>
                </a:cubicBezTo>
                <a:cubicBezTo>
                  <a:pt x="860" y="117"/>
                  <a:pt x="859" y="117"/>
                  <a:pt x="860" y="116"/>
                </a:cubicBezTo>
                <a:close/>
                <a:moveTo>
                  <a:pt x="849" y="110"/>
                </a:moveTo>
                <a:cubicBezTo>
                  <a:pt x="848" y="113"/>
                  <a:pt x="849" y="111"/>
                  <a:pt x="849" y="110"/>
                </a:cubicBezTo>
                <a:close/>
                <a:moveTo>
                  <a:pt x="845" y="105"/>
                </a:moveTo>
                <a:cubicBezTo>
                  <a:pt x="844" y="106"/>
                  <a:pt x="844" y="106"/>
                  <a:pt x="844" y="107"/>
                </a:cubicBezTo>
                <a:cubicBezTo>
                  <a:pt x="844" y="107"/>
                  <a:pt x="845" y="105"/>
                  <a:pt x="845" y="105"/>
                </a:cubicBezTo>
                <a:close/>
                <a:moveTo>
                  <a:pt x="844" y="105"/>
                </a:moveTo>
                <a:cubicBezTo>
                  <a:pt x="843" y="105"/>
                  <a:pt x="843" y="106"/>
                  <a:pt x="843" y="106"/>
                </a:cubicBezTo>
                <a:lnTo>
                  <a:pt x="844" y="105"/>
                </a:lnTo>
                <a:close/>
                <a:moveTo>
                  <a:pt x="836" y="101"/>
                </a:moveTo>
                <a:cubicBezTo>
                  <a:pt x="836" y="102"/>
                  <a:pt x="836" y="102"/>
                  <a:pt x="836" y="102"/>
                </a:cubicBezTo>
                <a:cubicBezTo>
                  <a:pt x="836" y="102"/>
                  <a:pt x="836" y="101"/>
                  <a:pt x="836" y="101"/>
                </a:cubicBezTo>
                <a:close/>
                <a:moveTo>
                  <a:pt x="838" y="98"/>
                </a:moveTo>
                <a:cubicBezTo>
                  <a:pt x="839" y="95"/>
                  <a:pt x="838" y="96"/>
                  <a:pt x="838" y="98"/>
                </a:cubicBezTo>
                <a:close/>
                <a:moveTo>
                  <a:pt x="828" y="135"/>
                </a:moveTo>
                <a:cubicBezTo>
                  <a:pt x="828" y="136"/>
                  <a:pt x="828" y="137"/>
                  <a:pt x="827" y="137"/>
                </a:cubicBezTo>
                <a:cubicBezTo>
                  <a:pt x="828" y="138"/>
                  <a:pt x="828" y="138"/>
                  <a:pt x="828" y="138"/>
                </a:cubicBezTo>
                <a:cubicBezTo>
                  <a:pt x="828" y="137"/>
                  <a:pt x="829" y="136"/>
                  <a:pt x="828" y="135"/>
                </a:cubicBezTo>
                <a:close/>
                <a:moveTo>
                  <a:pt x="846" y="121"/>
                </a:moveTo>
                <a:cubicBezTo>
                  <a:pt x="847" y="121"/>
                  <a:pt x="846" y="122"/>
                  <a:pt x="846" y="123"/>
                </a:cubicBezTo>
                <a:cubicBezTo>
                  <a:pt x="847" y="121"/>
                  <a:pt x="848" y="117"/>
                  <a:pt x="848" y="115"/>
                </a:cubicBezTo>
                <a:cubicBezTo>
                  <a:pt x="848" y="117"/>
                  <a:pt x="846" y="118"/>
                  <a:pt x="847" y="119"/>
                </a:cubicBezTo>
                <a:cubicBezTo>
                  <a:pt x="847" y="119"/>
                  <a:pt x="847" y="119"/>
                  <a:pt x="847" y="118"/>
                </a:cubicBezTo>
                <a:cubicBezTo>
                  <a:pt x="846" y="119"/>
                  <a:pt x="846" y="120"/>
                  <a:pt x="846" y="121"/>
                </a:cubicBezTo>
                <a:cubicBezTo>
                  <a:pt x="846" y="121"/>
                  <a:pt x="846" y="120"/>
                  <a:pt x="846" y="120"/>
                </a:cubicBezTo>
                <a:cubicBezTo>
                  <a:pt x="846" y="121"/>
                  <a:pt x="845" y="121"/>
                  <a:pt x="845" y="121"/>
                </a:cubicBezTo>
                <a:cubicBezTo>
                  <a:pt x="846" y="122"/>
                  <a:pt x="846" y="121"/>
                  <a:pt x="846" y="121"/>
                </a:cubicBezTo>
                <a:close/>
                <a:moveTo>
                  <a:pt x="860" y="122"/>
                </a:moveTo>
                <a:cubicBezTo>
                  <a:pt x="860" y="122"/>
                  <a:pt x="859" y="123"/>
                  <a:pt x="860" y="123"/>
                </a:cubicBezTo>
                <a:cubicBezTo>
                  <a:pt x="860" y="123"/>
                  <a:pt x="860" y="123"/>
                  <a:pt x="860" y="123"/>
                </a:cubicBezTo>
                <a:cubicBezTo>
                  <a:pt x="859" y="124"/>
                  <a:pt x="860" y="122"/>
                  <a:pt x="860" y="122"/>
                </a:cubicBezTo>
                <a:close/>
                <a:moveTo>
                  <a:pt x="861" y="115"/>
                </a:moveTo>
                <a:cubicBezTo>
                  <a:pt x="861" y="115"/>
                  <a:pt x="861" y="115"/>
                  <a:pt x="861" y="115"/>
                </a:cubicBezTo>
                <a:cubicBezTo>
                  <a:pt x="862" y="117"/>
                  <a:pt x="859" y="120"/>
                  <a:pt x="860" y="122"/>
                </a:cubicBezTo>
                <a:cubicBezTo>
                  <a:pt x="860" y="118"/>
                  <a:pt x="862" y="115"/>
                  <a:pt x="862" y="112"/>
                </a:cubicBezTo>
                <a:cubicBezTo>
                  <a:pt x="862" y="112"/>
                  <a:pt x="862" y="111"/>
                  <a:pt x="862" y="111"/>
                </a:cubicBezTo>
                <a:cubicBezTo>
                  <a:pt x="862" y="110"/>
                  <a:pt x="864" y="107"/>
                  <a:pt x="863" y="106"/>
                </a:cubicBezTo>
                <a:cubicBezTo>
                  <a:pt x="863" y="107"/>
                  <a:pt x="862" y="108"/>
                  <a:pt x="862" y="110"/>
                </a:cubicBezTo>
                <a:cubicBezTo>
                  <a:pt x="861" y="109"/>
                  <a:pt x="861" y="109"/>
                  <a:pt x="861" y="109"/>
                </a:cubicBezTo>
                <a:cubicBezTo>
                  <a:pt x="862" y="111"/>
                  <a:pt x="861" y="114"/>
                  <a:pt x="861" y="115"/>
                </a:cubicBezTo>
                <a:close/>
                <a:moveTo>
                  <a:pt x="842" y="104"/>
                </a:moveTo>
                <a:cubicBezTo>
                  <a:pt x="842" y="105"/>
                  <a:pt x="842" y="105"/>
                  <a:pt x="842" y="106"/>
                </a:cubicBezTo>
                <a:cubicBezTo>
                  <a:pt x="843" y="105"/>
                  <a:pt x="842" y="104"/>
                  <a:pt x="842" y="104"/>
                </a:cubicBezTo>
                <a:close/>
                <a:moveTo>
                  <a:pt x="707" y="252"/>
                </a:moveTo>
                <a:cubicBezTo>
                  <a:pt x="708" y="252"/>
                  <a:pt x="709" y="252"/>
                  <a:pt x="710" y="253"/>
                </a:cubicBezTo>
                <a:cubicBezTo>
                  <a:pt x="710" y="254"/>
                  <a:pt x="709" y="255"/>
                  <a:pt x="710" y="256"/>
                </a:cubicBezTo>
                <a:cubicBezTo>
                  <a:pt x="712" y="257"/>
                  <a:pt x="715" y="253"/>
                  <a:pt x="715" y="256"/>
                </a:cubicBezTo>
                <a:cubicBezTo>
                  <a:pt x="717" y="258"/>
                  <a:pt x="720" y="259"/>
                  <a:pt x="723" y="259"/>
                </a:cubicBezTo>
                <a:cubicBezTo>
                  <a:pt x="725" y="260"/>
                  <a:pt x="726" y="261"/>
                  <a:pt x="728" y="262"/>
                </a:cubicBezTo>
                <a:cubicBezTo>
                  <a:pt x="730" y="262"/>
                  <a:pt x="733" y="262"/>
                  <a:pt x="734" y="263"/>
                </a:cubicBezTo>
                <a:cubicBezTo>
                  <a:pt x="736" y="263"/>
                  <a:pt x="737" y="264"/>
                  <a:pt x="739" y="265"/>
                </a:cubicBezTo>
                <a:cubicBezTo>
                  <a:pt x="744" y="267"/>
                  <a:pt x="749" y="267"/>
                  <a:pt x="753" y="269"/>
                </a:cubicBezTo>
                <a:cubicBezTo>
                  <a:pt x="756" y="269"/>
                  <a:pt x="760" y="271"/>
                  <a:pt x="762" y="272"/>
                </a:cubicBezTo>
                <a:cubicBezTo>
                  <a:pt x="765" y="272"/>
                  <a:pt x="768" y="274"/>
                  <a:pt x="771" y="275"/>
                </a:cubicBezTo>
                <a:cubicBezTo>
                  <a:pt x="772" y="275"/>
                  <a:pt x="774" y="275"/>
                  <a:pt x="776" y="276"/>
                </a:cubicBezTo>
                <a:cubicBezTo>
                  <a:pt x="776" y="276"/>
                  <a:pt x="777" y="276"/>
                  <a:pt x="777" y="276"/>
                </a:cubicBezTo>
                <a:cubicBezTo>
                  <a:pt x="779" y="277"/>
                  <a:pt x="781" y="277"/>
                  <a:pt x="782" y="277"/>
                </a:cubicBezTo>
                <a:cubicBezTo>
                  <a:pt x="784" y="278"/>
                  <a:pt x="785" y="279"/>
                  <a:pt x="787" y="279"/>
                </a:cubicBezTo>
                <a:cubicBezTo>
                  <a:pt x="789" y="280"/>
                  <a:pt x="792" y="281"/>
                  <a:pt x="795" y="281"/>
                </a:cubicBezTo>
                <a:cubicBezTo>
                  <a:pt x="796" y="282"/>
                  <a:pt x="798" y="282"/>
                  <a:pt x="799" y="282"/>
                </a:cubicBezTo>
                <a:cubicBezTo>
                  <a:pt x="800" y="283"/>
                  <a:pt x="800" y="283"/>
                  <a:pt x="801" y="283"/>
                </a:cubicBezTo>
                <a:cubicBezTo>
                  <a:pt x="802" y="283"/>
                  <a:pt x="802" y="283"/>
                  <a:pt x="802" y="283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4" y="285"/>
                  <a:pt x="805" y="284"/>
                  <a:pt x="806" y="285"/>
                </a:cubicBezTo>
                <a:cubicBezTo>
                  <a:pt x="807" y="285"/>
                  <a:pt x="808" y="286"/>
                  <a:pt x="809" y="287"/>
                </a:cubicBezTo>
                <a:cubicBezTo>
                  <a:pt x="810" y="286"/>
                  <a:pt x="811" y="287"/>
                  <a:pt x="812" y="288"/>
                </a:cubicBezTo>
                <a:cubicBezTo>
                  <a:pt x="813" y="288"/>
                  <a:pt x="813" y="288"/>
                  <a:pt x="813" y="288"/>
                </a:cubicBezTo>
                <a:cubicBezTo>
                  <a:pt x="813" y="288"/>
                  <a:pt x="813" y="287"/>
                  <a:pt x="813" y="287"/>
                </a:cubicBezTo>
                <a:cubicBezTo>
                  <a:pt x="813" y="287"/>
                  <a:pt x="813" y="287"/>
                  <a:pt x="813" y="286"/>
                </a:cubicBezTo>
                <a:cubicBezTo>
                  <a:pt x="813" y="286"/>
                  <a:pt x="813" y="286"/>
                  <a:pt x="813" y="286"/>
                </a:cubicBezTo>
                <a:cubicBezTo>
                  <a:pt x="813" y="285"/>
                  <a:pt x="813" y="285"/>
                  <a:pt x="813" y="284"/>
                </a:cubicBezTo>
                <a:cubicBezTo>
                  <a:pt x="813" y="282"/>
                  <a:pt x="813" y="282"/>
                  <a:pt x="813" y="282"/>
                </a:cubicBezTo>
                <a:cubicBezTo>
                  <a:pt x="813" y="282"/>
                  <a:pt x="812" y="281"/>
                  <a:pt x="812" y="280"/>
                </a:cubicBezTo>
                <a:cubicBezTo>
                  <a:pt x="812" y="280"/>
                  <a:pt x="813" y="280"/>
                  <a:pt x="813" y="279"/>
                </a:cubicBezTo>
                <a:cubicBezTo>
                  <a:pt x="813" y="279"/>
                  <a:pt x="812" y="279"/>
                  <a:pt x="812" y="279"/>
                </a:cubicBezTo>
                <a:cubicBezTo>
                  <a:pt x="812" y="278"/>
                  <a:pt x="812" y="278"/>
                  <a:pt x="812" y="278"/>
                </a:cubicBezTo>
                <a:cubicBezTo>
                  <a:pt x="812" y="277"/>
                  <a:pt x="812" y="277"/>
                  <a:pt x="812" y="277"/>
                </a:cubicBezTo>
                <a:cubicBezTo>
                  <a:pt x="812" y="276"/>
                  <a:pt x="812" y="276"/>
                  <a:pt x="812" y="275"/>
                </a:cubicBezTo>
                <a:cubicBezTo>
                  <a:pt x="813" y="270"/>
                  <a:pt x="813" y="265"/>
                  <a:pt x="813" y="259"/>
                </a:cubicBezTo>
                <a:cubicBezTo>
                  <a:pt x="813" y="254"/>
                  <a:pt x="813" y="250"/>
                  <a:pt x="813" y="245"/>
                </a:cubicBezTo>
                <a:cubicBezTo>
                  <a:pt x="815" y="226"/>
                  <a:pt x="815" y="226"/>
                  <a:pt x="815" y="226"/>
                </a:cubicBezTo>
                <a:cubicBezTo>
                  <a:pt x="815" y="219"/>
                  <a:pt x="816" y="212"/>
                  <a:pt x="817" y="206"/>
                </a:cubicBezTo>
                <a:cubicBezTo>
                  <a:pt x="817" y="206"/>
                  <a:pt x="818" y="205"/>
                  <a:pt x="818" y="205"/>
                </a:cubicBezTo>
                <a:cubicBezTo>
                  <a:pt x="818" y="204"/>
                  <a:pt x="817" y="204"/>
                  <a:pt x="818" y="204"/>
                </a:cubicBezTo>
                <a:cubicBezTo>
                  <a:pt x="818" y="203"/>
                  <a:pt x="818" y="203"/>
                  <a:pt x="818" y="203"/>
                </a:cubicBezTo>
                <a:cubicBezTo>
                  <a:pt x="819" y="197"/>
                  <a:pt x="820" y="192"/>
                  <a:pt x="822" y="186"/>
                </a:cubicBezTo>
                <a:cubicBezTo>
                  <a:pt x="822" y="185"/>
                  <a:pt x="822" y="186"/>
                  <a:pt x="822" y="186"/>
                </a:cubicBezTo>
                <a:cubicBezTo>
                  <a:pt x="823" y="183"/>
                  <a:pt x="824" y="178"/>
                  <a:pt x="825" y="175"/>
                </a:cubicBezTo>
                <a:cubicBezTo>
                  <a:pt x="825" y="173"/>
                  <a:pt x="825" y="171"/>
                  <a:pt x="826" y="170"/>
                </a:cubicBezTo>
                <a:cubicBezTo>
                  <a:pt x="826" y="169"/>
                  <a:pt x="825" y="169"/>
                  <a:pt x="825" y="169"/>
                </a:cubicBezTo>
                <a:cubicBezTo>
                  <a:pt x="826" y="169"/>
                  <a:pt x="826" y="169"/>
                  <a:pt x="826" y="169"/>
                </a:cubicBezTo>
                <a:cubicBezTo>
                  <a:pt x="826" y="167"/>
                  <a:pt x="826" y="167"/>
                  <a:pt x="826" y="167"/>
                </a:cubicBezTo>
                <a:cubicBezTo>
                  <a:pt x="827" y="164"/>
                  <a:pt x="828" y="160"/>
                  <a:pt x="829" y="156"/>
                </a:cubicBezTo>
                <a:cubicBezTo>
                  <a:pt x="829" y="155"/>
                  <a:pt x="829" y="155"/>
                  <a:pt x="829" y="154"/>
                </a:cubicBezTo>
                <a:cubicBezTo>
                  <a:pt x="830" y="154"/>
                  <a:pt x="830" y="154"/>
                  <a:pt x="829" y="153"/>
                </a:cubicBezTo>
                <a:cubicBezTo>
                  <a:pt x="829" y="153"/>
                  <a:pt x="830" y="151"/>
                  <a:pt x="830" y="152"/>
                </a:cubicBezTo>
                <a:cubicBezTo>
                  <a:pt x="830" y="151"/>
                  <a:pt x="830" y="152"/>
                  <a:pt x="830" y="152"/>
                </a:cubicBezTo>
                <a:cubicBezTo>
                  <a:pt x="831" y="151"/>
                  <a:pt x="831" y="149"/>
                  <a:pt x="831" y="147"/>
                </a:cubicBezTo>
                <a:cubicBezTo>
                  <a:pt x="831" y="146"/>
                  <a:pt x="832" y="144"/>
                  <a:pt x="833" y="142"/>
                </a:cubicBezTo>
                <a:cubicBezTo>
                  <a:pt x="833" y="144"/>
                  <a:pt x="833" y="146"/>
                  <a:pt x="835" y="147"/>
                </a:cubicBezTo>
                <a:cubicBezTo>
                  <a:pt x="836" y="145"/>
                  <a:pt x="836" y="141"/>
                  <a:pt x="837" y="140"/>
                </a:cubicBezTo>
                <a:cubicBezTo>
                  <a:pt x="838" y="135"/>
                  <a:pt x="839" y="130"/>
                  <a:pt x="840" y="125"/>
                </a:cubicBezTo>
                <a:cubicBezTo>
                  <a:pt x="840" y="124"/>
                  <a:pt x="840" y="124"/>
                  <a:pt x="840" y="124"/>
                </a:cubicBezTo>
                <a:cubicBezTo>
                  <a:pt x="842" y="119"/>
                  <a:pt x="842" y="114"/>
                  <a:pt x="844" y="108"/>
                </a:cubicBezTo>
                <a:cubicBezTo>
                  <a:pt x="842" y="119"/>
                  <a:pt x="839" y="128"/>
                  <a:pt x="838" y="138"/>
                </a:cubicBezTo>
                <a:cubicBezTo>
                  <a:pt x="837" y="140"/>
                  <a:pt x="836" y="146"/>
                  <a:pt x="835" y="150"/>
                </a:cubicBezTo>
                <a:cubicBezTo>
                  <a:pt x="835" y="152"/>
                  <a:pt x="836" y="153"/>
                  <a:pt x="838" y="152"/>
                </a:cubicBezTo>
                <a:cubicBezTo>
                  <a:pt x="840" y="150"/>
                  <a:pt x="839" y="147"/>
                  <a:pt x="840" y="145"/>
                </a:cubicBezTo>
                <a:cubicBezTo>
                  <a:pt x="841" y="145"/>
                  <a:pt x="841" y="144"/>
                  <a:pt x="842" y="145"/>
                </a:cubicBezTo>
                <a:cubicBezTo>
                  <a:pt x="842" y="150"/>
                  <a:pt x="840" y="156"/>
                  <a:pt x="840" y="160"/>
                </a:cubicBezTo>
                <a:cubicBezTo>
                  <a:pt x="840" y="161"/>
                  <a:pt x="840" y="162"/>
                  <a:pt x="840" y="163"/>
                </a:cubicBezTo>
                <a:cubicBezTo>
                  <a:pt x="840" y="163"/>
                  <a:pt x="840" y="164"/>
                  <a:pt x="841" y="164"/>
                </a:cubicBezTo>
                <a:cubicBezTo>
                  <a:pt x="841" y="164"/>
                  <a:pt x="841" y="164"/>
                  <a:pt x="842" y="164"/>
                </a:cubicBezTo>
                <a:cubicBezTo>
                  <a:pt x="842" y="159"/>
                  <a:pt x="846" y="156"/>
                  <a:pt x="846" y="151"/>
                </a:cubicBezTo>
                <a:cubicBezTo>
                  <a:pt x="847" y="150"/>
                  <a:pt x="848" y="149"/>
                  <a:pt x="849" y="149"/>
                </a:cubicBezTo>
                <a:cubicBezTo>
                  <a:pt x="849" y="147"/>
                  <a:pt x="850" y="145"/>
                  <a:pt x="850" y="143"/>
                </a:cubicBezTo>
                <a:cubicBezTo>
                  <a:pt x="850" y="142"/>
                  <a:pt x="850" y="142"/>
                  <a:pt x="850" y="142"/>
                </a:cubicBezTo>
                <a:cubicBezTo>
                  <a:pt x="851" y="137"/>
                  <a:pt x="851" y="133"/>
                  <a:pt x="853" y="129"/>
                </a:cubicBezTo>
                <a:cubicBezTo>
                  <a:pt x="853" y="133"/>
                  <a:pt x="852" y="136"/>
                  <a:pt x="851" y="140"/>
                </a:cubicBezTo>
                <a:cubicBezTo>
                  <a:pt x="851" y="140"/>
                  <a:pt x="852" y="141"/>
                  <a:pt x="852" y="141"/>
                </a:cubicBezTo>
                <a:cubicBezTo>
                  <a:pt x="851" y="144"/>
                  <a:pt x="850" y="149"/>
                  <a:pt x="849" y="152"/>
                </a:cubicBezTo>
                <a:cubicBezTo>
                  <a:pt x="850" y="153"/>
                  <a:pt x="851" y="153"/>
                  <a:pt x="851" y="152"/>
                </a:cubicBezTo>
                <a:cubicBezTo>
                  <a:pt x="851" y="152"/>
                  <a:pt x="851" y="153"/>
                  <a:pt x="851" y="153"/>
                </a:cubicBezTo>
                <a:cubicBezTo>
                  <a:pt x="851" y="153"/>
                  <a:pt x="851" y="153"/>
                  <a:pt x="852" y="153"/>
                </a:cubicBezTo>
                <a:cubicBezTo>
                  <a:pt x="851" y="155"/>
                  <a:pt x="851" y="155"/>
                  <a:pt x="851" y="157"/>
                </a:cubicBezTo>
                <a:cubicBezTo>
                  <a:pt x="851" y="158"/>
                  <a:pt x="851" y="158"/>
                  <a:pt x="852" y="158"/>
                </a:cubicBezTo>
                <a:cubicBezTo>
                  <a:pt x="852" y="156"/>
                  <a:pt x="853" y="155"/>
                  <a:pt x="853" y="153"/>
                </a:cubicBezTo>
                <a:cubicBezTo>
                  <a:pt x="853" y="152"/>
                  <a:pt x="853" y="151"/>
                  <a:pt x="853" y="151"/>
                </a:cubicBezTo>
                <a:cubicBezTo>
                  <a:pt x="853" y="150"/>
                  <a:pt x="853" y="150"/>
                  <a:pt x="854" y="150"/>
                </a:cubicBezTo>
                <a:cubicBezTo>
                  <a:pt x="854" y="149"/>
                  <a:pt x="853" y="149"/>
                  <a:pt x="853" y="148"/>
                </a:cubicBezTo>
                <a:cubicBezTo>
                  <a:pt x="853" y="148"/>
                  <a:pt x="854" y="148"/>
                  <a:pt x="854" y="147"/>
                </a:cubicBezTo>
                <a:cubicBezTo>
                  <a:pt x="855" y="145"/>
                  <a:pt x="854" y="143"/>
                  <a:pt x="855" y="141"/>
                </a:cubicBezTo>
                <a:cubicBezTo>
                  <a:pt x="855" y="140"/>
                  <a:pt x="856" y="139"/>
                  <a:pt x="857" y="137"/>
                </a:cubicBezTo>
                <a:cubicBezTo>
                  <a:pt x="857" y="138"/>
                  <a:pt x="856" y="139"/>
                  <a:pt x="856" y="140"/>
                </a:cubicBezTo>
                <a:cubicBezTo>
                  <a:pt x="855" y="144"/>
                  <a:pt x="856" y="148"/>
                  <a:pt x="855" y="151"/>
                </a:cubicBezTo>
                <a:cubicBezTo>
                  <a:pt x="856" y="152"/>
                  <a:pt x="856" y="151"/>
                  <a:pt x="857" y="151"/>
                </a:cubicBezTo>
                <a:cubicBezTo>
                  <a:pt x="857" y="150"/>
                  <a:pt x="857" y="149"/>
                  <a:pt x="857" y="148"/>
                </a:cubicBezTo>
                <a:cubicBezTo>
                  <a:pt x="857" y="148"/>
                  <a:pt x="857" y="149"/>
                  <a:pt x="857" y="148"/>
                </a:cubicBezTo>
                <a:cubicBezTo>
                  <a:pt x="857" y="146"/>
                  <a:pt x="857" y="144"/>
                  <a:pt x="858" y="141"/>
                </a:cubicBezTo>
                <a:cubicBezTo>
                  <a:pt x="858" y="141"/>
                  <a:pt x="858" y="140"/>
                  <a:pt x="859" y="141"/>
                </a:cubicBezTo>
                <a:cubicBezTo>
                  <a:pt x="859" y="140"/>
                  <a:pt x="859" y="140"/>
                  <a:pt x="860" y="140"/>
                </a:cubicBezTo>
                <a:cubicBezTo>
                  <a:pt x="860" y="139"/>
                  <a:pt x="859" y="140"/>
                  <a:pt x="859" y="140"/>
                </a:cubicBezTo>
                <a:cubicBezTo>
                  <a:pt x="860" y="139"/>
                  <a:pt x="859" y="138"/>
                  <a:pt x="860" y="138"/>
                </a:cubicBezTo>
                <a:cubicBezTo>
                  <a:pt x="860" y="134"/>
                  <a:pt x="861" y="132"/>
                  <a:pt x="861" y="128"/>
                </a:cubicBezTo>
                <a:cubicBezTo>
                  <a:pt x="861" y="131"/>
                  <a:pt x="861" y="134"/>
                  <a:pt x="860" y="137"/>
                </a:cubicBezTo>
                <a:cubicBezTo>
                  <a:pt x="860" y="138"/>
                  <a:pt x="861" y="137"/>
                  <a:pt x="861" y="138"/>
                </a:cubicBezTo>
                <a:cubicBezTo>
                  <a:pt x="861" y="139"/>
                  <a:pt x="860" y="139"/>
                  <a:pt x="860" y="140"/>
                </a:cubicBezTo>
                <a:cubicBezTo>
                  <a:pt x="860" y="141"/>
                  <a:pt x="860" y="142"/>
                  <a:pt x="860" y="143"/>
                </a:cubicBezTo>
                <a:cubicBezTo>
                  <a:pt x="860" y="144"/>
                  <a:pt x="859" y="145"/>
                  <a:pt x="859" y="146"/>
                </a:cubicBezTo>
                <a:cubicBezTo>
                  <a:pt x="860" y="147"/>
                  <a:pt x="860" y="148"/>
                  <a:pt x="860" y="149"/>
                </a:cubicBezTo>
                <a:cubicBezTo>
                  <a:pt x="860" y="150"/>
                  <a:pt x="860" y="149"/>
                  <a:pt x="860" y="150"/>
                </a:cubicBezTo>
                <a:cubicBezTo>
                  <a:pt x="861" y="151"/>
                  <a:pt x="861" y="150"/>
                  <a:pt x="862" y="150"/>
                </a:cubicBezTo>
                <a:cubicBezTo>
                  <a:pt x="862" y="151"/>
                  <a:pt x="861" y="150"/>
                  <a:pt x="861" y="151"/>
                </a:cubicBezTo>
                <a:cubicBezTo>
                  <a:pt x="861" y="151"/>
                  <a:pt x="861" y="152"/>
                  <a:pt x="862" y="152"/>
                </a:cubicBezTo>
                <a:cubicBezTo>
                  <a:pt x="861" y="154"/>
                  <a:pt x="861" y="155"/>
                  <a:pt x="861" y="157"/>
                </a:cubicBezTo>
                <a:cubicBezTo>
                  <a:pt x="861" y="157"/>
                  <a:pt x="861" y="156"/>
                  <a:pt x="861" y="157"/>
                </a:cubicBezTo>
                <a:cubicBezTo>
                  <a:pt x="861" y="157"/>
                  <a:pt x="861" y="160"/>
                  <a:pt x="861" y="160"/>
                </a:cubicBezTo>
                <a:cubicBezTo>
                  <a:pt x="861" y="162"/>
                  <a:pt x="861" y="163"/>
                  <a:pt x="860" y="165"/>
                </a:cubicBezTo>
                <a:cubicBezTo>
                  <a:pt x="860" y="166"/>
                  <a:pt x="861" y="165"/>
                  <a:pt x="861" y="166"/>
                </a:cubicBezTo>
                <a:cubicBezTo>
                  <a:pt x="861" y="167"/>
                  <a:pt x="861" y="168"/>
                  <a:pt x="860" y="169"/>
                </a:cubicBezTo>
                <a:cubicBezTo>
                  <a:pt x="861" y="170"/>
                  <a:pt x="861" y="172"/>
                  <a:pt x="860" y="173"/>
                </a:cubicBezTo>
                <a:cubicBezTo>
                  <a:pt x="861" y="173"/>
                  <a:pt x="861" y="172"/>
                  <a:pt x="862" y="172"/>
                </a:cubicBezTo>
                <a:cubicBezTo>
                  <a:pt x="862" y="172"/>
                  <a:pt x="861" y="173"/>
                  <a:pt x="861" y="174"/>
                </a:cubicBezTo>
                <a:cubicBezTo>
                  <a:pt x="861" y="178"/>
                  <a:pt x="862" y="181"/>
                  <a:pt x="861" y="186"/>
                </a:cubicBezTo>
                <a:cubicBezTo>
                  <a:pt x="861" y="187"/>
                  <a:pt x="862" y="187"/>
                  <a:pt x="861" y="188"/>
                </a:cubicBezTo>
                <a:cubicBezTo>
                  <a:pt x="861" y="188"/>
                  <a:pt x="862" y="188"/>
                  <a:pt x="862" y="188"/>
                </a:cubicBezTo>
                <a:cubicBezTo>
                  <a:pt x="862" y="190"/>
                  <a:pt x="860" y="196"/>
                  <a:pt x="862" y="198"/>
                </a:cubicBezTo>
                <a:cubicBezTo>
                  <a:pt x="861" y="198"/>
                  <a:pt x="861" y="197"/>
                  <a:pt x="861" y="198"/>
                </a:cubicBezTo>
                <a:cubicBezTo>
                  <a:pt x="861" y="199"/>
                  <a:pt x="860" y="200"/>
                  <a:pt x="861" y="201"/>
                </a:cubicBezTo>
                <a:cubicBezTo>
                  <a:pt x="861" y="204"/>
                  <a:pt x="860" y="206"/>
                  <a:pt x="861" y="208"/>
                </a:cubicBezTo>
                <a:cubicBezTo>
                  <a:pt x="860" y="209"/>
                  <a:pt x="860" y="210"/>
                  <a:pt x="860" y="210"/>
                </a:cubicBezTo>
                <a:cubicBezTo>
                  <a:pt x="860" y="211"/>
                  <a:pt x="860" y="213"/>
                  <a:pt x="860" y="214"/>
                </a:cubicBezTo>
                <a:cubicBezTo>
                  <a:pt x="859" y="231"/>
                  <a:pt x="857" y="248"/>
                  <a:pt x="857" y="264"/>
                </a:cubicBezTo>
                <a:cubicBezTo>
                  <a:pt x="856" y="268"/>
                  <a:pt x="857" y="273"/>
                  <a:pt x="857" y="277"/>
                </a:cubicBezTo>
                <a:cubicBezTo>
                  <a:pt x="857" y="277"/>
                  <a:pt x="857" y="277"/>
                  <a:pt x="857" y="278"/>
                </a:cubicBezTo>
                <a:cubicBezTo>
                  <a:pt x="857" y="279"/>
                  <a:pt x="857" y="279"/>
                  <a:pt x="857" y="279"/>
                </a:cubicBezTo>
                <a:cubicBezTo>
                  <a:pt x="857" y="280"/>
                  <a:pt x="857" y="281"/>
                  <a:pt x="857" y="282"/>
                </a:cubicBezTo>
                <a:cubicBezTo>
                  <a:pt x="857" y="291"/>
                  <a:pt x="857" y="302"/>
                  <a:pt x="859" y="311"/>
                </a:cubicBezTo>
                <a:cubicBezTo>
                  <a:pt x="858" y="317"/>
                  <a:pt x="860" y="324"/>
                  <a:pt x="860" y="331"/>
                </a:cubicBezTo>
                <a:cubicBezTo>
                  <a:pt x="860" y="334"/>
                  <a:pt x="860" y="336"/>
                  <a:pt x="860" y="339"/>
                </a:cubicBezTo>
                <a:cubicBezTo>
                  <a:pt x="861" y="340"/>
                  <a:pt x="861" y="342"/>
                  <a:pt x="861" y="343"/>
                </a:cubicBezTo>
                <a:cubicBezTo>
                  <a:pt x="861" y="345"/>
                  <a:pt x="861" y="347"/>
                  <a:pt x="861" y="349"/>
                </a:cubicBezTo>
                <a:cubicBezTo>
                  <a:pt x="861" y="350"/>
                  <a:pt x="861" y="350"/>
                  <a:pt x="861" y="350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0" y="350"/>
                  <a:pt x="860" y="350"/>
                </a:cubicBezTo>
                <a:cubicBezTo>
                  <a:pt x="859" y="350"/>
                  <a:pt x="858" y="350"/>
                  <a:pt x="857" y="349"/>
                </a:cubicBezTo>
                <a:cubicBezTo>
                  <a:pt x="854" y="349"/>
                  <a:pt x="853" y="349"/>
                  <a:pt x="851" y="348"/>
                </a:cubicBezTo>
                <a:cubicBezTo>
                  <a:pt x="843" y="346"/>
                  <a:pt x="834" y="342"/>
                  <a:pt x="826" y="340"/>
                </a:cubicBezTo>
                <a:cubicBezTo>
                  <a:pt x="824" y="340"/>
                  <a:pt x="821" y="338"/>
                  <a:pt x="819" y="338"/>
                </a:cubicBezTo>
                <a:cubicBezTo>
                  <a:pt x="818" y="338"/>
                  <a:pt x="817" y="338"/>
                  <a:pt x="816" y="337"/>
                </a:cubicBezTo>
                <a:cubicBezTo>
                  <a:pt x="812" y="336"/>
                  <a:pt x="807" y="334"/>
                  <a:pt x="803" y="334"/>
                </a:cubicBezTo>
                <a:cubicBezTo>
                  <a:pt x="801" y="333"/>
                  <a:pt x="799" y="332"/>
                  <a:pt x="797" y="331"/>
                </a:cubicBezTo>
                <a:cubicBezTo>
                  <a:pt x="794" y="331"/>
                  <a:pt x="792" y="330"/>
                  <a:pt x="790" y="330"/>
                </a:cubicBezTo>
                <a:cubicBezTo>
                  <a:pt x="789" y="329"/>
                  <a:pt x="788" y="329"/>
                  <a:pt x="788" y="329"/>
                </a:cubicBezTo>
                <a:cubicBezTo>
                  <a:pt x="787" y="329"/>
                  <a:pt x="787" y="329"/>
                  <a:pt x="786" y="328"/>
                </a:cubicBezTo>
                <a:cubicBezTo>
                  <a:pt x="783" y="328"/>
                  <a:pt x="779" y="327"/>
                  <a:pt x="776" y="325"/>
                </a:cubicBezTo>
                <a:cubicBezTo>
                  <a:pt x="775" y="325"/>
                  <a:pt x="775" y="325"/>
                  <a:pt x="775" y="326"/>
                </a:cubicBezTo>
                <a:cubicBezTo>
                  <a:pt x="773" y="324"/>
                  <a:pt x="770" y="325"/>
                  <a:pt x="768" y="324"/>
                </a:cubicBezTo>
                <a:cubicBezTo>
                  <a:pt x="767" y="324"/>
                  <a:pt x="767" y="324"/>
                  <a:pt x="767" y="324"/>
                </a:cubicBezTo>
                <a:cubicBezTo>
                  <a:pt x="766" y="323"/>
                  <a:pt x="765" y="323"/>
                  <a:pt x="763" y="323"/>
                </a:cubicBezTo>
                <a:cubicBezTo>
                  <a:pt x="759" y="321"/>
                  <a:pt x="755" y="321"/>
                  <a:pt x="751" y="319"/>
                </a:cubicBezTo>
                <a:cubicBezTo>
                  <a:pt x="749" y="320"/>
                  <a:pt x="746" y="319"/>
                  <a:pt x="744" y="318"/>
                </a:cubicBezTo>
                <a:cubicBezTo>
                  <a:pt x="743" y="318"/>
                  <a:pt x="743" y="319"/>
                  <a:pt x="742" y="318"/>
                </a:cubicBezTo>
                <a:cubicBezTo>
                  <a:pt x="741" y="318"/>
                  <a:pt x="741" y="318"/>
                  <a:pt x="741" y="318"/>
                </a:cubicBezTo>
                <a:cubicBezTo>
                  <a:pt x="740" y="318"/>
                  <a:pt x="740" y="318"/>
                  <a:pt x="739" y="318"/>
                </a:cubicBezTo>
                <a:cubicBezTo>
                  <a:pt x="738" y="317"/>
                  <a:pt x="738" y="317"/>
                  <a:pt x="737" y="316"/>
                </a:cubicBezTo>
                <a:cubicBezTo>
                  <a:pt x="736" y="316"/>
                  <a:pt x="736" y="317"/>
                  <a:pt x="735" y="316"/>
                </a:cubicBezTo>
                <a:cubicBezTo>
                  <a:pt x="734" y="316"/>
                  <a:pt x="733" y="315"/>
                  <a:pt x="733" y="315"/>
                </a:cubicBezTo>
                <a:cubicBezTo>
                  <a:pt x="731" y="315"/>
                  <a:pt x="729" y="316"/>
                  <a:pt x="727" y="314"/>
                </a:cubicBezTo>
                <a:cubicBezTo>
                  <a:pt x="725" y="314"/>
                  <a:pt x="724" y="313"/>
                  <a:pt x="722" y="313"/>
                </a:cubicBezTo>
                <a:cubicBezTo>
                  <a:pt x="721" y="313"/>
                  <a:pt x="720" y="313"/>
                  <a:pt x="719" y="313"/>
                </a:cubicBezTo>
                <a:cubicBezTo>
                  <a:pt x="718" y="313"/>
                  <a:pt x="718" y="313"/>
                  <a:pt x="717" y="313"/>
                </a:cubicBezTo>
                <a:cubicBezTo>
                  <a:pt x="715" y="312"/>
                  <a:pt x="713" y="313"/>
                  <a:pt x="711" y="311"/>
                </a:cubicBezTo>
                <a:cubicBezTo>
                  <a:pt x="708" y="312"/>
                  <a:pt x="703" y="309"/>
                  <a:pt x="701" y="311"/>
                </a:cubicBezTo>
                <a:cubicBezTo>
                  <a:pt x="701" y="312"/>
                  <a:pt x="700" y="313"/>
                  <a:pt x="699" y="313"/>
                </a:cubicBezTo>
                <a:cubicBezTo>
                  <a:pt x="698" y="313"/>
                  <a:pt x="698" y="312"/>
                  <a:pt x="697" y="311"/>
                </a:cubicBezTo>
                <a:cubicBezTo>
                  <a:pt x="696" y="311"/>
                  <a:pt x="693" y="310"/>
                  <a:pt x="692" y="310"/>
                </a:cubicBezTo>
                <a:cubicBezTo>
                  <a:pt x="691" y="310"/>
                  <a:pt x="691" y="311"/>
                  <a:pt x="690" y="311"/>
                </a:cubicBezTo>
                <a:cubicBezTo>
                  <a:pt x="689" y="311"/>
                  <a:pt x="688" y="309"/>
                  <a:pt x="687" y="309"/>
                </a:cubicBezTo>
                <a:cubicBezTo>
                  <a:pt x="686" y="309"/>
                  <a:pt x="685" y="310"/>
                  <a:pt x="684" y="310"/>
                </a:cubicBezTo>
                <a:cubicBezTo>
                  <a:pt x="683" y="309"/>
                  <a:pt x="682" y="308"/>
                  <a:pt x="682" y="307"/>
                </a:cubicBezTo>
                <a:cubicBezTo>
                  <a:pt x="682" y="307"/>
                  <a:pt x="682" y="307"/>
                  <a:pt x="681" y="307"/>
                </a:cubicBezTo>
                <a:cubicBezTo>
                  <a:pt x="680" y="305"/>
                  <a:pt x="677" y="304"/>
                  <a:pt x="674" y="304"/>
                </a:cubicBezTo>
                <a:cubicBezTo>
                  <a:pt x="674" y="303"/>
                  <a:pt x="673" y="303"/>
                  <a:pt x="673" y="303"/>
                </a:cubicBezTo>
                <a:cubicBezTo>
                  <a:pt x="670" y="302"/>
                  <a:pt x="668" y="299"/>
                  <a:pt x="666" y="296"/>
                </a:cubicBezTo>
                <a:cubicBezTo>
                  <a:pt x="666" y="296"/>
                  <a:pt x="665" y="296"/>
                  <a:pt x="665" y="295"/>
                </a:cubicBezTo>
                <a:cubicBezTo>
                  <a:pt x="664" y="294"/>
                  <a:pt x="664" y="293"/>
                  <a:pt x="663" y="292"/>
                </a:cubicBezTo>
                <a:cubicBezTo>
                  <a:pt x="663" y="291"/>
                  <a:pt x="662" y="291"/>
                  <a:pt x="662" y="290"/>
                </a:cubicBezTo>
                <a:cubicBezTo>
                  <a:pt x="662" y="288"/>
                  <a:pt x="661" y="287"/>
                  <a:pt x="660" y="286"/>
                </a:cubicBezTo>
                <a:cubicBezTo>
                  <a:pt x="660" y="285"/>
                  <a:pt x="659" y="284"/>
                  <a:pt x="659" y="283"/>
                </a:cubicBezTo>
                <a:cubicBezTo>
                  <a:pt x="658" y="281"/>
                  <a:pt x="659" y="279"/>
                  <a:pt x="658" y="277"/>
                </a:cubicBezTo>
                <a:cubicBezTo>
                  <a:pt x="659" y="274"/>
                  <a:pt x="659" y="271"/>
                  <a:pt x="660" y="267"/>
                </a:cubicBezTo>
                <a:cubicBezTo>
                  <a:pt x="660" y="267"/>
                  <a:pt x="659" y="267"/>
                  <a:pt x="660" y="266"/>
                </a:cubicBezTo>
                <a:cubicBezTo>
                  <a:pt x="661" y="265"/>
                  <a:pt x="661" y="263"/>
                  <a:pt x="662" y="261"/>
                </a:cubicBezTo>
                <a:cubicBezTo>
                  <a:pt x="663" y="261"/>
                  <a:pt x="663" y="260"/>
                  <a:pt x="664" y="260"/>
                </a:cubicBezTo>
                <a:cubicBezTo>
                  <a:pt x="665" y="259"/>
                  <a:pt x="665" y="258"/>
                  <a:pt x="666" y="257"/>
                </a:cubicBezTo>
                <a:cubicBezTo>
                  <a:pt x="670" y="256"/>
                  <a:pt x="673" y="253"/>
                  <a:pt x="677" y="251"/>
                </a:cubicBezTo>
                <a:cubicBezTo>
                  <a:pt x="677" y="251"/>
                  <a:pt x="678" y="251"/>
                  <a:pt x="678" y="251"/>
                </a:cubicBezTo>
                <a:cubicBezTo>
                  <a:pt x="680" y="250"/>
                  <a:pt x="682" y="250"/>
                  <a:pt x="684" y="249"/>
                </a:cubicBezTo>
                <a:cubicBezTo>
                  <a:pt x="685" y="248"/>
                  <a:pt x="687" y="249"/>
                  <a:pt x="689" y="249"/>
                </a:cubicBezTo>
                <a:cubicBezTo>
                  <a:pt x="690" y="249"/>
                  <a:pt x="690" y="248"/>
                  <a:pt x="692" y="249"/>
                </a:cubicBezTo>
                <a:cubicBezTo>
                  <a:pt x="693" y="249"/>
                  <a:pt x="695" y="248"/>
                  <a:pt x="696" y="248"/>
                </a:cubicBezTo>
                <a:cubicBezTo>
                  <a:pt x="698" y="248"/>
                  <a:pt x="700" y="249"/>
                  <a:pt x="701" y="250"/>
                </a:cubicBezTo>
                <a:cubicBezTo>
                  <a:pt x="702" y="250"/>
                  <a:pt x="703" y="249"/>
                  <a:pt x="704" y="250"/>
                </a:cubicBezTo>
                <a:cubicBezTo>
                  <a:pt x="705" y="250"/>
                  <a:pt x="706" y="252"/>
                  <a:pt x="707" y="252"/>
                </a:cubicBezTo>
                <a:close/>
                <a:moveTo>
                  <a:pt x="858" y="156"/>
                </a:moveTo>
                <a:cubicBezTo>
                  <a:pt x="858" y="156"/>
                  <a:pt x="858" y="156"/>
                  <a:pt x="858" y="156"/>
                </a:cubicBezTo>
                <a:cubicBezTo>
                  <a:pt x="858" y="157"/>
                  <a:pt x="859" y="156"/>
                  <a:pt x="858" y="156"/>
                </a:cubicBezTo>
                <a:close/>
                <a:moveTo>
                  <a:pt x="859" y="156"/>
                </a:moveTo>
                <a:cubicBezTo>
                  <a:pt x="860" y="155"/>
                  <a:pt x="859" y="154"/>
                  <a:pt x="860" y="152"/>
                </a:cubicBezTo>
                <a:cubicBezTo>
                  <a:pt x="859" y="152"/>
                  <a:pt x="859" y="152"/>
                  <a:pt x="860" y="151"/>
                </a:cubicBezTo>
                <a:cubicBezTo>
                  <a:pt x="859" y="150"/>
                  <a:pt x="860" y="148"/>
                  <a:pt x="858" y="148"/>
                </a:cubicBezTo>
                <a:cubicBezTo>
                  <a:pt x="858" y="149"/>
                  <a:pt x="858" y="150"/>
                  <a:pt x="857" y="151"/>
                </a:cubicBezTo>
                <a:cubicBezTo>
                  <a:pt x="857" y="151"/>
                  <a:pt x="858" y="151"/>
                  <a:pt x="858" y="151"/>
                </a:cubicBezTo>
                <a:cubicBezTo>
                  <a:pt x="858" y="152"/>
                  <a:pt x="858" y="154"/>
                  <a:pt x="858" y="156"/>
                </a:cubicBezTo>
                <a:cubicBezTo>
                  <a:pt x="858" y="156"/>
                  <a:pt x="858" y="155"/>
                  <a:pt x="859" y="156"/>
                </a:cubicBezTo>
                <a:close/>
              </a:path>
            </a:pathLst>
          </a:custGeom>
          <a:solidFill>
            <a:srgbClr val="AB244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860178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180043B0-0601-4631-822D-7FAB56BE36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775" y="325369"/>
            <a:ext cx="6581825" cy="1325563"/>
          </a:xfrm>
        </p:spPr>
        <p:txBody>
          <a:bodyPr/>
          <a:lstStyle/>
          <a:p>
            <a:r>
              <a:rPr lang="it-IT" dirty="0">
                <a:sym typeface="Dosis Light"/>
              </a:rPr>
              <a:t>Sito web </a:t>
            </a:r>
            <a:r>
              <a:rPr lang="it-IT" i="1" dirty="0">
                <a:sym typeface="Dosis Light"/>
              </a:rPr>
              <a:t>Curriculum dello student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6B7A3B3-3E02-43E4-8A7A-C25CE854DB51}"/>
              </a:ext>
            </a:extLst>
          </p:cNvPr>
          <p:cNvSpPr/>
          <p:nvPr/>
        </p:nvSpPr>
        <p:spPr>
          <a:xfrm>
            <a:off x="750823" y="2534852"/>
            <a:ext cx="5660137" cy="24537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/>
          <a:lstStyle/>
          <a:p>
            <a:pPr marL="889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l </a:t>
            </a: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to web </a:t>
            </a:r>
            <a:r>
              <a:rPr kumimoji="0" lang="it-IT" sz="2000" b="1" i="1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urriculum dello studente 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resenta </a:t>
            </a: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tenuti di carattere informativo sul Curriculum.</a:t>
            </a:r>
          </a:p>
          <a:p>
            <a:pPr marL="88900" lvl="0">
              <a:spcAft>
                <a:spcPts val="600"/>
              </a:spcAft>
              <a:defRPr/>
            </a:pPr>
            <a:r>
              <a:rPr lang="it-IT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ppresenta il </a:t>
            </a: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unto di accesso alle informazioni, ai materiali utili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e </a:t>
            </a:r>
            <a:r>
              <a:rPr lang="it-IT" sz="2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e funzioni  </a:t>
            </a:r>
            <a:r>
              <a:rPr lang="it-IT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 la predisposizione e la consultazione de</a:t>
            </a:r>
            <a:r>
              <a:rPr kumimoji="0" lang="it-IT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 Curriculum per le scuole e gli studenti.</a:t>
            </a:r>
          </a:p>
        </p:txBody>
      </p:sp>
      <p:pic>
        <p:nvPicPr>
          <p:cNvPr id="10" name="Immagine 9">
            <a:extLst>
              <a:ext uri="{FF2B5EF4-FFF2-40B4-BE49-F238E27FC236}">
                <a16:creationId xmlns:a16="http://schemas.microsoft.com/office/drawing/2014/main" id="{B17EE76D-10E3-4CCF-9628-6064ED2D41A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1749" y="0"/>
            <a:ext cx="3767474" cy="685800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965194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037597E-228D-4789-A62F-80F07E1E04FA}"/>
              </a:ext>
            </a:extLst>
          </p:cNvPr>
          <p:cNvSpPr/>
          <p:nvPr/>
        </p:nvSpPr>
        <p:spPr>
          <a:xfrm>
            <a:off x="0" y="0"/>
            <a:ext cx="6095998" cy="6895021"/>
          </a:xfrm>
          <a:prstGeom prst="rect">
            <a:avLst/>
          </a:prstGeom>
          <a:solidFill>
            <a:srgbClr val="179D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6F35BB9-EF1C-40A4-B712-C382C3941380}"/>
              </a:ext>
            </a:extLst>
          </p:cNvPr>
          <p:cNvSpPr/>
          <p:nvPr/>
        </p:nvSpPr>
        <p:spPr>
          <a:xfrm>
            <a:off x="6096000" y="0"/>
            <a:ext cx="1246896" cy="6858000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D9A6D697-F3B8-46B4-BB1D-DD080399DF7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550858" y="2530461"/>
            <a:ext cx="6895020" cy="1804737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8A8CCE68-CEB1-4DBD-B64A-05F58866373D}"/>
              </a:ext>
            </a:extLst>
          </p:cNvPr>
          <p:cNvSpPr/>
          <p:nvPr/>
        </p:nvSpPr>
        <p:spPr>
          <a:xfrm flipH="1">
            <a:off x="6318982" y="-35749"/>
            <a:ext cx="1565945" cy="6966518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9B8B768F-4202-4EBB-9ADC-D437EEF4816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33071" y="934915"/>
            <a:ext cx="2453489" cy="89307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AAB629E7-3D90-4130-BB5D-916C74E26078}"/>
              </a:ext>
            </a:extLst>
          </p:cNvPr>
          <p:cNvSpPr txBox="1"/>
          <p:nvPr/>
        </p:nvSpPr>
        <p:spPr>
          <a:xfrm>
            <a:off x="8048380" y="2079376"/>
            <a:ext cx="381975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3600" b="1" dirty="0">
                <a:solidFill>
                  <a:srgbClr val="179DC2"/>
                </a:solidFill>
                <a:latin typeface="Comfortaa" pitchFamily="2" charset="0"/>
                <a:sym typeface="Dosis Light"/>
              </a:rPr>
              <a:t>Agenda</a:t>
            </a:r>
          </a:p>
          <a:p>
            <a:pPr algn="r"/>
            <a:endParaRPr lang="en-US" sz="3600" b="1" dirty="0">
              <a:solidFill>
                <a:srgbClr val="179DC2"/>
              </a:solidFill>
              <a:latin typeface="Comfortaa" pitchFamily="2" charset="0"/>
              <a:sym typeface="Dosis Light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649EB0D-30E0-4254-92D5-CA0391CD20A3}"/>
              </a:ext>
            </a:extLst>
          </p:cNvPr>
          <p:cNvCxnSpPr>
            <a:cxnSpLocks/>
          </p:cNvCxnSpPr>
          <p:nvPr/>
        </p:nvCxnSpPr>
        <p:spPr>
          <a:xfrm>
            <a:off x="8237989" y="1943501"/>
            <a:ext cx="3548571" cy="0"/>
          </a:xfrm>
          <a:prstGeom prst="line">
            <a:avLst/>
          </a:prstGeom>
          <a:ln>
            <a:solidFill>
              <a:srgbClr val="AE2C4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D253483-0DD0-4C97-A1F3-1A53DBDDB47A}"/>
              </a:ext>
            </a:extLst>
          </p:cNvPr>
          <p:cNvCxnSpPr/>
          <p:nvPr/>
        </p:nvCxnSpPr>
        <p:spPr>
          <a:xfrm>
            <a:off x="1115630" y="0"/>
            <a:ext cx="0" cy="6840000"/>
          </a:xfrm>
          <a:prstGeom prst="line">
            <a:avLst/>
          </a:prstGeom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id="{6FDB52C2-7E92-42C3-8F28-6AB3B6D9A565}"/>
              </a:ext>
            </a:extLst>
          </p:cNvPr>
          <p:cNvSpPr/>
          <p:nvPr/>
        </p:nvSpPr>
        <p:spPr>
          <a:xfrm>
            <a:off x="767726" y="1031171"/>
            <a:ext cx="684000" cy="684000"/>
          </a:xfrm>
          <a:prstGeom prst="ellipse">
            <a:avLst/>
          </a:prstGeom>
          <a:solidFill>
            <a:srgbClr val="AB244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</a:rPr>
              <a:t>01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CC0F13CB-0E49-4DDD-B2B1-52E48A435425}"/>
              </a:ext>
            </a:extLst>
          </p:cNvPr>
          <p:cNvSpPr/>
          <p:nvPr/>
        </p:nvSpPr>
        <p:spPr>
          <a:xfrm>
            <a:off x="767726" y="2750088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DC658E9-C935-45D4-9FA4-5F4F47F66463}"/>
              </a:ext>
            </a:extLst>
          </p:cNvPr>
          <p:cNvSpPr/>
          <p:nvPr/>
        </p:nvSpPr>
        <p:spPr>
          <a:xfrm>
            <a:off x="767726" y="4469004"/>
            <a:ext cx="684000" cy="684000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84E30F9-4F92-4B34-8893-462FF23256A8}"/>
              </a:ext>
            </a:extLst>
          </p:cNvPr>
          <p:cNvSpPr txBox="1"/>
          <p:nvPr/>
        </p:nvSpPr>
        <p:spPr>
          <a:xfrm>
            <a:off x="1592061" y="1096172"/>
            <a:ext cx="39888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bg1"/>
                </a:solidFill>
              </a:rPr>
              <a:t>Il Curriculum dello studente</a:t>
            </a:r>
          </a:p>
          <a:p>
            <a:r>
              <a:rPr lang="it-IT" sz="1200" dirty="0">
                <a:solidFill>
                  <a:schemeClr val="bg1"/>
                </a:solidFill>
              </a:rPr>
              <a:t>Valore, struttura e riferimenti normativi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1F6BAE7-68BB-4399-BA0B-B1A35B6735D3}"/>
              </a:ext>
            </a:extLst>
          </p:cNvPr>
          <p:cNvSpPr txBox="1"/>
          <p:nvPr/>
        </p:nvSpPr>
        <p:spPr>
          <a:xfrm>
            <a:off x="1592061" y="2815089"/>
            <a:ext cx="398885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tx2"/>
                </a:solidFill>
              </a:rPr>
              <a:t>Il processo di realizzazione</a:t>
            </a:r>
          </a:p>
          <a:p>
            <a:r>
              <a:rPr lang="it-IT" sz="1200" dirty="0">
                <a:solidFill>
                  <a:schemeClr val="tx2"/>
                </a:solidFill>
              </a:rPr>
              <a:t>Le attività previst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98FBB9B-1226-4C09-9AFC-ED406DFADFEB}"/>
              </a:ext>
            </a:extLst>
          </p:cNvPr>
          <p:cNvSpPr txBox="1"/>
          <p:nvPr/>
        </p:nvSpPr>
        <p:spPr>
          <a:xfrm>
            <a:off x="1592060" y="4307465"/>
            <a:ext cx="450393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b="1" dirty="0">
                <a:solidFill>
                  <a:schemeClr val="tx2"/>
                </a:solidFill>
              </a:rPr>
              <a:t>L’introduzione del Curriculum nell’anno scolastico 2020/21</a:t>
            </a:r>
          </a:p>
          <a:p>
            <a:r>
              <a:rPr lang="it-IT" sz="1200" dirty="0">
                <a:solidFill>
                  <a:schemeClr val="tx2"/>
                </a:solidFill>
              </a:rPr>
              <a:t>Le operazioni da svolgere e gli strumenti di accompagnamento </a:t>
            </a:r>
          </a:p>
        </p:txBody>
      </p:sp>
    </p:spTree>
    <p:extLst>
      <p:ext uri="{BB962C8B-B14F-4D97-AF65-F5344CB8AC3E}">
        <p14:creationId xmlns:p14="http://schemas.microsoft.com/office/powerpoint/2010/main" val="13637586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">
            <a:extLst>
              <a:ext uri="{FF2B5EF4-FFF2-40B4-BE49-F238E27FC236}">
                <a16:creationId xmlns:a16="http://schemas.microsoft.com/office/drawing/2014/main" id="{E2477092-CA38-4A55-BB1C-996DC24CB3C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71721" y="1568193"/>
            <a:ext cx="8597162" cy="415537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</p:pic>
      <p:pic>
        <p:nvPicPr>
          <p:cNvPr id="5" name="Picture 9">
            <a:extLst>
              <a:ext uri="{FF2B5EF4-FFF2-40B4-BE49-F238E27FC236}">
                <a16:creationId xmlns:a16="http://schemas.microsoft.com/office/drawing/2014/main" id="{B1872D29-C4C9-4807-B130-C7144AA71DE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4364" y="2020216"/>
            <a:ext cx="560659" cy="560659"/>
          </a:xfrm>
          <a:prstGeom prst="rect">
            <a:avLst/>
          </a:prstGeom>
        </p:spPr>
      </p:pic>
      <p:grpSp>
        <p:nvGrpSpPr>
          <p:cNvPr id="6" name="Group 2">
            <a:extLst>
              <a:ext uri="{FF2B5EF4-FFF2-40B4-BE49-F238E27FC236}">
                <a16:creationId xmlns:a16="http://schemas.microsoft.com/office/drawing/2014/main" id="{E09718EB-3552-4902-BF61-42C4BDBE7913}"/>
              </a:ext>
            </a:extLst>
          </p:cNvPr>
          <p:cNvGrpSpPr/>
          <p:nvPr/>
        </p:nvGrpSpPr>
        <p:grpSpPr>
          <a:xfrm>
            <a:off x="8723488" y="3039081"/>
            <a:ext cx="3220027" cy="1848202"/>
            <a:chOff x="6467881" y="4281875"/>
            <a:chExt cx="3220027" cy="1848202"/>
          </a:xfrm>
        </p:grpSpPr>
        <p:sp>
          <p:nvSpPr>
            <p:cNvPr id="7" name="Rectangle 15">
              <a:extLst>
                <a:ext uri="{FF2B5EF4-FFF2-40B4-BE49-F238E27FC236}">
                  <a16:creationId xmlns:a16="http://schemas.microsoft.com/office/drawing/2014/main" id="{78F4F84A-0B93-4079-8262-5ED5006D0BCF}"/>
                </a:ext>
              </a:extLst>
            </p:cNvPr>
            <p:cNvSpPr/>
            <p:nvPr/>
          </p:nvSpPr>
          <p:spPr>
            <a:xfrm>
              <a:off x="6467881" y="4281875"/>
              <a:ext cx="3220027" cy="184820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pic>
          <p:nvPicPr>
            <p:cNvPr id="8" name="Picture 16">
              <a:extLst>
                <a:ext uri="{FF2B5EF4-FFF2-40B4-BE49-F238E27FC236}">
                  <a16:creationId xmlns:a16="http://schemas.microsoft.com/office/drawing/2014/main" id="{7C7546BB-3A0B-4867-B61B-5DAD89FB6CE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535911" y="4492479"/>
              <a:ext cx="3079727" cy="1362636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9" name="Rectangle 17">
            <a:extLst>
              <a:ext uri="{FF2B5EF4-FFF2-40B4-BE49-F238E27FC236}">
                <a16:creationId xmlns:a16="http://schemas.microsoft.com/office/drawing/2014/main" id="{A5F881E9-1A9A-4B5D-8EC6-D2DB28F8BB91}"/>
              </a:ext>
            </a:extLst>
          </p:cNvPr>
          <p:cNvSpPr/>
          <p:nvPr/>
        </p:nvSpPr>
        <p:spPr>
          <a:xfrm>
            <a:off x="9537346" y="2623249"/>
            <a:ext cx="1827361" cy="43380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r>
              <a:rPr lang="it-IT" sz="1200" b="1" dirty="0">
                <a:solidFill>
                  <a:prstClr val="black"/>
                </a:solidFill>
              </a:rPr>
              <a:t>Selezione del profilo</a:t>
            </a:r>
          </a:p>
        </p:txBody>
      </p:sp>
      <p:sp>
        <p:nvSpPr>
          <p:cNvPr id="11" name="Rectangle: Rounded Corners 19">
            <a:extLst>
              <a:ext uri="{FF2B5EF4-FFF2-40B4-BE49-F238E27FC236}">
                <a16:creationId xmlns:a16="http://schemas.microsoft.com/office/drawing/2014/main" id="{5AC805DF-AA33-4023-A8F7-A80D1A6C04FE}"/>
              </a:ext>
            </a:extLst>
          </p:cNvPr>
          <p:cNvSpPr/>
          <p:nvPr/>
        </p:nvSpPr>
        <p:spPr>
          <a:xfrm>
            <a:off x="10927829" y="3787361"/>
            <a:ext cx="784899" cy="757196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13" name="Rectangle: Rounded Corners 19">
            <a:extLst>
              <a:ext uri="{FF2B5EF4-FFF2-40B4-BE49-F238E27FC236}">
                <a16:creationId xmlns:a16="http://schemas.microsoft.com/office/drawing/2014/main" id="{68B86005-0FFE-442E-B8A9-5DD6E7FCC4FC}"/>
              </a:ext>
            </a:extLst>
          </p:cNvPr>
          <p:cNvSpPr/>
          <p:nvPr/>
        </p:nvSpPr>
        <p:spPr>
          <a:xfrm>
            <a:off x="9879730" y="3787361"/>
            <a:ext cx="811756" cy="757196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14" name="Rectangle: Rounded Corners 19">
            <a:extLst>
              <a:ext uri="{FF2B5EF4-FFF2-40B4-BE49-F238E27FC236}">
                <a16:creationId xmlns:a16="http://schemas.microsoft.com/office/drawing/2014/main" id="{95ADBA08-E88F-4495-B68A-179B83260CA4}"/>
              </a:ext>
            </a:extLst>
          </p:cNvPr>
          <p:cNvSpPr/>
          <p:nvPr/>
        </p:nvSpPr>
        <p:spPr>
          <a:xfrm>
            <a:off x="8799406" y="3786909"/>
            <a:ext cx="811756" cy="757648"/>
          </a:xfrm>
          <a:prstGeom prst="roundRect">
            <a:avLst/>
          </a:prstGeom>
          <a:noFill/>
          <a:ln w="38100">
            <a:solidFill>
              <a:srgbClr val="AB244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15" name="Title 8">
            <a:extLst>
              <a:ext uri="{FF2B5EF4-FFF2-40B4-BE49-F238E27FC236}">
                <a16:creationId xmlns:a16="http://schemas.microsoft.com/office/drawing/2014/main" id="{7CB4F456-E7A3-4999-BF60-747813FC0E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937" y="71606"/>
            <a:ext cx="8837108" cy="1325563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it-IT" dirty="0">
                <a:sym typeface="Dosis Light"/>
              </a:rPr>
              <a:t>Sito web </a:t>
            </a:r>
            <a:r>
              <a:rPr lang="it-IT" i="1" dirty="0">
                <a:sym typeface="Dosis Light"/>
              </a:rPr>
              <a:t>Curriculum dello studente</a:t>
            </a:r>
            <a:br>
              <a:rPr lang="it-IT" i="1" dirty="0">
                <a:sym typeface="Dosis Light"/>
              </a:rPr>
            </a:br>
            <a:r>
              <a:rPr lang="it-IT" sz="2500" b="0" i="1" dirty="0">
                <a:sym typeface="Dosis Light"/>
              </a:rPr>
              <a:t>Accesso alle funzioni</a:t>
            </a:r>
            <a:endParaRPr lang="it-IT" i="1" dirty="0">
              <a:sym typeface="Dosis Light"/>
            </a:endParaRPr>
          </a:p>
        </p:txBody>
      </p:sp>
      <p:sp>
        <p:nvSpPr>
          <p:cNvPr id="16" name="Oval 10">
            <a:extLst>
              <a:ext uri="{FF2B5EF4-FFF2-40B4-BE49-F238E27FC236}">
                <a16:creationId xmlns:a16="http://schemas.microsoft.com/office/drawing/2014/main" id="{AB7EE115-E6C8-483B-919B-EB6F758F01B7}"/>
              </a:ext>
            </a:extLst>
          </p:cNvPr>
          <p:cNvSpPr/>
          <p:nvPr/>
        </p:nvSpPr>
        <p:spPr>
          <a:xfrm>
            <a:off x="8561738" y="1793872"/>
            <a:ext cx="975608" cy="243225"/>
          </a:xfrm>
          <a:prstGeom prst="ellipse">
            <a:avLst/>
          </a:prstGeom>
          <a:noFill/>
          <a:ln w="38100">
            <a:solidFill>
              <a:srgbClr val="AE2C4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9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Freeform 19">
            <a:extLst>
              <a:ext uri="{FF2B5EF4-FFF2-40B4-BE49-F238E27FC236}">
                <a16:creationId xmlns:a16="http://schemas.microsoft.com/office/drawing/2014/main" id="{3D48F750-D154-49CF-8B56-D08A5B8ACFA6}"/>
              </a:ext>
            </a:extLst>
          </p:cNvPr>
          <p:cNvSpPr>
            <a:spLocks noChangeAspect="1" noEditPoints="1"/>
          </p:cNvSpPr>
          <p:nvPr/>
        </p:nvSpPr>
        <p:spPr bwMode="auto">
          <a:xfrm rot="12519011" flipH="1" flipV="1">
            <a:off x="9587097" y="1792450"/>
            <a:ext cx="1123564" cy="485889"/>
          </a:xfrm>
          <a:custGeom>
            <a:avLst/>
            <a:gdLst>
              <a:gd name="T0" fmla="*/ 715 w 868"/>
              <a:gd name="T1" fmla="*/ 128 h 351"/>
              <a:gd name="T2" fmla="*/ 363 w 868"/>
              <a:gd name="T3" fmla="*/ 50 h 351"/>
              <a:gd name="T4" fmla="*/ 226 w 868"/>
              <a:gd name="T5" fmla="*/ 94 h 351"/>
              <a:gd name="T6" fmla="*/ 155 w 868"/>
              <a:gd name="T7" fmla="*/ 112 h 351"/>
              <a:gd name="T8" fmla="*/ 111 w 868"/>
              <a:gd name="T9" fmla="*/ 138 h 351"/>
              <a:gd name="T10" fmla="*/ 85 w 868"/>
              <a:gd name="T11" fmla="*/ 163 h 351"/>
              <a:gd name="T12" fmla="*/ 104 w 868"/>
              <a:gd name="T13" fmla="*/ 185 h 351"/>
              <a:gd name="T14" fmla="*/ 69 w 868"/>
              <a:gd name="T15" fmla="*/ 174 h 351"/>
              <a:gd name="T16" fmla="*/ 92 w 868"/>
              <a:gd name="T17" fmla="*/ 203 h 351"/>
              <a:gd name="T18" fmla="*/ 66 w 868"/>
              <a:gd name="T19" fmla="*/ 192 h 351"/>
              <a:gd name="T20" fmla="*/ 75 w 868"/>
              <a:gd name="T21" fmla="*/ 207 h 351"/>
              <a:gd name="T22" fmla="*/ 72 w 868"/>
              <a:gd name="T23" fmla="*/ 224 h 351"/>
              <a:gd name="T24" fmla="*/ 64 w 868"/>
              <a:gd name="T25" fmla="*/ 228 h 351"/>
              <a:gd name="T26" fmla="*/ 29 w 868"/>
              <a:gd name="T27" fmla="*/ 217 h 351"/>
              <a:gd name="T28" fmla="*/ 31 w 868"/>
              <a:gd name="T29" fmla="*/ 228 h 351"/>
              <a:gd name="T30" fmla="*/ 53 w 868"/>
              <a:gd name="T31" fmla="*/ 253 h 351"/>
              <a:gd name="T32" fmla="*/ 36 w 868"/>
              <a:gd name="T33" fmla="*/ 257 h 351"/>
              <a:gd name="T34" fmla="*/ 774 w 868"/>
              <a:gd name="T35" fmla="*/ 258 h 351"/>
              <a:gd name="T36" fmla="*/ 640 w 868"/>
              <a:gd name="T37" fmla="*/ 136 h 351"/>
              <a:gd name="T38" fmla="*/ 376 w 868"/>
              <a:gd name="T39" fmla="*/ 47 h 351"/>
              <a:gd name="T40" fmla="*/ 235 w 868"/>
              <a:gd name="T41" fmla="*/ 76 h 351"/>
              <a:gd name="T42" fmla="*/ 221 w 868"/>
              <a:gd name="T43" fmla="*/ 70 h 351"/>
              <a:gd name="T44" fmla="*/ 180 w 868"/>
              <a:gd name="T45" fmla="*/ 89 h 351"/>
              <a:gd name="T46" fmla="*/ 168 w 868"/>
              <a:gd name="T47" fmla="*/ 110 h 351"/>
              <a:gd name="T48" fmla="*/ 140 w 868"/>
              <a:gd name="T49" fmla="*/ 145 h 351"/>
              <a:gd name="T50" fmla="*/ 81 w 868"/>
              <a:gd name="T51" fmla="*/ 192 h 351"/>
              <a:gd name="T52" fmla="*/ 126 w 868"/>
              <a:gd name="T53" fmla="*/ 134 h 351"/>
              <a:gd name="T54" fmla="*/ 253 w 868"/>
              <a:gd name="T55" fmla="*/ 36 h 351"/>
              <a:gd name="T56" fmla="*/ 399 w 868"/>
              <a:gd name="T57" fmla="*/ 2 h 351"/>
              <a:gd name="T58" fmla="*/ 510 w 868"/>
              <a:gd name="T59" fmla="*/ 14 h 351"/>
              <a:gd name="T60" fmla="*/ 732 w 868"/>
              <a:gd name="T61" fmla="*/ 145 h 351"/>
              <a:gd name="T62" fmla="*/ 794 w 868"/>
              <a:gd name="T63" fmla="*/ 260 h 351"/>
              <a:gd name="T64" fmla="*/ 787 w 868"/>
              <a:gd name="T65" fmla="*/ 222 h 351"/>
              <a:gd name="T66" fmla="*/ 721 w 868"/>
              <a:gd name="T67" fmla="*/ 150 h 351"/>
              <a:gd name="T68" fmla="*/ 533 w 868"/>
              <a:gd name="T69" fmla="*/ 22 h 351"/>
              <a:gd name="T70" fmla="*/ 380 w 868"/>
              <a:gd name="T71" fmla="*/ 47 h 351"/>
              <a:gd name="T72" fmla="*/ 307 w 868"/>
              <a:gd name="T73" fmla="*/ 53 h 351"/>
              <a:gd name="T74" fmla="*/ 281 w 868"/>
              <a:gd name="T75" fmla="*/ 47 h 351"/>
              <a:gd name="T76" fmla="*/ 242 w 868"/>
              <a:gd name="T77" fmla="*/ 43 h 351"/>
              <a:gd name="T78" fmla="*/ 222 w 868"/>
              <a:gd name="T79" fmla="*/ 51 h 351"/>
              <a:gd name="T80" fmla="*/ 197 w 868"/>
              <a:gd name="T81" fmla="*/ 73 h 351"/>
              <a:gd name="T82" fmla="*/ 164 w 868"/>
              <a:gd name="T83" fmla="*/ 99 h 351"/>
              <a:gd name="T84" fmla="*/ 142 w 868"/>
              <a:gd name="T85" fmla="*/ 117 h 351"/>
              <a:gd name="T86" fmla="*/ 141 w 868"/>
              <a:gd name="T87" fmla="*/ 138 h 351"/>
              <a:gd name="T88" fmla="*/ 124 w 868"/>
              <a:gd name="T89" fmla="*/ 129 h 351"/>
              <a:gd name="T90" fmla="*/ 113 w 868"/>
              <a:gd name="T91" fmla="*/ 142 h 351"/>
              <a:gd name="T92" fmla="*/ 337 w 868"/>
              <a:gd name="T93" fmla="*/ 9 h 351"/>
              <a:gd name="T94" fmla="*/ 168 w 868"/>
              <a:gd name="T95" fmla="*/ 125 h 351"/>
              <a:gd name="T96" fmla="*/ 197 w 868"/>
              <a:gd name="T97" fmla="*/ 105 h 351"/>
              <a:gd name="T98" fmla="*/ 131 w 868"/>
              <a:gd name="T99" fmla="*/ 159 h 351"/>
              <a:gd name="T100" fmla="*/ 88 w 868"/>
              <a:gd name="T101" fmla="*/ 171 h 351"/>
              <a:gd name="T102" fmla="*/ 85 w 868"/>
              <a:gd name="T103" fmla="*/ 191 h 351"/>
              <a:gd name="T104" fmla="*/ 79 w 868"/>
              <a:gd name="T105" fmla="*/ 215 h 351"/>
              <a:gd name="T106" fmla="*/ 48 w 868"/>
              <a:gd name="T107" fmla="*/ 193 h 351"/>
              <a:gd name="T108" fmla="*/ 64 w 868"/>
              <a:gd name="T109" fmla="*/ 238 h 351"/>
              <a:gd name="T110" fmla="*/ 17 w 868"/>
              <a:gd name="T111" fmla="*/ 235 h 351"/>
              <a:gd name="T112" fmla="*/ 87 w 868"/>
              <a:gd name="T113" fmla="*/ 158 h 351"/>
              <a:gd name="T114" fmla="*/ 865 w 868"/>
              <a:gd name="T115" fmla="*/ 172 h 351"/>
              <a:gd name="T116" fmla="*/ 859 w 868"/>
              <a:gd name="T117" fmla="*/ 117 h 351"/>
              <a:gd name="T118" fmla="*/ 782 w 868"/>
              <a:gd name="T119" fmla="*/ 277 h 351"/>
              <a:gd name="T120" fmla="*/ 841 w 868"/>
              <a:gd name="T121" fmla="*/ 164 h 351"/>
              <a:gd name="T122" fmla="*/ 861 w 868"/>
              <a:gd name="T123" fmla="*/ 201 h 351"/>
              <a:gd name="T124" fmla="*/ 666 w 868"/>
              <a:gd name="T125" fmla="*/ 296 h 3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868" h="351">
                <a:moveTo>
                  <a:pt x="813" y="278"/>
                </a:moveTo>
                <a:cubicBezTo>
                  <a:pt x="812" y="276"/>
                  <a:pt x="811" y="275"/>
                  <a:pt x="812" y="275"/>
                </a:cubicBezTo>
                <a:cubicBezTo>
                  <a:pt x="813" y="277"/>
                  <a:pt x="813" y="278"/>
                  <a:pt x="813" y="278"/>
                </a:cubicBezTo>
                <a:close/>
                <a:moveTo>
                  <a:pt x="812" y="266"/>
                </a:moveTo>
                <a:cubicBezTo>
                  <a:pt x="813" y="269"/>
                  <a:pt x="814" y="269"/>
                  <a:pt x="814" y="271"/>
                </a:cubicBezTo>
                <a:cubicBezTo>
                  <a:pt x="813" y="267"/>
                  <a:pt x="813" y="271"/>
                  <a:pt x="813" y="270"/>
                </a:cubicBezTo>
                <a:cubicBezTo>
                  <a:pt x="815" y="276"/>
                  <a:pt x="814" y="270"/>
                  <a:pt x="815" y="272"/>
                </a:cubicBezTo>
                <a:cubicBezTo>
                  <a:pt x="814" y="268"/>
                  <a:pt x="813" y="267"/>
                  <a:pt x="812" y="266"/>
                </a:cubicBezTo>
                <a:close/>
                <a:moveTo>
                  <a:pt x="781" y="282"/>
                </a:moveTo>
                <a:cubicBezTo>
                  <a:pt x="782" y="285"/>
                  <a:pt x="783" y="285"/>
                  <a:pt x="784" y="284"/>
                </a:cubicBezTo>
                <a:cubicBezTo>
                  <a:pt x="782" y="282"/>
                  <a:pt x="782" y="282"/>
                  <a:pt x="781" y="282"/>
                </a:cubicBezTo>
                <a:close/>
                <a:moveTo>
                  <a:pt x="798" y="267"/>
                </a:moveTo>
                <a:cubicBezTo>
                  <a:pt x="798" y="268"/>
                  <a:pt x="801" y="272"/>
                  <a:pt x="801" y="272"/>
                </a:cubicBezTo>
                <a:cubicBezTo>
                  <a:pt x="801" y="269"/>
                  <a:pt x="799" y="267"/>
                  <a:pt x="798" y="267"/>
                </a:cubicBezTo>
                <a:close/>
                <a:moveTo>
                  <a:pt x="791" y="270"/>
                </a:moveTo>
                <a:cubicBezTo>
                  <a:pt x="791" y="272"/>
                  <a:pt x="793" y="275"/>
                  <a:pt x="793" y="276"/>
                </a:cubicBezTo>
                <a:cubicBezTo>
                  <a:pt x="793" y="274"/>
                  <a:pt x="791" y="271"/>
                  <a:pt x="791" y="270"/>
                </a:cubicBezTo>
                <a:close/>
                <a:moveTo>
                  <a:pt x="789" y="269"/>
                </a:moveTo>
                <a:cubicBezTo>
                  <a:pt x="788" y="269"/>
                  <a:pt x="791" y="272"/>
                  <a:pt x="790" y="273"/>
                </a:cubicBezTo>
                <a:cubicBezTo>
                  <a:pt x="789" y="270"/>
                  <a:pt x="788" y="270"/>
                  <a:pt x="787" y="270"/>
                </a:cubicBezTo>
                <a:cubicBezTo>
                  <a:pt x="789" y="273"/>
                  <a:pt x="790" y="274"/>
                  <a:pt x="791" y="276"/>
                </a:cubicBezTo>
                <a:cubicBezTo>
                  <a:pt x="792" y="276"/>
                  <a:pt x="792" y="274"/>
                  <a:pt x="793" y="276"/>
                </a:cubicBezTo>
                <a:cubicBezTo>
                  <a:pt x="792" y="273"/>
                  <a:pt x="791" y="272"/>
                  <a:pt x="789" y="269"/>
                </a:cubicBezTo>
                <a:close/>
                <a:moveTo>
                  <a:pt x="801" y="266"/>
                </a:moveTo>
                <a:cubicBezTo>
                  <a:pt x="800" y="266"/>
                  <a:pt x="800" y="268"/>
                  <a:pt x="801" y="271"/>
                </a:cubicBezTo>
                <a:cubicBezTo>
                  <a:pt x="802" y="271"/>
                  <a:pt x="801" y="267"/>
                  <a:pt x="801" y="266"/>
                </a:cubicBezTo>
                <a:close/>
                <a:moveTo>
                  <a:pt x="799" y="270"/>
                </a:moveTo>
                <a:cubicBezTo>
                  <a:pt x="799" y="270"/>
                  <a:pt x="798" y="270"/>
                  <a:pt x="798" y="269"/>
                </a:cubicBezTo>
                <a:cubicBezTo>
                  <a:pt x="797" y="269"/>
                  <a:pt x="797" y="270"/>
                  <a:pt x="798" y="272"/>
                </a:cubicBezTo>
                <a:cubicBezTo>
                  <a:pt x="798" y="271"/>
                  <a:pt x="800" y="273"/>
                  <a:pt x="799" y="270"/>
                </a:cubicBezTo>
                <a:close/>
                <a:moveTo>
                  <a:pt x="770" y="269"/>
                </a:moveTo>
                <a:cubicBezTo>
                  <a:pt x="771" y="271"/>
                  <a:pt x="772" y="272"/>
                  <a:pt x="773" y="272"/>
                </a:cubicBezTo>
                <a:cubicBezTo>
                  <a:pt x="772" y="270"/>
                  <a:pt x="771" y="269"/>
                  <a:pt x="770" y="269"/>
                </a:cubicBezTo>
                <a:close/>
                <a:moveTo>
                  <a:pt x="807" y="248"/>
                </a:moveTo>
                <a:cubicBezTo>
                  <a:pt x="808" y="250"/>
                  <a:pt x="810" y="253"/>
                  <a:pt x="810" y="252"/>
                </a:cubicBezTo>
                <a:cubicBezTo>
                  <a:pt x="809" y="249"/>
                  <a:pt x="808" y="247"/>
                  <a:pt x="807" y="248"/>
                </a:cubicBezTo>
                <a:close/>
                <a:moveTo>
                  <a:pt x="802" y="246"/>
                </a:moveTo>
                <a:cubicBezTo>
                  <a:pt x="803" y="247"/>
                  <a:pt x="803" y="248"/>
                  <a:pt x="804" y="251"/>
                </a:cubicBezTo>
                <a:cubicBezTo>
                  <a:pt x="805" y="251"/>
                  <a:pt x="803" y="245"/>
                  <a:pt x="802" y="246"/>
                </a:cubicBezTo>
                <a:close/>
                <a:moveTo>
                  <a:pt x="805" y="245"/>
                </a:moveTo>
                <a:cubicBezTo>
                  <a:pt x="803" y="240"/>
                  <a:pt x="804" y="239"/>
                  <a:pt x="802" y="235"/>
                </a:cubicBezTo>
                <a:cubicBezTo>
                  <a:pt x="800" y="234"/>
                  <a:pt x="796" y="236"/>
                  <a:pt x="801" y="245"/>
                </a:cubicBezTo>
                <a:cubicBezTo>
                  <a:pt x="801" y="242"/>
                  <a:pt x="806" y="248"/>
                  <a:pt x="805" y="245"/>
                </a:cubicBezTo>
                <a:close/>
                <a:moveTo>
                  <a:pt x="759" y="246"/>
                </a:moveTo>
                <a:cubicBezTo>
                  <a:pt x="759" y="247"/>
                  <a:pt x="758" y="246"/>
                  <a:pt x="758" y="246"/>
                </a:cubicBezTo>
                <a:cubicBezTo>
                  <a:pt x="759" y="248"/>
                  <a:pt x="760" y="248"/>
                  <a:pt x="759" y="248"/>
                </a:cubicBezTo>
                <a:cubicBezTo>
                  <a:pt x="760" y="250"/>
                  <a:pt x="760" y="250"/>
                  <a:pt x="761" y="250"/>
                </a:cubicBezTo>
                <a:cubicBezTo>
                  <a:pt x="759" y="248"/>
                  <a:pt x="760" y="248"/>
                  <a:pt x="759" y="246"/>
                </a:cubicBezTo>
                <a:close/>
                <a:moveTo>
                  <a:pt x="766" y="178"/>
                </a:moveTo>
                <a:cubicBezTo>
                  <a:pt x="766" y="178"/>
                  <a:pt x="766" y="178"/>
                  <a:pt x="767" y="180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67" y="179"/>
                  <a:pt x="768" y="180"/>
                  <a:pt x="766" y="178"/>
                </a:cubicBezTo>
                <a:close/>
                <a:moveTo>
                  <a:pt x="756" y="167"/>
                </a:moveTo>
                <a:cubicBezTo>
                  <a:pt x="757" y="168"/>
                  <a:pt x="758" y="169"/>
                  <a:pt x="757" y="169"/>
                </a:cubicBezTo>
                <a:cubicBezTo>
                  <a:pt x="762" y="175"/>
                  <a:pt x="758" y="167"/>
                  <a:pt x="756" y="167"/>
                </a:cubicBezTo>
                <a:close/>
                <a:moveTo>
                  <a:pt x="713" y="128"/>
                </a:moveTo>
                <a:cubicBezTo>
                  <a:pt x="713" y="127"/>
                  <a:pt x="714" y="127"/>
                  <a:pt x="715" y="128"/>
                </a:cubicBezTo>
                <a:cubicBezTo>
                  <a:pt x="712" y="125"/>
                  <a:pt x="710" y="125"/>
                  <a:pt x="713" y="128"/>
                </a:cubicBezTo>
                <a:close/>
                <a:moveTo>
                  <a:pt x="640" y="70"/>
                </a:moveTo>
                <a:cubicBezTo>
                  <a:pt x="634" y="64"/>
                  <a:pt x="636" y="68"/>
                  <a:pt x="640" y="70"/>
                </a:cubicBezTo>
                <a:close/>
                <a:moveTo>
                  <a:pt x="545" y="23"/>
                </a:moveTo>
                <a:cubicBezTo>
                  <a:pt x="544" y="24"/>
                  <a:pt x="548" y="25"/>
                  <a:pt x="549" y="24"/>
                </a:cubicBezTo>
                <a:cubicBezTo>
                  <a:pt x="546" y="24"/>
                  <a:pt x="547" y="24"/>
                  <a:pt x="545" y="23"/>
                </a:cubicBezTo>
                <a:close/>
                <a:moveTo>
                  <a:pt x="539" y="20"/>
                </a:moveTo>
                <a:cubicBezTo>
                  <a:pt x="539" y="20"/>
                  <a:pt x="538" y="20"/>
                  <a:pt x="538" y="20"/>
                </a:cubicBezTo>
                <a:cubicBezTo>
                  <a:pt x="540" y="21"/>
                  <a:pt x="543" y="22"/>
                  <a:pt x="543" y="21"/>
                </a:cubicBezTo>
                <a:cubicBezTo>
                  <a:pt x="540" y="20"/>
                  <a:pt x="540" y="21"/>
                  <a:pt x="539" y="20"/>
                </a:cubicBezTo>
                <a:close/>
                <a:moveTo>
                  <a:pt x="530" y="17"/>
                </a:moveTo>
                <a:cubicBezTo>
                  <a:pt x="529" y="18"/>
                  <a:pt x="534" y="19"/>
                  <a:pt x="534" y="18"/>
                </a:cubicBezTo>
                <a:lnTo>
                  <a:pt x="530" y="17"/>
                </a:lnTo>
                <a:close/>
                <a:moveTo>
                  <a:pt x="524" y="16"/>
                </a:moveTo>
                <a:cubicBezTo>
                  <a:pt x="524" y="16"/>
                  <a:pt x="522" y="16"/>
                  <a:pt x="522" y="17"/>
                </a:cubicBezTo>
                <a:cubicBezTo>
                  <a:pt x="524" y="17"/>
                  <a:pt x="527" y="18"/>
                  <a:pt x="529" y="18"/>
                </a:cubicBezTo>
                <a:cubicBezTo>
                  <a:pt x="528" y="17"/>
                  <a:pt x="526" y="17"/>
                  <a:pt x="524" y="16"/>
                </a:cubicBezTo>
                <a:close/>
                <a:moveTo>
                  <a:pt x="498" y="10"/>
                </a:moveTo>
                <a:cubicBezTo>
                  <a:pt x="501" y="10"/>
                  <a:pt x="502" y="10"/>
                  <a:pt x="503" y="10"/>
                </a:cubicBezTo>
                <a:cubicBezTo>
                  <a:pt x="502" y="10"/>
                  <a:pt x="498" y="9"/>
                  <a:pt x="498" y="10"/>
                </a:cubicBezTo>
                <a:close/>
                <a:moveTo>
                  <a:pt x="467" y="7"/>
                </a:moveTo>
                <a:cubicBezTo>
                  <a:pt x="468" y="7"/>
                  <a:pt x="473" y="8"/>
                  <a:pt x="473" y="7"/>
                </a:cubicBezTo>
                <a:cubicBezTo>
                  <a:pt x="470" y="7"/>
                  <a:pt x="467" y="6"/>
                  <a:pt x="467" y="7"/>
                </a:cubicBezTo>
                <a:close/>
                <a:moveTo>
                  <a:pt x="443" y="52"/>
                </a:moveTo>
                <a:cubicBezTo>
                  <a:pt x="443" y="52"/>
                  <a:pt x="443" y="52"/>
                  <a:pt x="443" y="53"/>
                </a:cubicBezTo>
                <a:cubicBezTo>
                  <a:pt x="445" y="53"/>
                  <a:pt x="444" y="54"/>
                  <a:pt x="447" y="54"/>
                </a:cubicBezTo>
                <a:cubicBezTo>
                  <a:pt x="446" y="53"/>
                  <a:pt x="446" y="53"/>
                  <a:pt x="448" y="53"/>
                </a:cubicBezTo>
                <a:cubicBezTo>
                  <a:pt x="447" y="52"/>
                  <a:pt x="446" y="52"/>
                  <a:pt x="443" y="52"/>
                </a:cubicBezTo>
                <a:close/>
                <a:moveTo>
                  <a:pt x="435" y="51"/>
                </a:moveTo>
                <a:cubicBezTo>
                  <a:pt x="435" y="52"/>
                  <a:pt x="430" y="51"/>
                  <a:pt x="431" y="51"/>
                </a:cubicBezTo>
                <a:cubicBezTo>
                  <a:pt x="432" y="51"/>
                  <a:pt x="436" y="52"/>
                  <a:pt x="437" y="52"/>
                </a:cubicBezTo>
                <a:cubicBezTo>
                  <a:pt x="435" y="52"/>
                  <a:pt x="437" y="51"/>
                  <a:pt x="435" y="51"/>
                </a:cubicBezTo>
                <a:close/>
                <a:moveTo>
                  <a:pt x="402" y="50"/>
                </a:moveTo>
                <a:cubicBezTo>
                  <a:pt x="404" y="50"/>
                  <a:pt x="406" y="50"/>
                  <a:pt x="406" y="49"/>
                </a:cubicBezTo>
                <a:cubicBezTo>
                  <a:pt x="404" y="49"/>
                  <a:pt x="402" y="49"/>
                  <a:pt x="402" y="50"/>
                </a:cubicBezTo>
                <a:close/>
                <a:moveTo>
                  <a:pt x="391" y="1"/>
                </a:moveTo>
                <a:cubicBezTo>
                  <a:pt x="391" y="2"/>
                  <a:pt x="395" y="2"/>
                  <a:pt x="397" y="2"/>
                </a:cubicBezTo>
                <a:cubicBezTo>
                  <a:pt x="397" y="2"/>
                  <a:pt x="395" y="2"/>
                  <a:pt x="395" y="3"/>
                </a:cubicBezTo>
                <a:cubicBezTo>
                  <a:pt x="396" y="3"/>
                  <a:pt x="397" y="3"/>
                  <a:pt x="398" y="3"/>
                </a:cubicBezTo>
                <a:cubicBezTo>
                  <a:pt x="397" y="2"/>
                  <a:pt x="401" y="4"/>
                  <a:pt x="402" y="3"/>
                </a:cubicBezTo>
                <a:cubicBezTo>
                  <a:pt x="400" y="2"/>
                  <a:pt x="396" y="3"/>
                  <a:pt x="399" y="2"/>
                </a:cubicBezTo>
                <a:cubicBezTo>
                  <a:pt x="393" y="2"/>
                  <a:pt x="395" y="1"/>
                  <a:pt x="391" y="1"/>
                </a:cubicBezTo>
                <a:close/>
                <a:moveTo>
                  <a:pt x="394" y="3"/>
                </a:moveTo>
                <a:cubicBezTo>
                  <a:pt x="391" y="3"/>
                  <a:pt x="389" y="3"/>
                  <a:pt x="388" y="3"/>
                </a:cubicBezTo>
                <a:cubicBezTo>
                  <a:pt x="391" y="3"/>
                  <a:pt x="394" y="4"/>
                  <a:pt x="395" y="3"/>
                </a:cubicBezTo>
                <a:cubicBezTo>
                  <a:pt x="394" y="3"/>
                  <a:pt x="394" y="3"/>
                  <a:pt x="394" y="3"/>
                </a:cubicBezTo>
                <a:close/>
                <a:moveTo>
                  <a:pt x="384" y="2"/>
                </a:moveTo>
                <a:cubicBezTo>
                  <a:pt x="386" y="2"/>
                  <a:pt x="388" y="2"/>
                  <a:pt x="389" y="2"/>
                </a:cubicBezTo>
                <a:cubicBezTo>
                  <a:pt x="387" y="2"/>
                  <a:pt x="384" y="2"/>
                  <a:pt x="384" y="2"/>
                </a:cubicBezTo>
                <a:close/>
                <a:moveTo>
                  <a:pt x="371" y="5"/>
                </a:moveTo>
                <a:cubicBezTo>
                  <a:pt x="370" y="6"/>
                  <a:pt x="367" y="6"/>
                  <a:pt x="365" y="6"/>
                </a:cubicBezTo>
                <a:cubicBezTo>
                  <a:pt x="367" y="7"/>
                  <a:pt x="377" y="6"/>
                  <a:pt x="377" y="5"/>
                </a:cubicBezTo>
                <a:cubicBezTo>
                  <a:pt x="374" y="5"/>
                  <a:pt x="374" y="5"/>
                  <a:pt x="371" y="5"/>
                </a:cubicBezTo>
                <a:close/>
                <a:moveTo>
                  <a:pt x="364" y="51"/>
                </a:moveTo>
                <a:cubicBezTo>
                  <a:pt x="364" y="52"/>
                  <a:pt x="367" y="51"/>
                  <a:pt x="370" y="51"/>
                </a:cubicBezTo>
                <a:cubicBezTo>
                  <a:pt x="370" y="51"/>
                  <a:pt x="366" y="51"/>
                  <a:pt x="364" y="51"/>
                </a:cubicBezTo>
                <a:close/>
                <a:moveTo>
                  <a:pt x="363" y="50"/>
                </a:moveTo>
                <a:cubicBezTo>
                  <a:pt x="365" y="49"/>
                  <a:pt x="366" y="49"/>
                  <a:pt x="367" y="49"/>
                </a:cubicBezTo>
                <a:cubicBezTo>
                  <a:pt x="365" y="48"/>
                  <a:pt x="363" y="49"/>
                  <a:pt x="363" y="50"/>
                </a:cubicBezTo>
                <a:close/>
                <a:moveTo>
                  <a:pt x="326" y="13"/>
                </a:moveTo>
                <a:cubicBezTo>
                  <a:pt x="327" y="12"/>
                  <a:pt x="332" y="11"/>
                  <a:pt x="333" y="11"/>
                </a:cubicBezTo>
                <a:cubicBezTo>
                  <a:pt x="329" y="11"/>
                  <a:pt x="328" y="12"/>
                  <a:pt x="326" y="13"/>
                </a:cubicBezTo>
                <a:close/>
                <a:moveTo>
                  <a:pt x="321" y="10"/>
                </a:moveTo>
                <a:cubicBezTo>
                  <a:pt x="322" y="11"/>
                  <a:pt x="325" y="10"/>
                  <a:pt x="329" y="9"/>
                </a:cubicBezTo>
                <a:cubicBezTo>
                  <a:pt x="329" y="9"/>
                  <a:pt x="329" y="9"/>
                  <a:pt x="328" y="9"/>
                </a:cubicBezTo>
                <a:cubicBezTo>
                  <a:pt x="326" y="10"/>
                  <a:pt x="323" y="10"/>
                  <a:pt x="321" y="10"/>
                </a:cubicBezTo>
                <a:close/>
                <a:moveTo>
                  <a:pt x="322" y="58"/>
                </a:moveTo>
                <a:cubicBezTo>
                  <a:pt x="323" y="58"/>
                  <a:pt x="326" y="58"/>
                  <a:pt x="328" y="58"/>
                </a:cubicBezTo>
                <a:cubicBezTo>
                  <a:pt x="327" y="57"/>
                  <a:pt x="325" y="57"/>
                  <a:pt x="322" y="58"/>
                </a:cubicBezTo>
                <a:close/>
                <a:moveTo>
                  <a:pt x="313" y="59"/>
                </a:moveTo>
                <a:cubicBezTo>
                  <a:pt x="314" y="60"/>
                  <a:pt x="309" y="60"/>
                  <a:pt x="309" y="61"/>
                </a:cubicBezTo>
                <a:cubicBezTo>
                  <a:pt x="311" y="61"/>
                  <a:pt x="312" y="61"/>
                  <a:pt x="316" y="60"/>
                </a:cubicBezTo>
                <a:cubicBezTo>
                  <a:pt x="315" y="60"/>
                  <a:pt x="316" y="59"/>
                  <a:pt x="313" y="59"/>
                </a:cubicBezTo>
                <a:close/>
                <a:moveTo>
                  <a:pt x="286" y="24"/>
                </a:moveTo>
                <a:cubicBezTo>
                  <a:pt x="286" y="24"/>
                  <a:pt x="280" y="25"/>
                  <a:pt x="280" y="26"/>
                </a:cubicBezTo>
                <a:cubicBezTo>
                  <a:pt x="281" y="26"/>
                  <a:pt x="280" y="26"/>
                  <a:pt x="281" y="26"/>
                </a:cubicBezTo>
                <a:cubicBezTo>
                  <a:pt x="282" y="26"/>
                  <a:pt x="284" y="25"/>
                  <a:pt x="285" y="24"/>
                </a:cubicBezTo>
                <a:cubicBezTo>
                  <a:pt x="285" y="25"/>
                  <a:pt x="286" y="25"/>
                  <a:pt x="287" y="25"/>
                </a:cubicBezTo>
                <a:cubicBezTo>
                  <a:pt x="290" y="24"/>
                  <a:pt x="290" y="24"/>
                  <a:pt x="294" y="23"/>
                </a:cubicBezTo>
                <a:cubicBezTo>
                  <a:pt x="293" y="22"/>
                  <a:pt x="293" y="22"/>
                  <a:pt x="293" y="22"/>
                </a:cubicBezTo>
                <a:cubicBezTo>
                  <a:pt x="290" y="23"/>
                  <a:pt x="288" y="23"/>
                  <a:pt x="286" y="24"/>
                </a:cubicBezTo>
                <a:close/>
                <a:moveTo>
                  <a:pt x="287" y="68"/>
                </a:moveTo>
                <a:cubicBezTo>
                  <a:pt x="289" y="67"/>
                  <a:pt x="289" y="67"/>
                  <a:pt x="289" y="66"/>
                </a:cubicBezTo>
                <a:cubicBezTo>
                  <a:pt x="287" y="67"/>
                  <a:pt x="287" y="67"/>
                  <a:pt x="287" y="68"/>
                </a:cubicBezTo>
                <a:close/>
                <a:moveTo>
                  <a:pt x="237" y="80"/>
                </a:moveTo>
                <a:cubicBezTo>
                  <a:pt x="236" y="81"/>
                  <a:pt x="235" y="83"/>
                  <a:pt x="230" y="86"/>
                </a:cubicBezTo>
                <a:cubicBezTo>
                  <a:pt x="227" y="86"/>
                  <a:pt x="224" y="88"/>
                  <a:pt x="221" y="89"/>
                </a:cubicBezTo>
                <a:cubicBezTo>
                  <a:pt x="221" y="89"/>
                  <a:pt x="221" y="90"/>
                  <a:pt x="220" y="91"/>
                </a:cubicBezTo>
                <a:cubicBezTo>
                  <a:pt x="219" y="91"/>
                  <a:pt x="215" y="92"/>
                  <a:pt x="215" y="93"/>
                </a:cubicBezTo>
                <a:cubicBezTo>
                  <a:pt x="217" y="93"/>
                  <a:pt x="218" y="93"/>
                  <a:pt x="220" y="92"/>
                </a:cubicBezTo>
                <a:cubicBezTo>
                  <a:pt x="222" y="91"/>
                  <a:pt x="219" y="91"/>
                  <a:pt x="221" y="90"/>
                </a:cubicBezTo>
                <a:cubicBezTo>
                  <a:pt x="227" y="88"/>
                  <a:pt x="233" y="84"/>
                  <a:pt x="238" y="81"/>
                </a:cubicBezTo>
                <a:cubicBezTo>
                  <a:pt x="237" y="81"/>
                  <a:pt x="237" y="81"/>
                  <a:pt x="236" y="81"/>
                </a:cubicBezTo>
                <a:cubicBezTo>
                  <a:pt x="239" y="80"/>
                  <a:pt x="241" y="79"/>
                  <a:pt x="242" y="78"/>
                </a:cubicBezTo>
                <a:cubicBezTo>
                  <a:pt x="239" y="79"/>
                  <a:pt x="238" y="79"/>
                  <a:pt x="237" y="80"/>
                </a:cubicBezTo>
                <a:close/>
                <a:moveTo>
                  <a:pt x="228" y="79"/>
                </a:moveTo>
                <a:cubicBezTo>
                  <a:pt x="228" y="80"/>
                  <a:pt x="230" y="79"/>
                  <a:pt x="228" y="80"/>
                </a:cubicBezTo>
                <a:cubicBezTo>
                  <a:pt x="228" y="80"/>
                  <a:pt x="224" y="82"/>
                  <a:pt x="224" y="81"/>
                </a:cubicBezTo>
                <a:cubicBezTo>
                  <a:pt x="219" y="84"/>
                  <a:pt x="214" y="86"/>
                  <a:pt x="212" y="89"/>
                </a:cubicBezTo>
                <a:cubicBezTo>
                  <a:pt x="217" y="86"/>
                  <a:pt x="220" y="83"/>
                  <a:pt x="224" y="82"/>
                </a:cubicBezTo>
                <a:cubicBezTo>
                  <a:pt x="224" y="82"/>
                  <a:pt x="222" y="83"/>
                  <a:pt x="223" y="83"/>
                </a:cubicBezTo>
                <a:cubicBezTo>
                  <a:pt x="226" y="82"/>
                  <a:pt x="228" y="80"/>
                  <a:pt x="232" y="79"/>
                </a:cubicBezTo>
                <a:cubicBezTo>
                  <a:pt x="231" y="78"/>
                  <a:pt x="231" y="78"/>
                  <a:pt x="228" y="79"/>
                </a:cubicBezTo>
                <a:close/>
                <a:moveTo>
                  <a:pt x="209" y="55"/>
                </a:moveTo>
                <a:cubicBezTo>
                  <a:pt x="212" y="54"/>
                  <a:pt x="215" y="52"/>
                  <a:pt x="216" y="50"/>
                </a:cubicBezTo>
                <a:cubicBezTo>
                  <a:pt x="212" y="52"/>
                  <a:pt x="211" y="53"/>
                  <a:pt x="209" y="55"/>
                </a:cubicBezTo>
                <a:close/>
                <a:moveTo>
                  <a:pt x="220" y="66"/>
                </a:moveTo>
                <a:cubicBezTo>
                  <a:pt x="223" y="64"/>
                  <a:pt x="220" y="67"/>
                  <a:pt x="223" y="65"/>
                </a:cubicBezTo>
                <a:cubicBezTo>
                  <a:pt x="224" y="64"/>
                  <a:pt x="223" y="65"/>
                  <a:pt x="223" y="64"/>
                </a:cubicBezTo>
                <a:cubicBezTo>
                  <a:pt x="222" y="65"/>
                  <a:pt x="220" y="65"/>
                  <a:pt x="220" y="66"/>
                </a:cubicBezTo>
                <a:close/>
                <a:moveTo>
                  <a:pt x="217" y="67"/>
                </a:moveTo>
                <a:cubicBezTo>
                  <a:pt x="214" y="69"/>
                  <a:pt x="216" y="70"/>
                  <a:pt x="219" y="67"/>
                </a:cubicBezTo>
                <a:cubicBezTo>
                  <a:pt x="214" y="69"/>
                  <a:pt x="222" y="65"/>
                  <a:pt x="217" y="67"/>
                </a:cubicBezTo>
                <a:close/>
                <a:moveTo>
                  <a:pt x="226" y="94"/>
                </a:moveTo>
                <a:cubicBezTo>
                  <a:pt x="225" y="94"/>
                  <a:pt x="224" y="95"/>
                  <a:pt x="224" y="96"/>
                </a:cubicBezTo>
                <a:cubicBezTo>
                  <a:pt x="226" y="94"/>
                  <a:pt x="226" y="95"/>
                  <a:pt x="228" y="94"/>
                </a:cubicBezTo>
                <a:cubicBezTo>
                  <a:pt x="228" y="93"/>
                  <a:pt x="227" y="94"/>
                  <a:pt x="226" y="94"/>
                </a:cubicBezTo>
                <a:close/>
                <a:moveTo>
                  <a:pt x="216" y="80"/>
                </a:moveTo>
                <a:cubicBezTo>
                  <a:pt x="215" y="80"/>
                  <a:pt x="213" y="82"/>
                  <a:pt x="211" y="82"/>
                </a:cubicBezTo>
                <a:cubicBezTo>
                  <a:pt x="211" y="83"/>
                  <a:pt x="214" y="82"/>
                  <a:pt x="216" y="80"/>
                </a:cubicBezTo>
                <a:close/>
                <a:moveTo>
                  <a:pt x="206" y="79"/>
                </a:moveTo>
                <a:cubicBezTo>
                  <a:pt x="206" y="79"/>
                  <a:pt x="208" y="78"/>
                  <a:pt x="207" y="79"/>
                </a:cubicBezTo>
                <a:cubicBezTo>
                  <a:pt x="209" y="77"/>
                  <a:pt x="210" y="78"/>
                  <a:pt x="212" y="75"/>
                </a:cubicBezTo>
                <a:cubicBezTo>
                  <a:pt x="210" y="76"/>
                  <a:pt x="208" y="77"/>
                  <a:pt x="206" y="79"/>
                </a:cubicBezTo>
                <a:close/>
                <a:moveTo>
                  <a:pt x="192" y="65"/>
                </a:moveTo>
                <a:cubicBezTo>
                  <a:pt x="191" y="66"/>
                  <a:pt x="190" y="67"/>
                  <a:pt x="190" y="67"/>
                </a:cubicBezTo>
                <a:cubicBezTo>
                  <a:pt x="193" y="65"/>
                  <a:pt x="197" y="64"/>
                  <a:pt x="198" y="63"/>
                </a:cubicBezTo>
                <a:cubicBezTo>
                  <a:pt x="194" y="64"/>
                  <a:pt x="195" y="64"/>
                  <a:pt x="192" y="65"/>
                </a:cubicBezTo>
                <a:close/>
                <a:moveTo>
                  <a:pt x="208" y="90"/>
                </a:moveTo>
                <a:cubicBezTo>
                  <a:pt x="207" y="91"/>
                  <a:pt x="206" y="91"/>
                  <a:pt x="206" y="92"/>
                </a:cubicBezTo>
                <a:cubicBezTo>
                  <a:pt x="207" y="91"/>
                  <a:pt x="206" y="93"/>
                  <a:pt x="209" y="91"/>
                </a:cubicBezTo>
                <a:cubicBezTo>
                  <a:pt x="210" y="90"/>
                  <a:pt x="208" y="91"/>
                  <a:pt x="208" y="90"/>
                </a:cubicBezTo>
                <a:close/>
                <a:moveTo>
                  <a:pt x="207" y="101"/>
                </a:moveTo>
                <a:cubicBezTo>
                  <a:pt x="208" y="101"/>
                  <a:pt x="212" y="98"/>
                  <a:pt x="214" y="97"/>
                </a:cubicBezTo>
                <a:cubicBezTo>
                  <a:pt x="211" y="99"/>
                  <a:pt x="207" y="101"/>
                  <a:pt x="207" y="101"/>
                </a:cubicBezTo>
                <a:close/>
                <a:moveTo>
                  <a:pt x="190" y="86"/>
                </a:moveTo>
                <a:cubicBezTo>
                  <a:pt x="191" y="85"/>
                  <a:pt x="196" y="82"/>
                  <a:pt x="196" y="82"/>
                </a:cubicBezTo>
                <a:cubicBezTo>
                  <a:pt x="194" y="83"/>
                  <a:pt x="192" y="85"/>
                  <a:pt x="190" y="86"/>
                </a:cubicBezTo>
                <a:close/>
                <a:moveTo>
                  <a:pt x="198" y="111"/>
                </a:moveTo>
                <a:cubicBezTo>
                  <a:pt x="199" y="112"/>
                  <a:pt x="204" y="109"/>
                  <a:pt x="205" y="107"/>
                </a:cubicBezTo>
                <a:cubicBezTo>
                  <a:pt x="203" y="109"/>
                  <a:pt x="201" y="110"/>
                  <a:pt x="198" y="111"/>
                </a:cubicBezTo>
                <a:close/>
                <a:moveTo>
                  <a:pt x="185" y="86"/>
                </a:moveTo>
                <a:cubicBezTo>
                  <a:pt x="185" y="86"/>
                  <a:pt x="189" y="84"/>
                  <a:pt x="188" y="84"/>
                </a:cubicBezTo>
                <a:cubicBezTo>
                  <a:pt x="184" y="85"/>
                  <a:pt x="184" y="87"/>
                  <a:pt x="183" y="89"/>
                </a:cubicBezTo>
                <a:cubicBezTo>
                  <a:pt x="184" y="88"/>
                  <a:pt x="184" y="88"/>
                  <a:pt x="184" y="88"/>
                </a:cubicBezTo>
                <a:cubicBezTo>
                  <a:pt x="187" y="87"/>
                  <a:pt x="190" y="84"/>
                  <a:pt x="188" y="84"/>
                </a:cubicBezTo>
                <a:cubicBezTo>
                  <a:pt x="188" y="84"/>
                  <a:pt x="186" y="86"/>
                  <a:pt x="185" y="86"/>
                </a:cubicBezTo>
                <a:close/>
                <a:moveTo>
                  <a:pt x="175" y="77"/>
                </a:moveTo>
                <a:cubicBezTo>
                  <a:pt x="177" y="75"/>
                  <a:pt x="182" y="73"/>
                  <a:pt x="180" y="73"/>
                </a:cubicBezTo>
                <a:cubicBezTo>
                  <a:pt x="179" y="75"/>
                  <a:pt x="174" y="76"/>
                  <a:pt x="175" y="77"/>
                </a:cubicBezTo>
                <a:close/>
                <a:moveTo>
                  <a:pt x="186" y="115"/>
                </a:moveTo>
                <a:cubicBezTo>
                  <a:pt x="187" y="115"/>
                  <a:pt x="191" y="112"/>
                  <a:pt x="191" y="111"/>
                </a:cubicBezTo>
                <a:cubicBezTo>
                  <a:pt x="190" y="112"/>
                  <a:pt x="187" y="113"/>
                  <a:pt x="186" y="115"/>
                </a:cubicBezTo>
                <a:close/>
                <a:moveTo>
                  <a:pt x="177" y="93"/>
                </a:moveTo>
                <a:cubicBezTo>
                  <a:pt x="170" y="97"/>
                  <a:pt x="177" y="95"/>
                  <a:pt x="177" y="93"/>
                </a:cubicBezTo>
                <a:close/>
                <a:moveTo>
                  <a:pt x="183" y="114"/>
                </a:moveTo>
                <a:cubicBezTo>
                  <a:pt x="185" y="113"/>
                  <a:pt x="188" y="111"/>
                  <a:pt x="188" y="110"/>
                </a:cubicBezTo>
                <a:cubicBezTo>
                  <a:pt x="185" y="112"/>
                  <a:pt x="184" y="113"/>
                  <a:pt x="183" y="114"/>
                </a:cubicBezTo>
                <a:close/>
                <a:moveTo>
                  <a:pt x="158" y="89"/>
                </a:moveTo>
                <a:cubicBezTo>
                  <a:pt x="160" y="88"/>
                  <a:pt x="165" y="84"/>
                  <a:pt x="163" y="85"/>
                </a:cubicBezTo>
                <a:cubicBezTo>
                  <a:pt x="163" y="85"/>
                  <a:pt x="157" y="89"/>
                  <a:pt x="158" y="89"/>
                </a:cubicBezTo>
                <a:close/>
                <a:moveTo>
                  <a:pt x="166" y="104"/>
                </a:moveTo>
                <a:cubicBezTo>
                  <a:pt x="168" y="103"/>
                  <a:pt x="170" y="102"/>
                  <a:pt x="171" y="101"/>
                </a:cubicBezTo>
                <a:cubicBezTo>
                  <a:pt x="169" y="103"/>
                  <a:pt x="166" y="103"/>
                  <a:pt x="166" y="104"/>
                </a:cubicBezTo>
                <a:close/>
                <a:moveTo>
                  <a:pt x="172" y="122"/>
                </a:moveTo>
                <a:cubicBezTo>
                  <a:pt x="172" y="122"/>
                  <a:pt x="176" y="120"/>
                  <a:pt x="176" y="120"/>
                </a:cubicBezTo>
                <a:cubicBezTo>
                  <a:pt x="175" y="120"/>
                  <a:pt x="175" y="120"/>
                  <a:pt x="172" y="122"/>
                </a:cubicBezTo>
                <a:close/>
                <a:moveTo>
                  <a:pt x="142" y="97"/>
                </a:moveTo>
                <a:cubicBezTo>
                  <a:pt x="145" y="95"/>
                  <a:pt x="147" y="93"/>
                  <a:pt x="148" y="92"/>
                </a:cubicBezTo>
                <a:cubicBezTo>
                  <a:pt x="146" y="93"/>
                  <a:pt x="142" y="96"/>
                  <a:pt x="142" y="97"/>
                </a:cubicBezTo>
                <a:close/>
                <a:moveTo>
                  <a:pt x="155" y="112"/>
                </a:moveTo>
                <a:cubicBezTo>
                  <a:pt x="155" y="112"/>
                  <a:pt x="156" y="111"/>
                  <a:pt x="156" y="111"/>
                </a:cubicBezTo>
                <a:cubicBezTo>
                  <a:pt x="155" y="112"/>
                  <a:pt x="156" y="112"/>
                  <a:pt x="157" y="111"/>
                </a:cubicBezTo>
                <a:cubicBezTo>
                  <a:pt x="157" y="111"/>
                  <a:pt x="158" y="110"/>
                  <a:pt x="158" y="109"/>
                </a:cubicBezTo>
                <a:cubicBezTo>
                  <a:pt x="157" y="110"/>
                  <a:pt x="155" y="111"/>
                  <a:pt x="155" y="112"/>
                </a:cubicBezTo>
                <a:close/>
                <a:moveTo>
                  <a:pt x="164" y="129"/>
                </a:moveTo>
                <a:cubicBezTo>
                  <a:pt x="165" y="128"/>
                  <a:pt x="170" y="125"/>
                  <a:pt x="169" y="124"/>
                </a:cubicBezTo>
                <a:cubicBezTo>
                  <a:pt x="167" y="126"/>
                  <a:pt x="165" y="127"/>
                  <a:pt x="164" y="129"/>
                </a:cubicBezTo>
                <a:close/>
                <a:moveTo>
                  <a:pt x="153" y="112"/>
                </a:moveTo>
                <a:cubicBezTo>
                  <a:pt x="155" y="111"/>
                  <a:pt x="158" y="109"/>
                  <a:pt x="157" y="109"/>
                </a:cubicBezTo>
                <a:cubicBezTo>
                  <a:pt x="154" y="110"/>
                  <a:pt x="154" y="111"/>
                  <a:pt x="153" y="112"/>
                </a:cubicBezTo>
                <a:close/>
                <a:moveTo>
                  <a:pt x="164" y="125"/>
                </a:moveTo>
                <a:cubicBezTo>
                  <a:pt x="165" y="124"/>
                  <a:pt x="167" y="122"/>
                  <a:pt x="167" y="122"/>
                </a:cubicBezTo>
                <a:cubicBezTo>
                  <a:pt x="166" y="122"/>
                  <a:pt x="162" y="125"/>
                  <a:pt x="164" y="125"/>
                </a:cubicBezTo>
                <a:close/>
                <a:moveTo>
                  <a:pt x="162" y="131"/>
                </a:moveTo>
                <a:cubicBezTo>
                  <a:pt x="162" y="131"/>
                  <a:pt x="161" y="132"/>
                  <a:pt x="161" y="133"/>
                </a:cubicBezTo>
                <a:cubicBezTo>
                  <a:pt x="164" y="130"/>
                  <a:pt x="164" y="130"/>
                  <a:pt x="164" y="130"/>
                </a:cubicBezTo>
                <a:cubicBezTo>
                  <a:pt x="162" y="131"/>
                  <a:pt x="170" y="126"/>
                  <a:pt x="167" y="127"/>
                </a:cubicBezTo>
                <a:cubicBezTo>
                  <a:pt x="165" y="129"/>
                  <a:pt x="163" y="130"/>
                  <a:pt x="162" y="131"/>
                </a:cubicBezTo>
                <a:close/>
                <a:moveTo>
                  <a:pt x="153" y="115"/>
                </a:moveTo>
                <a:cubicBezTo>
                  <a:pt x="153" y="115"/>
                  <a:pt x="154" y="114"/>
                  <a:pt x="153" y="114"/>
                </a:cubicBezTo>
                <a:cubicBezTo>
                  <a:pt x="149" y="118"/>
                  <a:pt x="155" y="114"/>
                  <a:pt x="153" y="116"/>
                </a:cubicBezTo>
                <a:cubicBezTo>
                  <a:pt x="155" y="115"/>
                  <a:pt x="155" y="115"/>
                  <a:pt x="155" y="115"/>
                </a:cubicBezTo>
                <a:cubicBezTo>
                  <a:pt x="155" y="115"/>
                  <a:pt x="155" y="114"/>
                  <a:pt x="155" y="114"/>
                </a:cubicBezTo>
                <a:cubicBezTo>
                  <a:pt x="154" y="115"/>
                  <a:pt x="153" y="115"/>
                  <a:pt x="153" y="115"/>
                </a:cubicBezTo>
                <a:close/>
                <a:moveTo>
                  <a:pt x="132" y="105"/>
                </a:moveTo>
                <a:cubicBezTo>
                  <a:pt x="135" y="103"/>
                  <a:pt x="140" y="99"/>
                  <a:pt x="140" y="98"/>
                </a:cubicBezTo>
                <a:cubicBezTo>
                  <a:pt x="136" y="101"/>
                  <a:pt x="133" y="104"/>
                  <a:pt x="132" y="105"/>
                </a:cubicBezTo>
                <a:close/>
                <a:moveTo>
                  <a:pt x="158" y="134"/>
                </a:moveTo>
                <a:cubicBezTo>
                  <a:pt x="159" y="132"/>
                  <a:pt x="163" y="130"/>
                  <a:pt x="163" y="130"/>
                </a:cubicBezTo>
                <a:cubicBezTo>
                  <a:pt x="161" y="131"/>
                  <a:pt x="157" y="133"/>
                  <a:pt x="158" y="134"/>
                </a:cubicBezTo>
                <a:close/>
                <a:moveTo>
                  <a:pt x="149" y="141"/>
                </a:moveTo>
                <a:cubicBezTo>
                  <a:pt x="151" y="141"/>
                  <a:pt x="153" y="139"/>
                  <a:pt x="153" y="138"/>
                </a:cubicBezTo>
                <a:cubicBezTo>
                  <a:pt x="154" y="138"/>
                  <a:pt x="157" y="136"/>
                  <a:pt x="158" y="135"/>
                </a:cubicBezTo>
                <a:cubicBezTo>
                  <a:pt x="155" y="136"/>
                  <a:pt x="151" y="139"/>
                  <a:pt x="149" y="141"/>
                </a:cubicBezTo>
                <a:close/>
                <a:moveTo>
                  <a:pt x="132" y="110"/>
                </a:moveTo>
                <a:cubicBezTo>
                  <a:pt x="132" y="108"/>
                  <a:pt x="128" y="112"/>
                  <a:pt x="127" y="113"/>
                </a:cubicBezTo>
                <a:cubicBezTo>
                  <a:pt x="126" y="114"/>
                  <a:pt x="128" y="114"/>
                  <a:pt x="129" y="112"/>
                </a:cubicBezTo>
                <a:cubicBezTo>
                  <a:pt x="129" y="111"/>
                  <a:pt x="131" y="110"/>
                  <a:pt x="131" y="110"/>
                </a:cubicBezTo>
                <a:cubicBezTo>
                  <a:pt x="131" y="110"/>
                  <a:pt x="131" y="110"/>
                  <a:pt x="132" y="110"/>
                </a:cubicBezTo>
                <a:close/>
                <a:moveTo>
                  <a:pt x="137" y="153"/>
                </a:moveTo>
                <a:cubicBezTo>
                  <a:pt x="139" y="150"/>
                  <a:pt x="143" y="148"/>
                  <a:pt x="143" y="147"/>
                </a:cubicBezTo>
                <a:cubicBezTo>
                  <a:pt x="140" y="149"/>
                  <a:pt x="138" y="151"/>
                  <a:pt x="137" y="153"/>
                </a:cubicBezTo>
                <a:close/>
                <a:moveTo>
                  <a:pt x="105" y="131"/>
                </a:moveTo>
                <a:cubicBezTo>
                  <a:pt x="110" y="128"/>
                  <a:pt x="114" y="123"/>
                  <a:pt x="118" y="120"/>
                </a:cubicBezTo>
                <a:cubicBezTo>
                  <a:pt x="117" y="119"/>
                  <a:pt x="117" y="119"/>
                  <a:pt x="117" y="119"/>
                </a:cubicBezTo>
                <a:cubicBezTo>
                  <a:pt x="113" y="123"/>
                  <a:pt x="107" y="128"/>
                  <a:pt x="105" y="131"/>
                </a:cubicBezTo>
                <a:close/>
                <a:moveTo>
                  <a:pt x="144" y="153"/>
                </a:moveTo>
                <a:cubicBezTo>
                  <a:pt x="144" y="154"/>
                  <a:pt x="143" y="155"/>
                  <a:pt x="143" y="155"/>
                </a:cubicBezTo>
                <a:cubicBezTo>
                  <a:pt x="146" y="153"/>
                  <a:pt x="146" y="153"/>
                  <a:pt x="146" y="153"/>
                </a:cubicBezTo>
                <a:cubicBezTo>
                  <a:pt x="145" y="153"/>
                  <a:pt x="146" y="152"/>
                  <a:pt x="144" y="153"/>
                </a:cubicBezTo>
                <a:close/>
                <a:moveTo>
                  <a:pt x="124" y="137"/>
                </a:moveTo>
                <a:cubicBezTo>
                  <a:pt x="125" y="137"/>
                  <a:pt x="126" y="136"/>
                  <a:pt x="126" y="136"/>
                </a:cubicBezTo>
                <a:cubicBezTo>
                  <a:pt x="125" y="136"/>
                  <a:pt x="123" y="138"/>
                  <a:pt x="122" y="139"/>
                </a:cubicBezTo>
                <a:cubicBezTo>
                  <a:pt x="121" y="140"/>
                  <a:pt x="121" y="140"/>
                  <a:pt x="122" y="140"/>
                </a:cubicBezTo>
                <a:cubicBezTo>
                  <a:pt x="124" y="138"/>
                  <a:pt x="123" y="138"/>
                  <a:pt x="124" y="137"/>
                </a:cubicBezTo>
                <a:close/>
                <a:moveTo>
                  <a:pt x="112" y="136"/>
                </a:moveTo>
                <a:cubicBezTo>
                  <a:pt x="109" y="139"/>
                  <a:pt x="114" y="135"/>
                  <a:pt x="111" y="138"/>
                </a:cubicBezTo>
                <a:cubicBezTo>
                  <a:pt x="113" y="136"/>
                  <a:pt x="113" y="136"/>
                  <a:pt x="115" y="135"/>
                </a:cubicBezTo>
                <a:cubicBezTo>
                  <a:pt x="115" y="135"/>
                  <a:pt x="116" y="134"/>
                  <a:pt x="115" y="134"/>
                </a:cubicBezTo>
                <a:cubicBezTo>
                  <a:pt x="113" y="136"/>
                  <a:pt x="114" y="134"/>
                  <a:pt x="112" y="136"/>
                </a:cubicBezTo>
                <a:close/>
                <a:moveTo>
                  <a:pt x="125" y="156"/>
                </a:moveTo>
                <a:cubicBezTo>
                  <a:pt x="126" y="156"/>
                  <a:pt x="128" y="154"/>
                  <a:pt x="129" y="152"/>
                </a:cubicBezTo>
                <a:cubicBezTo>
                  <a:pt x="128" y="153"/>
                  <a:pt x="126" y="154"/>
                  <a:pt x="125" y="156"/>
                </a:cubicBezTo>
                <a:close/>
                <a:moveTo>
                  <a:pt x="113" y="150"/>
                </a:moveTo>
                <a:cubicBezTo>
                  <a:pt x="117" y="147"/>
                  <a:pt x="116" y="148"/>
                  <a:pt x="120" y="145"/>
                </a:cubicBezTo>
                <a:cubicBezTo>
                  <a:pt x="118" y="145"/>
                  <a:pt x="121" y="143"/>
                  <a:pt x="120" y="143"/>
                </a:cubicBezTo>
                <a:cubicBezTo>
                  <a:pt x="119" y="145"/>
                  <a:pt x="113" y="149"/>
                  <a:pt x="113" y="150"/>
                </a:cubicBezTo>
                <a:close/>
                <a:moveTo>
                  <a:pt x="112" y="138"/>
                </a:moveTo>
                <a:cubicBezTo>
                  <a:pt x="110" y="140"/>
                  <a:pt x="110" y="138"/>
                  <a:pt x="108" y="140"/>
                </a:cubicBezTo>
                <a:cubicBezTo>
                  <a:pt x="107" y="142"/>
                  <a:pt x="109" y="140"/>
                  <a:pt x="110" y="141"/>
                </a:cubicBezTo>
                <a:cubicBezTo>
                  <a:pt x="111" y="140"/>
                  <a:pt x="114" y="137"/>
                  <a:pt x="112" y="138"/>
                </a:cubicBezTo>
                <a:close/>
                <a:moveTo>
                  <a:pt x="96" y="141"/>
                </a:moveTo>
                <a:cubicBezTo>
                  <a:pt x="99" y="138"/>
                  <a:pt x="99" y="138"/>
                  <a:pt x="99" y="138"/>
                </a:cubicBezTo>
                <a:cubicBezTo>
                  <a:pt x="98" y="137"/>
                  <a:pt x="98" y="137"/>
                  <a:pt x="98" y="137"/>
                </a:cubicBezTo>
                <a:cubicBezTo>
                  <a:pt x="96" y="139"/>
                  <a:pt x="97" y="139"/>
                  <a:pt x="96" y="141"/>
                </a:cubicBezTo>
                <a:close/>
                <a:moveTo>
                  <a:pt x="119" y="170"/>
                </a:moveTo>
                <a:cubicBezTo>
                  <a:pt x="119" y="171"/>
                  <a:pt x="120" y="168"/>
                  <a:pt x="120" y="169"/>
                </a:cubicBezTo>
                <a:cubicBezTo>
                  <a:pt x="121" y="168"/>
                  <a:pt x="125" y="165"/>
                  <a:pt x="123" y="166"/>
                </a:cubicBezTo>
                <a:cubicBezTo>
                  <a:pt x="121" y="168"/>
                  <a:pt x="121" y="168"/>
                  <a:pt x="119" y="170"/>
                </a:cubicBezTo>
                <a:close/>
                <a:moveTo>
                  <a:pt x="111" y="161"/>
                </a:moveTo>
                <a:cubicBezTo>
                  <a:pt x="113" y="159"/>
                  <a:pt x="114" y="159"/>
                  <a:pt x="115" y="158"/>
                </a:cubicBezTo>
                <a:cubicBezTo>
                  <a:pt x="114" y="158"/>
                  <a:pt x="115" y="157"/>
                  <a:pt x="114" y="157"/>
                </a:cubicBezTo>
                <a:cubicBezTo>
                  <a:pt x="113" y="159"/>
                  <a:pt x="111" y="160"/>
                  <a:pt x="111" y="161"/>
                </a:cubicBezTo>
                <a:close/>
                <a:moveTo>
                  <a:pt x="85" y="151"/>
                </a:moveTo>
                <a:cubicBezTo>
                  <a:pt x="83" y="153"/>
                  <a:pt x="82" y="154"/>
                  <a:pt x="81" y="155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1" y="156"/>
                  <a:pt x="81" y="156"/>
                  <a:pt x="81" y="156"/>
                </a:cubicBezTo>
                <a:cubicBezTo>
                  <a:pt x="82" y="156"/>
                  <a:pt x="82" y="156"/>
                  <a:pt x="82" y="156"/>
                </a:cubicBezTo>
                <a:cubicBezTo>
                  <a:pt x="83" y="155"/>
                  <a:pt x="83" y="155"/>
                  <a:pt x="83" y="155"/>
                </a:cubicBezTo>
                <a:cubicBezTo>
                  <a:pt x="84" y="154"/>
                  <a:pt x="85" y="152"/>
                  <a:pt x="86" y="151"/>
                </a:cubicBezTo>
                <a:cubicBezTo>
                  <a:pt x="89" y="149"/>
                  <a:pt x="91" y="146"/>
                  <a:pt x="93" y="143"/>
                </a:cubicBezTo>
                <a:cubicBezTo>
                  <a:pt x="90" y="146"/>
                  <a:pt x="87" y="149"/>
                  <a:pt x="85" y="151"/>
                </a:cubicBezTo>
                <a:close/>
                <a:moveTo>
                  <a:pt x="88" y="156"/>
                </a:moveTo>
                <a:cubicBezTo>
                  <a:pt x="90" y="154"/>
                  <a:pt x="91" y="154"/>
                  <a:pt x="93" y="152"/>
                </a:cubicBezTo>
                <a:cubicBezTo>
                  <a:pt x="93" y="151"/>
                  <a:pt x="93" y="150"/>
                  <a:pt x="94" y="149"/>
                </a:cubicBezTo>
                <a:cubicBezTo>
                  <a:pt x="91" y="152"/>
                  <a:pt x="87" y="156"/>
                  <a:pt x="88" y="156"/>
                </a:cubicBezTo>
                <a:close/>
                <a:moveTo>
                  <a:pt x="86" y="154"/>
                </a:moveTo>
                <a:cubicBezTo>
                  <a:pt x="88" y="153"/>
                  <a:pt x="87" y="154"/>
                  <a:pt x="89" y="152"/>
                </a:cubicBezTo>
                <a:cubicBezTo>
                  <a:pt x="89" y="152"/>
                  <a:pt x="89" y="152"/>
                  <a:pt x="90" y="151"/>
                </a:cubicBezTo>
                <a:cubicBezTo>
                  <a:pt x="89" y="151"/>
                  <a:pt x="89" y="151"/>
                  <a:pt x="90" y="151"/>
                </a:cubicBezTo>
                <a:cubicBezTo>
                  <a:pt x="90" y="150"/>
                  <a:pt x="90" y="150"/>
                  <a:pt x="90" y="150"/>
                </a:cubicBezTo>
                <a:cubicBezTo>
                  <a:pt x="89" y="152"/>
                  <a:pt x="86" y="154"/>
                  <a:pt x="86" y="154"/>
                </a:cubicBezTo>
                <a:close/>
                <a:moveTo>
                  <a:pt x="96" y="160"/>
                </a:moveTo>
                <a:cubicBezTo>
                  <a:pt x="96" y="161"/>
                  <a:pt x="94" y="163"/>
                  <a:pt x="94" y="164"/>
                </a:cubicBezTo>
                <a:cubicBezTo>
                  <a:pt x="96" y="162"/>
                  <a:pt x="96" y="161"/>
                  <a:pt x="98" y="160"/>
                </a:cubicBezTo>
                <a:cubicBezTo>
                  <a:pt x="97" y="159"/>
                  <a:pt x="97" y="160"/>
                  <a:pt x="96" y="160"/>
                </a:cubicBezTo>
                <a:close/>
                <a:moveTo>
                  <a:pt x="95" y="158"/>
                </a:moveTo>
                <a:cubicBezTo>
                  <a:pt x="95" y="158"/>
                  <a:pt x="95" y="158"/>
                  <a:pt x="95" y="158"/>
                </a:cubicBezTo>
                <a:cubicBezTo>
                  <a:pt x="93" y="159"/>
                  <a:pt x="94" y="159"/>
                  <a:pt x="92" y="160"/>
                </a:cubicBezTo>
                <a:cubicBezTo>
                  <a:pt x="93" y="161"/>
                  <a:pt x="93" y="161"/>
                  <a:pt x="93" y="161"/>
                </a:cubicBezTo>
                <a:cubicBezTo>
                  <a:pt x="94" y="159"/>
                  <a:pt x="94" y="160"/>
                  <a:pt x="95" y="158"/>
                </a:cubicBezTo>
                <a:close/>
                <a:moveTo>
                  <a:pt x="85" y="163"/>
                </a:moveTo>
                <a:cubicBezTo>
                  <a:pt x="86" y="162"/>
                  <a:pt x="86" y="162"/>
                  <a:pt x="86" y="162"/>
                </a:cubicBezTo>
                <a:cubicBezTo>
                  <a:pt x="86" y="162"/>
                  <a:pt x="85" y="162"/>
                  <a:pt x="85" y="163"/>
                </a:cubicBezTo>
                <a:close/>
                <a:moveTo>
                  <a:pt x="91" y="167"/>
                </a:moveTo>
                <a:cubicBezTo>
                  <a:pt x="91" y="167"/>
                  <a:pt x="91" y="167"/>
                  <a:pt x="91" y="168"/>
                </a:cubicBezTo>
                <a:cubicBezTo>
                  <a:pt x="92" y="168"/>
                  <a:pt x="92" y="168"/>
                  <a:pt x="92" y="167"/>
                </a:cubicBezTo>
                <a:cubicBezTo>
                  <a:pt x="92" y="167"/>
                  <a:pt x="92" y="167"/>
                  <a:pt x="92" y="167"/>
                </a:cubicBezTo>
                <a:cubicBezTo>
                  <a:pt x="92" y="167"/>
                  <a:pt x="91" y="166"/>
                  <a:pt x="91" y="167"/>
                </a:cubicBezTo>
                <a:close/>
                <a:moveTo>
                  <a:pt x="101" y="179"/>
                </a:moveTo>
                <a:cubicBezTo>
                  <a:pt x="101" y="179"/>
                  <a:pt x="101" y="179"/>
                  <a:pt x="102" y="180"/>
                </a:cubicBezTo>
                <a:cubicBezTo>
                  <a:pt x="102" y="179"/>
                  <a:pt x="102" y="178"/>
                  <a:pt x="103" y="178"/>
                </a:cubicBezTo>
                <a:cubicBezTo>
                  <a:pt x="103" y="178"/>
                  <a:pt x="103" y="178"/>
                  <a:pt x="103" y="177"/>
                </a:cubicBezTo>
                <a:cubicBezTo>
                  <a:pt x="102" y="178"/>
                  <a:pt x="102" y="178"/>
                  <a:pt x="101" y="179"/>
                </a:cubicBezTo>
                <a:close/>
                <a:moveTo>
                  <a:pt x="111" y="187"/>
                </a:moveTo>
                <a:cubicBezTo>
                  <a:pt x="111" y="188"/>
                  <a:pt x="112" y="187"/>
                  <a:pt x="112" y="187"/>
                </a:cubicBezTo>
                <a:cubicBezTo>
                  <a:pt x="111" y="187"/>
                  <a:pt x="112" y="187"/>
                  <a:pt x="112" y="186"/>
                </a:cubicBezTo>
                <a:cubicBezTo>
                  <a:pt x="111" y="186"/>
                  <a:pt x="112" y="187"/>
                  <a:pt x="111" y="187"/>
                </a:cubicBezTo>
                <a:close/>
                <a:moveTo>
                  <a:pt x="100" y="178"/>
                </a:moveTo>
                <a:cubicBezTo>
                  <a:pt x="100" y="179"/>
                  <a:pt x="101" y="179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1" y="178"/>
                  <a:pt x="101" y="178"/>
                </a:cubicBezTo>
                <a:cubicBezTo>
                  <a:pt x="101" y="178"/>
                  <a:pt x="100" y="178"/>
                  <a:pt x="100" y="178"/>
                </a:cubicBezTo>
                <a:close/>
                <a:moveTo>
                  <a:pt x="101" y="180"/>
                </a:moveTo>
                <a:cubicBezTo>
                  <a:pt x="101" y="179"/>
                  <a:pt x="101" y="181"/>
                  <a:pt x="102" y="180"/>
                </a:cubicBezTo>
                <a:cubicBezTo>
                  <a:pt x="102" y="180"/>
                  <a:pt x="101" y="179"/>
                  <a:pt x="101" y="179"/>
                </a:cubicBezTo>
                <a:cubicBezTo>
                  <a:pt x="101" y="179"/>
                  <a:pt x="100" y="180"/>
                  <a:pt x="101" y="180"/>
                </a:cubicBezTo>
                <a:close/>
                <a:moveTo>
                  <a:pt x="76" y="157"/>
                </a:moveTo>
                <a:cubicBezTo>
                  <a:pt x="76" y="157"/>
                  <a:pt x="77" y="156"/>
                  <a:pt x="76" y="156"/>
                </a:cubicBezTo>
                <a:cubicBezTo>
                  <a:pt x="76" y="156"/>
                  <a:pt x="76" y="157"/>
                  <a:pt x="76" y="157"/>
                </a:cubicBezTo>
                <a:close/>
                <a:moveTo>
                  <a:pt x="99" y="179"/>
                </a:moveTo>
                <a:cubicBezTo>
                  <a:pt x="99" y="178"/>
                  <a:pt x="100" y="180"/>
                  <a:pt x="100" y="179"/>
                </a:cubicBezTo>
                <a:cubicBezTo>
                  <a:pt x="99" y="179"/>
                  <a:pt x="100" y="179"/>
                  <a:pt x="100" y="178"/>
                </a:cubicBezTo>
                <a:cubicBezTo>
                  <a:pt x="100" y="178"/>
                  <a:pt x="99" y="179"/>
                  <a:pt x="99" y="179"/>
                </a:cubicBezTo>
                <a:close/>
                <a:moveTo>
                  <a:pt x="104" y="186"/>
                </a:moveTo>
                <a:cubicBezTo>
                  <a:pt x="105" y="185"/>
                  <a:pt x="105" y="185"/>
                  <a:pt x="105" y="185"/>
                </a:cubicBezTo>
                <a:cubicBezTo>
                  <a:pt x="105" y="184"/>
                  <a:pt x="104" y="185"/>
                  <a:pt x="104" y="186"/>
                </a:cubicBezTo>
                <a:close/>
                <a:moveTo>
                  <a:pt x="100" y="181"/>
                </a:move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0" y="181"/>
                  <a:pt x="100" y="181"/>
                </a:cubicBezTo>
                <a:cubicBezTo>
                  <a:pt x="100" y="181"/>
                  <a:pt x="101" y="181"/>
                  <a:pt x="101" y="181"/>
                </a:cubicBezTo>
                <a:cubicBezTo>
                  <a:pt x="100" y="181"/>
                  <a:pt x="100" y="180"/>
                  <a:pt x="100" y="181"/>
                </a:cubicBezTo>
                <a:close/>
                <a:moveTo>
                  <a:pt x="108" y="192"/>
                </a:moveTo>
                <a:cubicBezTo>
                  <a:pt x="108" y="191"/>
                  <a:pt x="109" y="190"/>
                  <a:pt x="109" y="190"/>
                </a:cubicBezTo>
                <a:cubicBezTo>
                  <a:pt x="108" y="191"/>
                  <a:pt x="107" y="191"/>
                  <a:pt x="108" y="192"/>
                </a:cubicBezTo>
                <a:close/>
                <a:moveTo>
                  <a:pt x="76" y="161"/>
                </a:moveTo>
                <a:cubicBezTo>
                  <a:pt x="76" y="161"/>
                  <a:pt x="77" y="162"/>
                  <a:pt x="77" y="161"/>
                </a:cubicBezTo>
                <a:cubicBezTo>
                  <a:pt x="77" y="161"/>
                  <a:pt x="77" y="161"/>
                  <a:pt x="77" y="161"/>
                </a:cubicBezTo>
                <a:cubicBezTo>
                  <a:pt x="77" y="161"/>
                  <a:pt x="78" y="161"/>
                  <a:pt x="77" y="161"/>
                </a:cubicBezTo>
                <a:cubicBezTo>
                  <a:pt x="77" y="161"/>
                  <a:pt x="77" y="161"/>
                  <a:pt x="76" y="161"/>
                </a:cubicBezTo>
                <a:close/>
                <a:moveTo>
                  <a:pt x="99" y="182"/>
                </a:moveTo>
                <a:cubicBezTo>
                  <a:pt x="99" y="182"/>
                  <a:pt x="99" y="182"/>
                  <a:pt x="99" y="182"/>
                </a:cubicBezTo>
                <a:cubicBezTo>
                  <a:pt x="100" y="182"/>
                  <a:pt x="100" y="182"/>
                  <a:pt x="100" y="181"/>
                </a:cubicBezTo>
                <a:cubicBezTo>
                  <a:pt x="99" y="181"/>
                  <a:pt x="99" y="182"/>
                  <a:pt x="99" y="182"/>
                </a:cubicBezTo>
                <a:close/>
                <a:moveTo>
                  <a:pt x="102" y="184"/>
                </a:moveTo>
                <a:cubicBezTo>
                  <a:pt x="102" y="184"/>
                  <a:pt x="102" y="185"/>
                  <a:pt x="102" y="185"/>
                </a:cubicBezTo>
                <a:cubicBezTo>
                  <a:pt x="102" y="185"/>
                  <a:pt x="102" y="185"/>
                  <a:pt x="102" y="185"/>
                </a:cubicBezTo>
                <a:cubicBezTo>
                  <a:pt x="102" y="185"/>
                  <a:pt x="103" y="185"/>
                  <a:pt x="103" y="184"/>
                </a:cubicBezTo>
                <a:cubicBezTo>
                  <a:pt x="103" y="185"/>
                  <a:pt x="102" y="184"/>
                  <a:pt x="102" y="184"/>
                </a:cubicBezTo>
                <a:close/>
                <a:moveTo>
                  <a:pt x="103" y="187"/>
                </a:moveTo>
                <a:cubicBezTo>
                  <a:pt x="104" y="186"/>
                  <a:pt x="104" y="186"/>
                  <a:pt x="104" y="185"/>
                </a:cubicBezTo>
                <a:cubicBezTo>
                  <a:pt x="104" y="186"/>
                  <a:pt x="103" y="186"/>
                  <a:pt x="103" y="187"/>
                </a:cubicBezTo>
                <a:close/>
                <a:moveTo>
                  <a:pt x="99" y="185"/>
                </a:moveTo>
                <a:cubicBezTo>
                  <a:pt x="99" y="185"/>
                  <a:pt x="100" y="185"/>
                  <a:pt x="100" y="185"/>
                </a:cubicBezTo>
                <a:cubicBezTo>
                  <a:pt x="100" y="185"/>
                  <a:pt x="101" y="185"/>
                  <a:pt x="101" y="186"/>
                </a:cubicBezTo>
                <a:cubicBezTo>
                  <a:pt x="102" y="186"/>
                  <a:pt x="100" y="184"/>
                  <a:pt x="102" y="184"/>
                </a:cubicBezTo>
                <a:cubicBezTo>
                  <a:pt x="101" y="184"/>
                  <a:pt x="101" y="184"/>
                  <a:pt x="101" y="183"/>
                </a:cubicBezTo>
                <a:cubicBezTo>
                  <a:pt x="100" y="184"/>
                  <a:pt x="99" y="184"/>
                  <a:pt x="99" y="185"/>
                </a:cubicBezTo>
                <a:close/>
                <a:moveTo>
                  <a:pt x="84" y="169"/>
                </a:moveTo>
                <a:cubicBezTo>
                  <a:pt x="84" y="169"/>
                  <a:pt x="85" y="169"/>
                  <a:pt x="85" y="168"/>
                </a:cubicBezTo>
                <a:cubicBezTo>
                  <a:pt x="85" y="169"/>
                  <a:pt x="84" y="169"/>
                  <a:pt x="84" y="169"/>
                </a:cubicBezTo>
                <a:close/>
                <a:moveTo>
                  <a:pt x="97" y="181"/>
                </a:moveTo>
                <a:cubicBezTo>
                  <a:pt x="98" y="181"/>
                  <a:pt x="97" y="182"/>
                  <a:pt x="98" y="182"/>
                </a:cubicBezTo>
                <a:cubicBezTo>
                  <a:pt x="98" y="181"/>
                  <a:pt x="98" y="181"/>
                  <a:pt x="98" y="181"/>
                </a:cubicBezTo>
                <a:cubicBezTo>
                  <a:pt x="98" y="181"/>
                  <a:pt x="98" y="181"/>
                  <a:pt x="97" y="181"/>
                </a:cubicBezTo>
                <a:close/>
                <a:moveTo>
                  <a:pt x="105" y="194"/>
                </a:moveTo>
                <a:cubicBezTo>
                  <a:pt x="106" y="194"/>
                  <a:pt x="106" y="192"/>
                  <a:pt x="107" y="192"/>
                </a:cubicBezTo>
                <a:cubicBezTo>
                  <a:pt x="107" y="192"/>
                  <a:pt x="107" y="192"/>
                  <a:pt x="107" y="192"/>
                </a:cubicBezTo>
                <a:cubicBezTo>
                  <a:pt x="106" y="192"/>
                  <a:pt x="105" y="193"/>
                  <a:pt x="105" y="194"/>
                </a:cubicBezTo>
                <a:close/>
                <a:moveTo>
                  <a:pt x="91" y="184"/>
                </a:moveTo>
                <a:cubicBezTo>
                  <a:pt x="92" y="184"/>
                  <a:pt x="91" y="185"/>
                  <a:pt x="91" y="185"/>
                </a:cubicBezTo>
                <a:cubicBezTo>
                  <a:pt x="92" y="185"/>
                  <a:pt x="92" y="184"/>
                  <a:pt x="93" y="184"/>
                </a:cubicBezTo>
                <a:cubicBezTo>
                  <a:pt x="92" y="184"/>
                  <a:pt x="92" y="184"/>
                  <a:pt x="92" y="183"/>
                </a:cubicBezTo>
                <a:cubicBezTo>
                  <a:pt x="92" y="184"/>
                  <a:pt x="92" y="184"/>
                  <a:pt x="91" y="184"/>
                </a:cubicBezTo>
                <a:close/>
                <a:moveTo>
                  <a:pt x="72" y="169"/>
                </a:moveTo>
                <a:cubicBezTo>
                  <a:pt x="73" y="170"/>
                  <a:pt x="73" y="170"/>
                  <a:pt x="73" y="170"/>
                </a:cubicBezTo>
                <a:cubicBezTo>
                  <a:pt x="73" y="169"/>
                  <a:pt x="75" y="168"/>
                  <a:pt x="74" y="167"/>
                </a:cubicBezTo>
                <a:cubicBezTo>
                  <a:pt x="73" y="168"/>
                  <a:pt x="73" y="169"/>
                  <a:pt x="72" y="169"/>
                </a:cubicBezTo>
                <a:close/>
                <a:moveTo>
                  <a:pt x="74" y="170"/>
                </a:moveTo>
                <a:cubicBezTo>
                  <a:pt x="75" y="170"/>
                  <a:pt x="76" y="169"/>
                  <a:pt x="76" y="168"/>
                </a:cubicBezTo>
                <a:cubicBezTo>
                  <a:pt x="75" y="169"/>
                  <a:pt x="74" y="170"/>
                  <a:pt x="74" y="170"/>
                </a:cubicBezTo>
                <a:close/>
                <a:moveTo>
                  <a:pt x="88" y="184"/>
                </a:moveTo>
                <a:cubicBezTo>
                  <a:pt x="89" y="185"/>
                  <a:pt x="89" y="185"/>
                  <a:pt x="89" y="185"/>
                </a:cubicBezTo>
                <a:cubicBezTo>
                  <a:pt x="90" y="184"/>
                  <a:pt x="90" y="184"/>
                  <a:pt x="90" y="183"/>
                </a:cubicBezTo>
                <a:cubicBezTo>
                  <a:pt x="90" y="183"/>
                  <a:pt x="89" y="184"/>
                  <a:pt x="88" y="184"/>
                </a:cubicBezTo>
                <a:close/>
                <a:moveTo>
                  <a:pt x="71" y="168"/>
                </a:moveTo>
                <a:cubicBezTo>
                  <a:pt x="71" y="168"/>
                  <a:pt x="71" y="167"/>
                  <a:pt x="71" y="167"/>
                </a:cubicBezTo>
                <a:cubicBezTo>
                  <a:pt x="71" y="167"/>
                  <a:pt x="71" y="168"/>
                  <a:pt x="71" y="168"/>
                </a:cubicBezTo>
                <a:close/>
                <a:moveTo>
                  <a:pt x="89" y="187"/>
                </a:moveTo>
                <a:cubicBezTo>
                  <a:pt x="90" y="188"/>
                  <a:pt x="90" y="187"/>
                  <a:pt x="90" y="187"/>
                </a:cubicBezTo>
                <a:cubicBezTo>
                  <a:pt x="91" y="187"/>
                  <a:pt x="91" y="186"/>
                  <a:pt x="91" y="186"/>
                </a:cubicBezTo>
                <a:cubicBezTo>
                  <a:pt x="90" y="186"/>
                  <a:pt x="90" y="187"/>
                  <a:pt x="89" y="186"/>
                </a:cubicBezTo>
                <a:cubicBezTo>
                  <a:pt x="89" y="186"/>
                  <a:pt x="90" y="187"/>
                  <a:pt x="89" y="187"/>
                </a:cubicBezTo>
                <a:close/>
                <a:moveTo>
                  <a:pt x="84" y="182"/>
                </a:moveTo>
                <a:cubicBezTo>
                  <a:pt x="84" y="182"/>
                  <a:pt x="85" y="180"/>
                  <a:pt x="84" y="180"/>
                </a:cubicBezTo>
                <a:cubicBezTo>
                  <a:pt x="84" y="181"/>
                  <a:pt x="83" y="181"/>
                  <a:pt x="84" y="182"/>
                </a:cubicBezTo>
                <a:close/>
                <a:moveTo>
                  <a:pt x="72" y="173"/>
                </a:moveTo>
                <a:cubicBezTo>
                  <a:pt x="72" y="173"/>
                  <a:pt x="73" y="173"/>
                  <a:pt x="73" y="173"/>
                </a:cubicBezTo>
                <a:cubicBezTo>
                  <a:pt x="73" y="173"/>
                  <a:pt x="73" y="173"/>
                  <a:pt x="73" y="172"/>
                </a:cubicBezTo>
                <a:cubicBezTo>
                  <a:pt x="72" y="172"/>
                  <a:pt x="75" y="172"/>
                  <a:pt x="74" y="171"/>
                </a:cubicBezTo>
                <a:cubicBezTo>
                  <a:pt x="73" y="171"/>
                  <a:pt x="73" y="172"/>
                  <a:pt x="72" y="173"/>
                </a:cubicBezTo>
                <a:close/>
                <a:moveTo>
                  <a:pt x="97" y="197"/>
                </a:moveTo>
                <a:cubicBezTo>
                  <a:pt x="98" y="196"/>
                  <a:pt x="99" y="195"/>
                  <a:pt x="99" y="194"/>
                </a:cubicBezTo>
                <a:cubicBezTo>
                  <a:pt x="99" y="195"/>
                  <a:pt x="97" y="195"/>
                  <a:pt x="97" y="197"/>
                </a:cubicBezTo>
                <a:close/>
                <a:moveTo>
                  <a:pt x="69" y="174"/>
                </a:moveTo>
                <a:cubicBezTo>
                  <a:pt x="70" y="173"/>
                  <a:pt x="71" y="172"/>
                  <a:pt x="72" y="171"/>
                </a:cubicBezTo>
                <a:cubicBezTo>
                  <a:pt x="72" y="170"/>
                  <a:pt x="72" y="170"/>
                  <a:pt x="72" y="170"/>
                </a:cubicBezTo>
                <a:cubicBezTo>
                  <a:pt x="71" y="172"/>
                  <a:pt x="69" y="172"/>
                  <a:pt x="69" y="174"/>
                </a:cubicBezTo>
                <a:close/>
                <a:moveTo>
                  <a:pt x="91" y="189"/>
                </a:moveTo>
                <a:cubicBezTo>
                  <a:pt x="91" y="189"/>
                  <a:pt x="92" y="189"/>
                  <a:pt x="91" y="188"/>
                </a:cubicBezTo>
                <a:cubicBezTo>
                  <a:pt x="91" y="189"/>
                  <a:pt x="90" y="189"/>
                  <a:pt x="91" y="189"/>
                </a:cubicBezTo>
                <a:close/>
                <a:moveTo>
                  <a:pt x="69" y="171"/>
                </a:moveTo>
                <a:cubicBezTo>
                  <a:pt x="69" y="170"/>
                  <a:pt x="70" y="169"/>
                  <a:pt x="70" y="169"/>
                </a:cubicBezTo>
                <a:cubicBezTo>
                  <a:pt x="69" y="169"/>
                  <a:pt x="68" y="170"/>
                  <a:pt x="69" y="171"/>
                </a:cubicBezTo>
                <a:close/>
                <a:moveTo>
                  <a:pt x="67" y="172"/>
                </a:moveTo>
                <a:cubicBezTo>
                  <a:pt x="68" y="173"/>
                  <a:pt x="68" y="172"/>
                  <a:pt x="68" y="171"/>
                </a:cubicBezTo>
                <a:lnTo>
                  <a:pt x="67" y="172"/>
                </a:lnTo>
                <a:close/>
                <a:moveTo>
                  <a:pt x="96" y="198"/>
                </a:moveTo>
                <a:cubicBezTo>
                  <a:pt x="97" y="198"/>
                  <a:pt x="97" y="197"/>
                  <a:pt x="97" y="197"/>
                </a:cubicBezTo>
                <a:cubicBezTo>
                  <a:pt x="96" y="197"/>
                  <a:pt x="96" y="198"/>
                  <a:pt x="96" y="198"/>
                </a:cubicBezTo>
                <a:close/>
                <a:moveTo>
                  <a:pt x="75" y="181"/>
                </a:moveTo>
                <a:cubicBezTo>
                  <a:pt x="76" y="181"/>
                  <a:pt x="77" y="180"/>
                  <a:pt x="76" y="180"/>
                </a:cubicBezTo>
                <a:cubicBezTo>
                  <a:pt x="76" y="180"/>
                  <a:pt x="75" y="181"/>
                  <a:pt x="75" y="181"/>
                </a:cubicBezTo>
                <a:close/>
                <a:moveTo>
                  <a:pt x="90" y="195"/>
                </a:moveTo>
                <a:cubicBezTo>
                  <a:pt x="91" y="196"/>
                  <a:pt x="91" y="194"/>
                  <a:pt x="92" y="194"/>
                </a:cubicBezTo>
                <a:cubicBezTo>
                  <a:pt x="92" y="194"/>
                  <a:pt x="92" y="194"/>
                  <a:pt x="91" y="193"/>
                </a:cubicBezTo>
                <a:cubicBezTo>
                  <a:pt x="91" y="194"/>
                  <a:pt x="91" y="195"/>
                  <a:pt x="90" y="195"/>
                </a:cubicBezTo>
                <a:close/>
                <a:moveTo>
                  <a:pt x="65" y="173"/>
                </a:moveTo>
                <a:cubicBezTo>
                  <a:pt x="66" y="173"/>
                  <a:pt x="66" y="172"/>
                  <a:pt x="66" y="172"/>
                </a:cubicBezTo>
                <a:cubicBezTo>
                  <a:pt x="66" y="172"/>
                  <a:pt x="65" y="173"/>
                  <a:pt x="65" y="173"/>
                </a:cubicBezTo>
                <a:close/>
                <a:moveTo>
                  <a:pt x="67" y="176"/>
                </a:moveTo>
                <a:cubicBezTo>
                  <a:pt x="68" y="177"/>
                  <a:pt x="69" y="175"/>
                  <a:pt x="68" y="175"/>
                </a:cubicBezTo>
                <a:cubicBezTo>
                  <a:pt x="68" y="176"/>
                  <a:pt x="67" y="176"/>
                  <a:pt x="67" y="176"/>
                </a:cubicBezTo>
                <a:close/>
                <a:moveTo>
                  <a:pt x="70" y="178"/>
                </a:moveTo>
                <a:cubicBezTo>
                  <a:pt x="70" y="179"/>
                  <a:pt x="70" y="178"/>
                  <a:pt x="70" y="177"/>
                </a:cubicBezTo>
                <a:cubicBezTo>
                  <a:pt x="70" y="177"/>
                  <a:pt x="70" y="178"/>
                  <a:pt x="70" y="178"/>
                </a:cubicBezTo>
                <a:close/>
                <a:moveTo>
                  <a:pt x="88" y="196"/>
                </a:moveTo>
                <a:cubicBezTo>
                  <a:pt x="89" y="196"/>
                  <a:pt x="90" y="195"/>
                  <a:pt x="89" y="194"/>
                </a:cubicBezTo>
                <a:cubicBezTo>
                  <a:pt x="89" y="196"/>
                  <a:pt x="87" y="195"/>
                  <a:pt x="88" y="196"/>
                </a:cubicBezTo>
                <a:close/>
                <a:moveTo>
                  <a:pt x="63" y="174"/>
                </a:moveTo>
                <a:cubicBezTo>
                  <a:pt x="63" y="174"/>
                  <a:pt x="63" y="174"/>
                  <a:pt x="63" y="174"/>
                </a:cubicBezTo>
                <a:cubicBezTo>
                  <a:pt x="64" y="174"/>
                  <a:pt x="64" y="173"/>
                  <a:pt x="64" y="172"/>
                </a:cubicBezTo>
                <a:cubicBezTo>
                  <a:pt x="64" y="172"/>
                  <a:pt x="64" y="173"/>
                  <a:pt x="63" y="174"/>
                </a:cubicBezTo>
                <a:close/>
                <a:moveTo>
                  <a:pt x="87" y="195"/>
                </a:moveTo>
                <a:cubicBezTo>
                  <a:pt x="87" y="194"/>
                  <a:pt x="87" y="194"/>
                  <a:pt x="88" y="194"/>
                </a:cubicBezTo>
                <a:cubicBezTo>
                  <a:pt x="87" y="193"/>
                  <a:pt x="87" y="193"/>
                  <a:pt x="87" y="193"/>
                </a:cubicBezTo>
                <a:cubicBezTo>
                  <a:pt x="87" y="194"/>
                  <a:pt x="86" y="194"/>
                  <a:pt x="87" y="195"/>
                </a:cubicBezTo>
                <a:close/>
                <a:moveTo>
                  <a:pt x="89" y="196"/>
                </a:moveTo>
                <a:cubicBezTo>
                  <a:pt x="89" y="196"/>
                  <a:pt x="90" y="197"/>
                  <a:pt x="90" y="197"/>
                </a:cubicBezTo>
                <a:cubicBezTo>
                  <a:pt x="90" y="196"/>
                  <a:pt x="90" y="196"/>
                  <a:pt x="89" y="196"/>
                </a:cubicBezTo>
                <a:close/>
                <a:moveTo>
                  <a:pt x="70" y="180"/>
                </a:moveTo>
                <a:cubicBezTo>
                  <a:pt x="70" y="180"/>
                  <a:pt x="70" y="180"/>
                  <a:pt x="70" y="179"/>
                </a:cubicBezTo>
                <a:cubicBezTo>
                  <a:pt x="70" y="179"/>
                  <a:pt x="69" y="179"/>
                  <a:pt x="69" y="180"/>
                </a:cubicBezTo>
                <a:cubicBezTo>
                  <a:pt x="69" y="180"/>
                  <a:pt x="69" y="180"/>
                  <a:pt x="70" y="180"/>
                </a:cubicBezTo>
                <a:close/>
                <a:moveTo>
                  <a:pt x="63" y="175"/>
                </a:moveTo>
                <a:cubicBezTo>
                  <a:pt x="62" y="175"/>
                  <a:pt x="61" y="176"/>
                  <a:pt x="61" y="177"/>
                </a:cubicBezTo>
                <a:cubicBezTo>
                  <a:pt x="62" y="177"/>
                  <a:pt x="63" y="175"/>
                  <a:pt x="63" y="174"/>
                </a:cubicBezTo>
                <a:cubicBezTo>
                  <a:pt x="63" y="174"/>
                  <a:pt x="63" y="175"/>
                  <a:pt x="63" y="175"/>
                </a:cubicBezTo>
                <a:close/>
                <a:moveTo>
                  <a:pt x="88" y="201"/>
                </a:moveTo>
                <a:cubicBezTo>
                  <a:pt x="88" y="202"/>
                  <a:pt x="88" y="202"/>
                  <a:pt x="89" y="202"/>
                </a:cubicBezTo>
                <a:cubicBezTo>
                  <a:pt x="89" y="201"/>
                  <a:pt x="89" y="201"/>
                  <a:pt x="90" y="200"/>
                </a:cubicBezTo>
                <a:cubicBezTo>
                  <a:pt x="90" y="200"/>
                  <a:pt x="90" y="200"/>
                  <a:pt x="90" y="199"/>
                </a:cubicBezTo>
                <a:cubicBezTo>
                  <a:pt x="90" y="199"/>
                  <a:pt x="90" y="199"/>
                  <a:pt x="90" y="199"/>
                </a:cubicBezTo>
                <a:cubicBezTo>
                  <a:pt x="89" y="200"/>
                  <a:pt x="89" y="201"/>
                  <a:pt x="88" y="201"/>
                </a:cubicBezTo>
                <a:close/>
                <a:moveTo>
                  <a:pt x="92" y="203"/>
                </a:moveTo>
                <a:cubicBezTo>
                  <a:pt x="92" y="203"/>
                  <a:pt x="93" y="202"/>
                  <a:pt x="93" y="202"/>
                </a:cubicBezTo>
                <a:cubicBezTo>
                  <a:pt x="92" y="202"/>
                  <a:pt x="92" y="202"/>
                  <a:pt x="92" y="203"/>
                </a:cubicBezTo>
                <a:close/>
                <a:moveTo>
                  <a:pt x="62" y="177"/>
                </a:moveTo>
                <a:cubicBezTo>
                  <a:pt x="62" y="177"/>
                  <a:pt x="63" y="177"/>
                  <a:pt x="63" y="176"/>
                </a:cubicBezTo>
                <a:cubicBezTo>
                  <a:pt x="62" y="176"/>
                  <a:pt x="62" y="177"/>
                  <a:pt x="62" y="177"/>
                </a:cubicBezTo>
                <a:close/>
                <a:moveTo>
                  <a:pt x="62" y="177"/>
                </a:moveTo>
                <a:cubicBezTo>
                  <a:pt x="62" y="178"/>
                  <a:pt x="63" y="178"/>
                  <a:pt x="63" y="178"/>
                </a:cubicBezTo>
                <a:cubicBezTo>
                  <a:pt x="63" y="177"/>
                  <a:pt x="63" y="177"/>
                  <a:pt x="62" y="177"/>
                </a:cubicBezTo>
                <a:close/>
                <a:moveTo>
                  <a:pt x="90" y="205"/>
                </a:moveTo>
                <a:cubicBezTo>
                  <a:pt x="90" y="205"/>
                  <a:pt x="92" y="204"/>
                  <a:pt x="91" y="203"/>
                </a:cubicBezTo>
                <a:cubicBezTo>
                  <a:pt x="91" y="203"/>
                  <a:pt x="90" y="204"/>
                  <a:pt x="90" y="205"/>
                </a:cubicBezTo>
                <a:close/>
                <a:moveTo>
                  <a:pt x="89" y="203"/>
                </a:moveTo>
                <a:cubicBezTo>
                  <a:pt x="90" y="204"/>
                  <a:pt x="91" y="202"/>
                  <a:pt x="90" y="202"/>
                </a:cubicBezTo>
                <a:cubicBezTo>
                  <a:pt x="90" y="203"/>
                  <a:pt x="90" y="203"/>
                  <a:pt x="89" y="203"/>
                </a:cubicBezTo>
                <a:close/>
                <a:moveTo>
                  <a:pt x="78" y="193"/>
                </a:moveTo>
                <a:cubicBezTo>
                  <a:pt x="76" y="194"/>
                  <a:pt x="79" y="195"/>
                  <a:pt x="78" y="196"/>
                </a:cubicBezTo>
                <a:cubicBezTo>
                  <a:pt x="79" y="196"/>
                  <a:pt x="80" y="194"/>
                  <a:pt x="80" y="194"/>
                </a:cubicBezTo>
                <a:cubicBezTo>
                  <a:pt x="79" y="195"/>
                  <a:pt x="78" y="194"/>
                  <a:pt x="78" y="193"/>
                </a:cubicBezTo>
                <a:close/>
                <a:moveTo>
                  <a:pt x="70" y="188"/>
                </a:moveTo>
                <a:cubicBezTo>
                  <a:pt x="69" y="188"/>
                  <a:pt x="70" y="188"/>
                  <a:pt x="69" y="188"/>
                </a:cubicBezTo>
                <a:cubicBezTo>
                  <a:pt x="69" y="189"/>
                  <a:pt x="67" y="189"/>
                  <a:pt x="68" y="190"/>
                </a:cubicBezTo>
                <a:cubicBezTo>
                  <a:pt x="68" y="189"/>
                  <a:pt x="70" y="190"/>
                  <a:pt x="70" y="188"/>
                </a:cubicBezTo>
                <a:cubicBezTo>
                  <a:pt x="70" y="188"/>
                  <a:pt x="70" y="188"/>
                  <a:pt x="70" y="188"/>
                </a:cubicBezTo>
                <a:close/>
                <a:moveTo>
                  <a:pt x="66" y="185"/>
                </a:moveTo>
                <a:cubicBezTo>
                  <a:pt x="65" y="185"/>
                  <a:pt x="65" y="185"/>
                  <a:pt x="66" y="186"/>
                </a:cubicBezTo>
                <a:cubicBezTo>
                  <a:pt x="66" y="185"/>
                  <a:pt x="66" y="184"/>
                  <a:pt x="66" y="185"/>
                </a:cubicBezTo>
                <a:close/>
                <a:moveTo>
                  <a:pt x="79" y="199"/>
                </a:moveTo>
                <a:cubicBezTo>
                  <a:pt x="80" y="199"/>
                  <a:pt x="81" y="198"/>
                  <a:pt x="81" y="198"/>
                </a:cubicBezTo>
                <a:cubicBezTo>
                  <a:pt x="80" y="198"/>
                  <a:pt x="79" y="199"/>
                  <a:pt x="79" y="199"/>
                </a:cubicBezTo>
                <a:close/>
                <a:moveTo>
                  <a:pt x="84" y="202"/>
                </a:moveTo>
                <a:cubicBezTo>
                  <a:pt x="85" y="202"/>
                  <a:pt x="85" y="201"/>
                  <a:pt x="85" y="201"/>
                </a:cubicBezTo>
                <a:cubicBezTo>
                  <a:pt x="84" y="201"/>
                  <a:pt x="84" y="202"/>
                  <a:pt x="84" y="202"/>
                </a:cubicBezTo>
                <a:close/>
                <a:moveTo>
                  <a:pt x="58" y="182"/>
                </a:moveTo>
                <a:cubicBezTo>
                  <a:pt x="58" y="183"/>
                  <a:pt x="60" y="181"/>
                  <a:pt x="59" y="181"/>
                </a:cubicBezTo>
                <a:cubicBezTo>
                  <a:pt x="59" y="181"/>
                  <a:pt x="57" y="182"/>
                  <a:pt x="58" y="182"/>
                </a:cubicBezTo>
                <a:close/>
                <a:moveTo>
                  <a:pt x="76" y="197"/>
                </a:moveTo>
                <a:cubicBezTo>
                  <a:pt x="77" y="198"/>
                  <a:pt x="78" y="196"/>
                  <a:pt x="77" y="197"/>
                </a:cubicBezTo>
                <a:cubicBezTo>
                  <a:pt x="77" y="197"/>
                  <a:pt x="76" y="197"/>
                  <a:pt x="76" y="197"/>
                </a:cubicBezTo>
                <a:close/>
                <a:moveTo>
                  <a:pt x="68" y="191"/>
                </a:moveTo>
                <a:cubicBezTo>
                  <a:pt x="68" y="191"/>
                  <a:pt x="68" y="191"/>
                  <a:pt x="69" y="191"/>
                </a:cubicBezTo>
                <a:cubicBezTo>
                  <a:pt x="68" y="191"/>
                  <a:pt x="69" y="190"/>
                  <a:pt x="69" y="190"/>
                </a:cubicBezTo>
                <a:cubicBezTo>
                  <a:pt x="68" y="190"/>
                  <a:pt x="68" y="191"/>
                  <a:pt x="68" y="191"/>
                </a:cubicBezTo>
                <a:close/>
                <a:moveTo>
                  <a:pt x="69" y="194"/>
                </a:moveTo>
                <a:cubicBezTo>
                  <a:pt x="70" y="195"/>
                  <a:pt x="70" y="194"/>
                  <a:pt x="71" y="194"/>
                </a:cubicBezTo>
                <a:cubicBezTo>
                  <a:pt x="70" y="193"/>
                  <a:pt x="71" y="193"/>
                  <a:pt x="70" y="193"/>
                </a:cubicBezTo>
                <a:cubicBezTo>
                  <a:pt x="70" y="193"/>
                  <a:pt x="70" y="194"/>
                  <a:pt x="69" y="194"/>
                </a:cubicBezTo>
                <a:close/>
                <a:moveTo>
                  <a:pt x="64" y="195"/>
                </a:moveTo>
                <a:cubicBezTo>
                  <a:pt x="64" y="194"/>
                  <a:pt x="64" y="195"/>
                  <a:pt x="64" y="194"/>
                </a:cubicBezTo>
                <a:cubicBezTo>
                  <a:pt x="65" y="193"/>
                  <a:pt x="65" y="191"/>
                  <a:pt x="67" y="190"/>
                </a:cubicBezTo>
                <a:cubicBezTo>
                  <a:pt x="67" y="191"/>
                  <a:pt x="67" y="192"/>
                  <a:pt x="68" y="191"/>
                </a:cubicBezTo>
                <a:cubicBezTo>
                  <a:pt x="67" y="193"/>
                  <a:pt x="66" y="194"/>
                  <a:pt x="65" y="195"/>
                </a:cubicBezTo>
                <a:cubicBezTo>
                  <a:pt x="65" y="194"/>
                  <a:pt x="66" y="194"/>
                  <a:pt x="66" y="193"/>
                </a:cubicBezTo>
                <a:cubicBezTo>
                  <a:pt x="65" y="192"/>
                  <a:pt x="65" y="195"/>
                  <a:pt x="64" y="195"/>
                </a:cubicBezTo>
                <a:cubicBezTo>
                  <a:pt x="64" y="195"/>
                  <a:pt x="64" y="195"/>
                  <a:pt x="64" y="195"/>
                </a:cubicBezTo>
                <a:close/>
                <a:moveTo>
                  <a:pt x="66" y="192"/>
                </a:moveTo>
                <a:cubicBezTo>
                  <a:pt x="66" y="192"/>
                  <a:pt x="68" y="192"/>
                  <a:pt x="67" y="191"/>
                </a:cubicBezTo>
                <a:cubicBezTo>
                  <a:pt x="67" y="192"/>
                  <a:pt x="66" y="192"/>
                  <a:pt x="66" y="192"/>
                </a:cubicBezTo>
                <a:close/>
                <a:moveTo>
                  <a:pt x="68" y="196"/>
                </a:moveTo>
                <a:cubicBezTo>
                  <a:pt x="69" y="196"/>
                  <a:pt x="69" y="195"/>
                  <a:pt x="69" y="195"/>
                </a:cubicBezTo>
                <a:cubicBezTo>
                  <a:pt x="69" y="195"/>
                  <a:pt x="68" y="196"/>
                  <a:pt x="68" y="196"/>
                </a:cubicBezTo>
                <a:close/>
                <a:moveTo>
                  <a:pt x="81" y="205"/>
                </a:moveTo>
                <a:cubicBezTo>
                  <a:pt x="81" y="206"/>
                  <a:pt x="80" y="206"/>
                  <a:pt x="80" y="207"/>
                </a:cubicBezTo>
                <a:cubicBezTo>
                  <a:pt x="81" y="207"/>
                  <a:pt x="81" y="206"/>
                  <a:pt x="81" y="205"/>
                </a:cubicBezTo>
                <a:close/>
                <a:moveTo>
                  <a:pt x="85" y="210"/>
                </a:moveTo>
                <a:cubicBezTo>
                  <a:pt x="85" y="211"/>
                  <a:pt x="84" y="211"/>
                  <a:pt x="84" y="213"/>
                </a:cubicBezTo>
                <a:cubicBezTo>
                  <a:pt x="84" y="212"/>
                  <a:pt x="87" y="210"/>
                  <a:pt x="86" y="210"/>
                </a:cubicBezTo>
                <a:cubicBezTo>
                  <a:pt x="86" y="210"/>
                  <a:pt x="85" y="210"/>
                  <a:pt x="85" y="210"/>
                </a:cubicBezTo>
                <a:close/>
                <a:moveTo>
                  <a:pt x="81" y="210"/>
                </a:moveTo>
                <a:cubicBezTo>
                  <a:pt x="82" y="210"/>
                  <a:pt x="83" y="209"/>
                  <a:pt x="83" y="207"/>
                </a:cubicBezTo>
                <a:cubicBezTo>
                  <a:pt x="82" y="208"/>
                  <a:pt x="81" y="209"/>
                  <a:pt x="81" y="210"/>
                </a:cubicBezTo>
                <a:close/>
                <a:moveTo>
                  <a:pt x="67" y="196"/>
                </a:moveTo>
                <a:cubicBezTo>
                  <a:pt x="67" y="195"/>
                  <a:pt x="67" y="195"/>
                  <a:pt x="67" y="195"/>
                </a:cubicBezTo>
                <a:cubicBezTo>
                  <a:pt x="66" y="194"/>
                  <a:pt x="67" y="195"/>
                  <a:pt x="67" y="196"/>
                </a:cubicBezTo>
                <a:close/>
                <a:moveTo>
                  <a:pt x="54" y="186"/>
                </a:moveTo>
                <a:cubicBezTo>
                  <a:pt x="55" y="186"/>
                  <a:pt x="55" y="186"/>
                  <a:pt x="55" y="186"/>
                </a:cubicBezTo>
                <a:cubicBezTo>
                  <a:pt x="55" y="186"/>
                  <a:pt x="55" y="187"/>
                  <a:pt x="55" y="187"/>
                </a:cubicBezTo>
                <a:cubicBezTo>
                  <a:pt x="56" y="186"/>
                  <a:pt x="55" y="186"/>
                  <a:pt x="55" y="186"/>
                </a:cubicBezTo>
                <a:cubicBezTo>
                  <a:pt x="55" y="185"/>
                  <a:pt x="55" y="186"/>
                  <a:pt x="54" y="186"/>
                </a:cubicBezTo>
                <a:cubicBezTo>
                  <a:pt x="54" y="186"/>
                  <a:pt x="54" y="186"/>
                  <a:pt x="54" y="186"/>
                </a:cubicBezTo>
                <a:close/>
                <a:moveTo>
                  <a:pt x="63" y="194"/>
                </a:moveTo>
                <a:cubicBezTo>
                  <a:pt x="63" y="194"/>
                  <a:pt x="64" y="194"/>
                  <a:pt x="64" y="193"/>
                </a:cubicBezTo>
                <a:cubicBezTo>
                  <a:pt x="63" y="193"/>
                  <a:pt x="62" y="194"/>
                  <a:pt x="63" y="194"/>
                </a:cubicBezTo>
                <a:close/>
                <a:moveTo>
                  <a:pt x="68" y="198"/>
                </a:moveTo>
                <a:cubicBezTo>
                  <a:pt x="68" y="197"/>
                  <a:pt x="68" y="197"/>
                  <a:pt x="68" y="197"/>
                </a:cubicBezTo>
                <a:cubicBezTo>
                  <a:pt x="68" y="197"/>
                  <a:pt x="67" y="198"/>
                  <a:pt x="68" y="198"/>
                </a:cubicBezTo>
                <a:close/>
                <a:moveTo>
                  <a:pt x="68" y="200"/>
                </a:moveTo>
                <a:cubicBezTo>
                  <a:pt x="69" y="201"/>
                  <a:pt x="69" y="200"/>
                  <a:pt x="70" y="200"/>
                </a:cubicBezTo>
                <a:cubicBezTo>
                  <a:pt x="70" y="200"/>
                  <a:pt x="70" y="199"/>
                  <a:pt x="70" y="199"/>
                </a:cubicBezTo>
                <a:cubicBezTo>
                  <a:pt x="70" y="199"/>
                  <a:pt x="70" y="199"/>
                  <a:pt x="70" y="198"/>
                </a:cubicBezTo>
                <a:cubicBezTo>
                  <a:pt x="69" y="199"/>
                  <a:pt x="69" y="200"/>
                  <a:pt x="68" y="200"/>
                </a:cubicBezTo>
                <a:close/>
                <a:moveTo>
                  <a:pt x="53" y="186"/>
                </a:moveTo>
                <a:cubicBezTo>
                  <a:pt x="53" y="185"/>
                  <a:pt x="54" y="185"/>
                  <a:pt x="53" y="184"/>
                </a:cubicBezTo>
                <a:cubicBezTo>
                  <a:pt x="53" y="184"/>
                  <a:pt x="53" y="185"/>
                  <a:pt x="53" y="186"/>
                </a:cubicBezTo>
                <a:close/>
                <a:moveTo>
                  <a:pt x="66" y="197"/>
                </a:moveTo>
                <a:cubicBezTo>
                  <a:pt x="67" y="196"/>
                  <a:pt x="66" y="197"/>
                  <a:pt x="66" y="196"/>
                </a:cubicBezTo>
                <a:cubicBezTo>
                  <a:pt x="66" y="196"/>
                  <a:pt x="66" y="197"/>
                  <a:pt x="66" y="197"/>
                </a:cubicBezTo>
                <a:close/>
                <a:moveTo>
                  <a:pt x="71" y="202"/>
                </a:moveTo>
                <a:cubicBezTo>
                  <a:pt x="71" y="202"/>
                  <a:pt x="72" y="202"/>
                  <a:pt x="72" y="201"/>
                </a:cubicBezTo>
                <a:cubicBezTo>
                  <a:pt x="71" y="201"/>
                  <a:pt x="70" y="202"/>
                  <a:pt x="71" y="202"/>
                </a:cubicBezTo>
                <a:close/>
                <a:moveTo>
                  <a:pt x="60" y="193"/>
                </a:moveTo>
                <a:cubicBezTo>
                  <a:pt x="61" y="193"/>
                  <a:pt x="61" y="193"/>
                  <a:pt x="61" y="194"/>
                </a:cubicBezTo>
                <a:cubicBezTo>
                  <a:pt x="61" y="193"/>
                  <a:pt x="61" y="194"/>
                  <a:pt x="61" y="194"/>
                </a:cubicBezTo>
                <a:cubicBezTo>
                  <a:pt x="61" y="194"/>
                  <a:pt x="62" y="193"/>
                  <a:pt x="61" y="193"/>
                </a:cubicBezTo>
                <a:cubicBezTo>
                  <a:pt x="61" y="193"/>
                  <a:pt x="61" y="193"/>
                  <a:pt x="60" y="193"/>
                </a:cubicBezTo>
                <a:close/>
                <a:moveTo>
                  <a:pt x="54" y="191"/>
                </a:moveTo>
                <a:cubicBezTo>
                  <a:pt x="55" y="191"/>
                  <a:pt x="56" y="190"/>
                  <a:pt x="56" y="189"/>
                </a:cubicBezTo>
                <a:cubicBezTo>
                  <a:pt x="55" y="189"/>
                  <a:pt x="54" y="190"/>
                  <a:pt x="54" y="191"/>
                </a:cubicBezTo>
                <a:close/>
                <a:moveTo>
                  <a:pt x="76" y="210"/>
                </a:moveTo>
                <a:cubicBezTo>
                  <a:pt x="77" y="209"/>
                  <a:pt x="78" y="209"/>
                  <a:pt x="78" y="208"/>
                </a:cubicBezTo>
                <a:cubicBezTo>
                  <a:pt x="78" y="208"/>
                  <a:pt x="76" y="210"/>
                  <a:pt x="76" y="210"/>
                </a:cubicBezTo>
                <a:close/>
                <a:moveTo>
                  <a:pt x="75" y="208"/>
                </a:moveTo>
                <a:cubicBezTo>
                  <a:pt x="75" y="208"/>
                  <a:pt x="75" y="208"/>
                  <a:pt x="75" y="208"/>
                </a:cubicBezTo>
                <a:cubicBezTo>
                  <a:pt x="75" y="208"/>
                  <a:pt x="75" y="207"/>
                  <a:pt x="75" y="207"/>
                </a:cubicBezTo>
                <a:cubicBezTo>
                  <a:pt x="75" y="207"/>
                  <a:pt x="75" y="207"/>
                  <a:pt x="75" y="207"/>
                </a:cubicBezTo>
                <a:cubicBezTo>
                  <a:pt x="74" y="207"/>
                  <a:pt x="75" y="207"/>
                  <a:pt x="74" y="208"/>
                </a:cubicBezTo>
                <a:lnTo>
                  <a:pt x="75" y="208"/>
                </a:lnTo>
                <a:close/>
                <a:moveTo>
                  <a:pt x="74" y="206"/>
                </a:moveTo>
                <a:cubicBezTo>
                  <a:pt x="73" y="207"/>
                  <a:pt x="73" y="205"/>
                  <a:pt x="73" y="206"/>
                </a:cubicBezTo>
                <a:cubicBezTo>
                  <a:pt x="73" y="206"/>
                  <a:pt x="72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3" y="207"/>
                  <a:pt x="73" y="207"/>
                  <a:pt x="73" y="207"/>
                </a:cubicBezTo>
                <a:cubicBezTo>
                  <a:pt x="74" y="207"/>
                  <a:pt x="74" y="206"/>
                  <a:pt x="74" y="206"/>
                </a:cubicBezTo>
                <a:close/>
                <a:moveTo>
                  <a:pt x="50" y="189"/>
                </a:moveTo>
                <a:cubicBezTo>
                  <a:pt x="51" y="190"/>
                  <a:pt x="52" y="189"/>
                  <a:pt x="51" y="188"/>
                </a:cubicBezTo>
                <a:cubicBezTo>
                  <a:pt x="51" y="189"/>
                  <a:pt x="51" y="189"/>
                  <a:pt x="50" y="189"/>
                </a:cubicBezTo>
                <a:close/>
                <a:moveTo>
                  <a:pt x="53" y="192"/>
                </a:moveTo>
                <a:cubicBezTo>
                  <a:pt x="54" y="193"/>
                  <a:pt x="54" y="192"/>
                  <a:pt x="54" y="192"/>
                </a:cubicBezTo>
                <a:cubicBezTo>
                  <a:pt x="54" y="192"/>
                  <a:pt x="54" y="191"/>
                  <a:pt x="54" y="191"/>
                </a:cubicBezTo>
                <a:lnTo>
                  <a:pt x="53" y="192"/>
                </a:lnTo>
                <a:close/>
                <a:moveTo>
                  <a:pt x="73" y="209"/>
                </a:moveTo>
                <a:cubicBezTo>
                  <a:pt x="73" y="209"/>
                  <a:pt x="73" y="210"/>
                  <a:pt x="73" y="209"/>
                </a:cubicBezTo>
                <a:cubicBezTo>
                  <a:pt x="73" y="209"/>
                  <a:pt x="74" y="210"/>
                  <a:pt x="74" y="209"/>
                </a:cubicBezTo>
                <a:cubicBezTo>
                  <a:pt x="74" y="209"/>
                  <a:pt x="74" y="208"/>
                  <a:pt x="74" y="208"/>
                </a:cubicBezTo>
                <a:cubicBezTo>
                  <a:pt x="73" y="209"/>
                  <a:pt x="73" y="208"/>
                  <a:pt x="73" y="208"/>
                </a:cubicBezTo>
                <a:cubicBezTo>
                  <a:pt x="73" y="208"/>
                  <a:pt x="73" y="209"/>
                  <a:pt x="73" y="209"/>
                </a:cubicBezTo>
                <a:cubicBezTo>
                  <a:pt x="73" y="209"/>
                  <a:pt x="73" y="209"/>
                  <a:pt x="73" y="209"/>
                </a:cubicBezTo>
                <a:close/>
                <a:moveTo>
                  <a:pt x="49" y="190"/>
                </a:moveTo>
                <a:cubicBezTo>
                  <a:pt x="49" y="190"/>
                  <a:pt x="50" y="189"/>
                  <a:pt x="50" y="189"/>
                </a:cubicBezTo>
                <a:cubicBezTo>
                  <a:pt x="50" y="189"/>
                  <a:pt x="49" y="190"/>
                  <a:pt x="49" y="190"/>
                </a:cubicBezTo>
                <a:close/>
                <a:moveTo>
                  <a:pt x="52" y="194"/>
                </a:moveTo>
                <a:cubicBezTo>
                  <a:pt x="53" y="194"/>
                  <a:pt x="54" y="193"/>
                  <a:pt x="53" y="192"/>
                </a:cubicBezTo>
                <a:cubicBezTo>
                  <a:pt x="53" y="193"/>
                  <a:pt x="52" y="193"/>
                  <a:pt x="52" y="194"/>
                </a:cubicBezTo>
                <a:close/>
                <a:moveTo>
                  <a:pt x="66" y="205"/>
                </a:moveTo>
                <a:cubicBezTo>
                  <a:pt x="66" y="205"/>
                  <a:pt x="67" y="204"/>
                  <a:pt x="67" y="204"/>
                </a:cubicBezTo>
                <a:cubicBezTo>
                  <a:pt x="67" y="204"/>
                  <a:pt x="67" y="204"/>
                  <a:pt x="67" y="204"/>
                </a:cubicBezTo>
                <a:cubicBezTo>
                  <a:pt x="67" y="204"/>
                  <a:pt x="66" y="205"/>
                  <a:pt x="66" y="205"/>
                </a:cubicBezTo>
                <a:close/>
                <a:moveTo>
                  <a:pt x="58" y="198"/>
                </a:moveTo>
                <a:cubicBezTo>
                  <a:pt x="57" y="198"/>
                  <a:pt x="57" y="197"/>
                  <a:pt x="57" y="197"/>
                </a:cubicBezTo>
                <a:cubicBezTo>
                  <a:pt x="56" y="197"/>
                  <a:pt x="57" y="198"/>
                  <a:pt x="58" y="198"/>
                </a:cubicBezTo>
                <a:close/>
                <a:moveTo>
                  <a:pt x="50" y="197"/>
                </a:moveTo>
                <a:cubicBezTo>
                  <a:pt x="51" y="196"/>
                  <a:pt x="51" y="195"/>
                  <a:pt x="52" y="195"/>
                </a:cubicBezTo>
                <a:cubicBezTo>
                  <a:pt x="52" y="194"/>
                  <a:pt x="52" y="194"/>
                  <a:pt x="52" y="194"/>
                </a:cubicBezTo>
                <a:cubicBezTo>
                  <a:pt x="51" y="195"/>
                  <a:pt x="50" y="196"/>
                  <a:pt x="50" y="197"/>
                </a:cubicBezTo>
                <a:close/>
                <a:moveTo>
                  <a:pt x="79" y="218"/>
                </a:moveTo>
                <a:cubicBezTo>
                  <a:pt x="80" y="219"/>
                  <a:pt x="80" y="218"/>
                  <a:pt x="80" y="218"/>
                </a:cubicBezTo>
                <a:cubicBezTo>
                  <a:pt x="80" y="218"/>
                  <a:pt x="80" y="218"/>
                  <a:pt x="79" y="218"/>
                </a:cubicBezTo>
                <a:close/>
                <a:moveTo>
                  <a:pt x="45" y="192"/>
                </a:moveTo>
                <a:cubicBezTo>
                  <a:pt x="45" y="192"/>
                  <a:pt x="47" y="192"/>
                  <a:pt x="46" y="191"/>
                </a:cubicBezTo>
                <a:cubicBezTo>
                  <a:pt x="46" y="192"/>
                  <a:pt x="45" y="191"/>
                  <a:pt x="45" y="192"/>
                </a:cubicBezTo>
                <a:close/>
                <a:moveTo>
                  <a:pt x="42" y="196"/>
                </a:moveTo>
                <a:cubicBezTo>
                  <a:pt x="44" y="196"/>
                  <a:pt x="43" y="194"/>
                  <a:pt x="45" y="193"/>
                </a:cubicBezTo>
                <a:cubicBezTo>
                  <a:pt x="44" y="193"/>
                  <a:pt x="44" y="193"/>
                  <a:pt x="44" y="193"/>
                </a:cubicBezTo>
                <a:cubicBezTo>
                  <a:pt x="44" y="194"/>
                  <a:pt x="42" y="194"/>
                  <a:pt x="42" y="196"/>
                </a:cubicBezTo>
                <a:close/>
                <a:moveTo>
                  <a:pt x="49" y="199"/>
                </a:moveTo>
                <a:cubicBezTo>
                  <a:pt x="49" y="198"/>
                  <a:pt x="50" y="198"/>
                  <a:pt x="49" y="197"/>
                </a:cubicBezTo>
                <a:cubicBezTo>
                  <a:pt x="49" y="198"/>
                  <a:pt x="48" y="198"/>
                  <a:pt x="49" y="199"/>
                </a:cubicBezTo>
                <a:close/>
                <a:moveTo>
                  <a:pt x="67" y="214"/>
                </a:moveTo>
                <a:cubicBezTo>
                  <a:pt x="67" y="214"/>
                  <a:pt x="66" y="215"/>
                  <a:pt x="67" y="215"/>
                </a:cubicBezTo>
                <a:cubicBezTo>
                  <a:pt x="66" y="214"/>
                  <a:pt x="68" y="214"/>
                  <a:pt x="68" y="214"/>
                </a:cubicBezTo>
                <a:cubicBezTo>
                  <a:pt x="67" y="214"/>
                  <a:pt x="67" y="214"/>
                  <a:pt x="67" y="214"/>
                </a:cubicBezTo>
                <a:close/>
                <a:moveTo>
                  <a:pt x="72" y="224"/>
                </a:moveTo>
                <a:cubicBezTo>
                  <a:pt x="72" y="224"/>
                  <a:pt x="74" y="222"/>
                  <a:pt x="74" y="221"/>
                </a:cubicBezTo>
                <a:cubicBezTo>
                  <a:pt x="74" y="222"/>
                  <a:pt x="72" y="224"/>
                  <a:pt x="72" y="224"/>
                </a:cubicBezTo>
                <a:close/>
                <a:moveTo>
                  <a:pt x="59" y="212"/>
                </a:moveTo>
                <a:cubicBezTo>
                  <a:pt x="59" y="211"/>
                  <a:pt x="61" y="211"/>
                  <a:pt x="61" y="211"/>
                </a:cubicBezTo>
                <a:cubicBezTo>
                  <a:pt x="60" y="211"/>
                  <a:pt x="59" y="211"/>
                  <a:pt x="59" y="212"/>
                </a:cubicBezTo>
                <a:close/>
                <a:moveTo>
                  <a:pt x="71" y="219"/>
                </a:moveTo>
                <a:cubicBezTo>
                  <a:pt x="71" y="219"/>
                  <a:pt x="70" y="219"/>
                  <a:pt x="70" y="218"/>
                </a:cubicBezTo>
                <a:cubicBezTo>
                  <a:pt x="70" y="219"/>
                  <a:pt x="70" y="219"/>
                  <a:pt x="71" y="219"/>
                </a:cubicBezTo>
                <a:close/>
                <a:moveTo>
                  <a:pt x="41" y="197"/>
                </a:moveTo>
                <a:cubicBezTo>
                  <a:pt x="42" y="198"/>
                  <a:pt x="42" y="197"/>
                  <a:pt x="42" y="196"/>
                </a:cubicBezTo>
                <a:cubicBezTo>
                  <a:pt x="42" y="196"/>
                  <a:pt x="42" y="196"/>
                  <a:pt x="41" y="197"/>
                </a:cubicBezTo>
                <a:close/>
                <a:moveTo>
                  <a:pt x="57" y="214"/>
                </a:moveTo>
                <a:cubicBezTo>
                  <a:pt x="57" y="214"/>
                  <a:pt x="57" y="214"/>
                  <a:pt x="57" y="215"/>
                </a:cubicBezTo>
                <a:cubicBezTo>
                  <a:pt x="58" y="214"/>
                  <a:pt x="58" y="214"/>
                  <a:pt x="58" y="213"/>
                </a:cubicBezTo>
                <a:cubicBezTo>
                  <a:pt x="58" y="214"/>
                  <a:pt x="58" y="214"/>
                  <a:pt x="57" y="214"/>
                </a:cubicBezTo>
                <a:close/>
                <a:moveTo>
                  <a:pt x="62" y="219"/>
                </a:moveTo>
                <a:cubicBezTo>
                  <a:pt x="62" y="218"/>
                  <a:pt x="62" y="218"/>
                  <a:pt x="62" y="218"/>
                </a:cubicBezTo>
                <a:cubicBezTo>
                  <a:pt x="61" y="218"/>
                  <a:pt x="61" y="218"/>
                  <a:pt x="62" y="219"/>
                </a:cubicBezTo>
                <a:close/>
                <a:moveTo>
                  <a:pt x="62" y="219"/>
                </a:moveTo>
                <a:cubicBezTo>
                  <a:pt x="62" y="220"/>
                  <a:pt x="63" y="220"/>
                  <a:pt x="63" y="220"/>
                </a:cubicBezTo>
                <a:cubicBezTo>
                  <a:pt x="63" y="220"/>
                  <a:pt x="62" y="219"/>
                  <a:pt x="62" y="219"/>
                </a:cubicBezTo>
                <a:close/>
                <a:moveTo>
                  <a:pt x="43" y="206"/>
                </a:moveTo>
                <a:cubicBezTo>
                  <a:pt x="43" y="205"/>
                  <a:pt x="44" y="204"/>
                  <a:pt x="43" y="204"/>
                </a:cubicBezTo>
                <a:cubicBezTo>
                  <a:pt x="42" y="205"/>
                  <a:pt x="42" y="205"/>
                  <a:pt x="43" y="206"/>
                </a:cubicBezTo>
                <a:close/>
                <a:moveTo>
                  <a:pt x="59" y="218"/>
                </a:moveTo>
                <a:cubicBezTo>
                  <a:pt x="60" y="219"/>
                  <a:pt x="60" y="218"/>
                  <a:pt x="60" y="217"/>
                </a:cubicBezTo>
                <a:cubicBezTo>
                  <a:pt x="60" y="217"/>
                  <a:pt x="59" y="218"/>
                  <a:pt x="59" y="218"/>
                </a:cubicBezTo>
                <a:close/>
                <a:moveTo>
                  <a:pt x="57" y="218"/>
                </a:moveTo>
                <a:cubicBezTo>
                  <a:pt x="57" y="217"/>
                  <a:pt x="58" y="217"/>
                  <a:pt x="58" y="216"/>
                </a:cubicBezTo>
                <a:cubicBezTo>
                  <a:pt x="58" y="216"/>
                  <a:pt x="57" y="217"/>
                  <a:pt x="57" y="218"/>
                </a:cubicBezTo>
                <a:close/>
                <a:moveTo>
                  <a:pt x="64" y="226"/>
                </a:moveTo>
                <a:cubicBezTo>
                  <a:pt x="65" y="225"/>
                  <a:pt x="66" y="225"/>
                  <a:pt x="66" y="224"/>
                </a:cubicBezTo>
                <a:cubicBezTo>
                  <a:pt x="66" y="224"/>
                  <a:pt x="66" y="224"/>
                  <a:pt x="66" y="223"/>
                </a:cubicBezTo>
                <a:cubicBezTo>
                  <a:pt x="65" y="224"/>
                  <a:pt x="64" y="225"/>
                  <a:pt x="64" y="226"/>
                </a:cubicBezTo>
                <a:close/>
                <a:moveTo>
                  <a:pt x="49" y="214"/>
                </a:moveTo>
                <a:cubicBezTo>
                  <a:pt x="50" y="214"/>
                  <a:pt x="51" y="213"/>
                  <a:pt x="51" y="212"/>
                </a:cubicBezTo>
                <a:cubicBezTo>
                  <a:pt x="50" y="213"/>
                  <a:pt x="49" y="213"/>
                  <a:pt x="49" y="214"/>
                </a:cubicBezTo>
                <a:close/>
                <a:moveTo>
                  <a:pt x="57" y="221"/>
                </a:moveTo>
                <a:cubicBezTo>
                  <a:pt x="58" y="220"/>
                  <a:pt x="59" y="220"/>
                  <a:pt x="59" y="219"/>
                </a:cubicBezTo>
                <a:cubicBezTo>
                  <a:pt x="58" y="219"/>
                  <a:pt x="56" y="220"/>
                  <a:pt x="57" y="221"/>
                </a:cubicBezTo>
                <a:close/>
                <a:moveTo>
                  <a:pt x="41" y="208"/>
                </a:moveTo>
                <a:cubicBezTo>
                  <a:pt x="41" y="208"/>
                  <a:pt x="41" y="207"/>
                  <a:pt x="41" y="207"/>
                </a:cubicBezTo>
                <a:cubicBezTo>
                  <a:pt x="41" y="207"/>
                  <a:pt x="40" y="208"/>
                  <a:pt x="41" y="208"/>
                </a:cubicBezTo>
                <a:close/>
                <a:moveTo>
                  <a:pt x="62" y="226"/>
                </a:moveTo>
                <a:cubicBezTo>
                  <a:pt x="62" y="225"/>
                  <a:pt x="63" y="225"/>
                  <a:pt x="62" y="224"/>
                </a:cubicBezTo>
                <a:cubicBezTo>
                  <a:pt x="62" y="225"/>
                  <a:pt x="61" y="225"/>
                  <a:pt x="62" y="226"/>
                </a:cubicBezTo>
                <a:close/>
                <a:moveTo>
                  <a:pt x="53" y="219"/>
                </a:moveTo>
                <a:cubicBezTo>
                  <a:pt x="54" y="219"/>
                  <a:pt x="54" y="220"/>
                  <a:pt x="55" y="219"/>
                </a:cubicBezTo>
                <a:cubicBezTo>
                  <a:pt x="54" y="219"/>
                  <a:pt x="54" y="218"/>
                  <a:pt x="53" y="219"/>
                </a:cubicBezTo>
                <a:close/>
                <a:moveTo>
                  <a:pt x="68" y="232"/>
                </a:moveTo>
                <a:cubicBezTo>
                  <a:pt x="69" y="233"/>
                  <a:pt x="70" y="231"/>
                  <a:pt x="69" y="231"/>
                </a:cubicBezTo>
                <a:cubicBezTo>
                  <a:pt x="69" y="231"/>
                  <a:pt x="69" y="232"/>
                  <a:pt x="68" y="232"/>
                </a:cubicBezTo>
                <a:close/>
                <a:moveTo>
                  <a:pt x="55" y="224"/>
                </a:moveTo>
                <a:cubicBezTo>
                  <a:pt x="56" y="223"/>
                  <a:pt x="57" y="222"/>
                  <a:pt x="57" y="221"/>
                </a:cubicBezTo>
                <a:cubicBezTo>
                  <a:pt x="56" y="222"/>
                  <a:pt x="56" y="223"/>
                  <a:pt x="55" y="224"/>
                </a:cubicBezTo>
                <a:close/>
                <a:moveTo>
                  <a:pt x="62" y="228"/>
                </a:moveTo>
                <a:cubicBezTo>
                  <a:pt x="63" y="228"/>
                  <a:pt x="63" y="228"/>
                  <a:pt x="64" y="228"/>
                </a:cubicBezTo>
                <a:cubicBezTo>
                  <a:pt x="63" y="227"/>
                  <a:pt x="64" y="227"/>
                  <a:pt x="63" y="226"/>
                </a:cubicBezTo>
                <a:cubicBezTo>
                  <a:pt x="63" y="227"/>
                  <a:pt x="62" y="228"/>
                  <a:pt x="62" y="228"/>
                </a:cubicBezTo>
                <a:close/>
                <a:moveTo>
                  <a:pt x="53" y="220"/>
                </a:moveTo>
                <a:cubicBezTo>
                  <a:pt x="53" y="220"/>
                  <a:pt x="54" y="219"/>
                  <a:pt x="53" y="219"/>
                </a:cubicBezTo>
                <a:cubicBezTo>
                  <a:pt x="52" y="221"/>
                  <a:pt x="51" y="222"/>
                  <a:pt x="53" y="220"/>
                </a:cubicBezTo>
                <a:close/>
                <a:moveTo>
                  <a:pt x="47" y="216"/>
                </a:moveTo>
                <a:cubicBezTo>
                  <a:pt x="47" y="217"/>
                  <a:pt x="46" y="217"/>
                  <a:pt x="47" y="218"/>
                </a:cubicBezTo>
                <a:cubicBezTo>
                  <a:pt x="47" y="217"/>
                  <a:pt x="47" y="217"/>
                  <a:pt x="48" y="217"/>
                </a:cubicBezTo>
                <a:cubicBezTo>
                  <a:pt x="48" y="216"/>
                  <a:pt x="48" y="216"/>
                  <a:pt x="47" y="216"/>
                </a:cubicBezTo>
                <a:close/>
                <a:moveTo>
                  <a:pt x="59" y="227"/>
                </a:moveTo>
                <a:cubicBezTo>
                  <a:pt x="59" y="227"/>
                  <a:pt x="59" y="227"/>
                  <a:pt x="59" y="228"/>
                </a:cubicBezTo>
                <a:cubicBezTo>
                  <a:pt x="59" y="227"/>
                  <a:pt x="60" y="227"/>
                  <a:pt x="60" y="226"/>
                </a:cubicBezTo>
                <a:cubicBezTo>
                  <a:pt x="60" y="227"/>
                  <a:pt x="59" y="226"/>
                  <a:pt x="59" y="227"/>
                </a:cubicBezTo>
                <a:close/>
                <a:moveTo>
                  <a:pt x="57" y="227"/>
                </a:moveTo>
                <a:cubicBezTo>
                  <a:pt x="57" y="227"/>
                  <a:pt x="59" y="226"/>
                  <a:pt x="58" y="226"/>
                </a:cubicBezTo>
                <a:cubicBezTo>
                  <a:pt x="58" y="226"/>
                  <a:pt x="57" y="226"/>
                  <a:pt x="57" y="227"/>
                </a:cubicBezTo>
                <a:close/>
                <a:moveTo>
                  <a:pt x="51" y="223"/>
                </a:moveTo>
                <a:cubicBezTo>
                  <a:pt x="51" y="222"/>
                  <a:pt x="52" y="222"/>
                  <a:pt x="52" y="221"/>
                </a:cubicBezTo>
                <a:cubicBezTo>
                  <a:pt x="51" y="222"/>
                  <a:pt x="51" y="222"/>
                  <a:pt x="51" y="223"/>
                </a:cubicBezTo>
                <a:close/>
                <a:moveTo>
                  <a:pt x="33" y="211"/>
                </a:moveTo>
                <a:cubicBezTo>
                  <a:pt x="34" y="212"/>
                  <a:pt x="35" y="210"/>
                  <a:pt x="35" y="209"/>
                </a:cubicBezTo>
                <a:cubicBezTo>
                  <a:pt x="34" y="210"/>
                  <a:pt x="34" y="211"/>
                  <a:pt x="33" y="211"/>
                </a:cubicBezTo>
                <a:close/>
                <a:moveTo>
                  <a:pt x="40" y="214"/>
                </a:moveTo>
                <a:cubicBezTo>
                  <a:pt x="40" y="214"/>
                  <a:pt x="41" y="214"/>
                  <a:pt x="40" y="213"/>
                </a:cubicBezTo>
                <a:cubicBezTo>
                  <a:pt x="40" y="213"/>
                  <a:pt x="39" y="214"/>
                  <a:pt x="40" y="214"/>
                </a:cubicBezTo>
                <a:close/>
                <a:moveTo>
                  <a:pt x="35" y="215"/>
                </a:moveTo>
                <a:cubicBezTo>
                  <a:pt x="36" y="215"/>
                  <a:pt x="37" y="214"/>
                  <a:pt x="37" y="213"/>
                </a:cubicBezTo>
                <a:cubicBezTo>
                  <a:pt x="36" y="214"/>
                  <a:pt x="35" y="215"/>
                  <a:pt x="35" y="215"/>
                </a:cubicBezTo>
                <a:close/>
                <a:moveTo>
                  <a:pt x="48" y="223"/>
                </a:moveTo>
                <a:cubicBezTo>
                  <a:pt x="49" y="223"/>
                  <a:pt x="49" y="222"/>
                  <a:pt x="48" y="222"/>
                </a:cubicBezTo>
                <a:cubicBezTo>
                  <a:pt x="48" y="222"/>
                  <a:pt x="48" y="223"/>
                  <a:pt x="48" y="223"/>
                </a:cubicBezTo>
                <a:close/>
                <a:moveTo>
                  <a:pt x="38" y="217"/>
                </a:moveTo>
                <a:cubicBezTo>
                  <a:pt x="38" y="217"/>
                  <a:pt x="39" y="216"/>
                  <a:pt x="39" y="215"/>
                </a:cubicBezTo>
                <a:lnTo>
                  <a:pt x="38" y="217"/>
                </a:lnTo>
                <a:close/>
                <a:moveTo>
                  <a:pt x="43" y="223"/>
                </a:moveTo>
                <a:cubicBezTo>
                  <a:pt x="43" y="223"/>
                  <a:pt x="45" y="222"/>
                  <a:pt x="44" y="221"/>
                </a:cubicBezTo>
                <a:cubicBezTo>
                  <a:pt x="44" y="222"/>
                  <a:pt x="42" y="223"/>
                  <a:pt x="43" y="223"/>
                </a:cubicBezTo>
                <a:close/>
                <a:moveTo>
                  <a:pt x="62" y="237"/>
                </a:moveTo>
                <a:cubicBezTo>
                  <a:pt x="62" y="237"/>
                  <a:pt x="63" y="236"/>
                  <a:pt x="62" y="235"/>
                </a:cubicBezTo>
                <a:cubicBezTo>
                  <a:pt x="62" y="236"/>
                  <a:pt x="61" y="237"/>
                  <a:pt x="62" y="237"/>
                </a:cubicBezTo>
                <a:close/>
                <a:moveTo>
                  <a:pt x="30" y="213"/>
                </a:moveTo>
                <a:cubicBezTo>
                  <a:pt x="30" y="212"/>
                  <a:pt x="31" y="212"/>
                  <a:pt x="30" y="211"/>
                </a:cubicBezTo>
                <a:cubicBezTo>
                  <a:pt x="30" y="212"/>
                  <a:pt x="29" y="212"/>
                  <a:pt x="30" y="213"/>
                </a:cubicBezTo>
                <a:close/>
                <a:moveTo>
                  <a:pt x="49" y="228"/>
                </a:moveTo>
                <a:cubicBezTo>
                  <a:pt x="50" y="229"/>
                  <a:pt x="50" y="227"/>
                  <a:pt x="50" y="228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1" y="227"/>
                  <a:pt x="51" y="227"/>
                  <a:pt x="51" y="227"/>
                </a:cubicBezTo>
                <a:cubicBezTo>
                  <a:pt x="50" y="228"/>
                  <a:pt x="49" y="227"/>
                  <a:pt x="49" y="228"/>
                </a:cubicBezTo>
                <a:close/>
                <a:moveTo>
                  <a:pt x="44" y="225"/>
                </a:moveTo>
                <a:cubicBezTo>
                  <a:pt x="44" y="224"/>
                  <a:pt x="45" y="224"/>
                  <a:pt x="44" y="223"/>
                </a:cubicBezTo>
                <a:cubicBezTo>
                  <a:pt x="44" y="224"/>
                  <a:pt x="44" y="224"/>
                  <a:pt x="44" y="225"/>
                </a:cubicBezTo>
                <a:close/>
                <a:moveTo>
                  <a:pt x="64" y="238"/>
                </a:moveTo>
                <a:cubicBezTo>
                  <a:pt x="63" y="238"/>
                  <a:pt x="63" y="239"/>
                  <a:pt x="63" y="239"/>
                </a:cubicBezTo>
                <a:cubicBezTo>
                  <a:pt x="64" y="239"/>
                  <a:pt x="64" y="239"/>
                  <a:pt x="64" y="238"/>
                </a:cubicBezTo>
                <a:close/>
                <a:moveTo>
                  <a:pt x="29" y="217"/>
                </a:moveTo>
                <a:cubicBezTo>
                  <a:pt x="30" y="217"/>
                  <a:pt x="30" y="216"/>
                  <a:pt x="30" y="215"/>
                </a:cubicBezTo>
                <a:cubicBezTo>
                  <a:pt x="30" y="216"/>
                  <a:pt x="29" y="216"/>
                  <a:pt x="29" y="217"/>
                </a:cubicBezTo>
                <a:close/>
                <a:moveTo>
                  <a:pt x="55" y="237"/>
                </a:moveTo>
                <a:cubicBezTo>
                  <a:pt x="55" y="236"/>
                  <a:pt x="56" y="236"/>
                  <a:pt x="56" y="235"/>
                </a:cubicBezTo>
                <a:cubicBezTo>
                  <a:pt x="55" y="235"/>
                  <a:pt x="55" y="236"/>
                  <a:pt x="55" y="237"/>
                </a:cubicBezTo>
                <a:close/>
                <a:moveTo>
                  <a:pt x="47" y="231"/>
                </a:moveTo>
                <a:cubicBezTo>
                  <a:pt x="47" y="232"/>
                  <a:pt x="48" y="230"/>
                  <a:pt x="48" y="230"/>
                </a:cubicBezTo>
                <a:cubicBezTo>
                  <a:pt x="47" y="230"/>
                  <a:pt x="47" y="230"/>
                  <a:pt x="47" y="231"/>
                </a:cubicBezTo>
                <a:close/>
                <a:moveTo>
                  <a:pt x="61" y="240"/>
                </a:moveTo>
                <a:cubicBezTo>
                  <a:pt x="62" y="240"/>
                  <a:pt x="61" y="240"/>
                  <a:pt x="61" y="239"/>
                </a:cubicBezTo>
                <a:cubicBezTo>
                  <a:pt x="61" y="240"/>
                  <a:pt x="61" y="240"/>
                  <a:pt x="61" y="240"/>
                </a:cubicBezTo>
                <a:close/>
                <a:moveTo>
                  <a:pt x="34" y="223"/>
                </a:moveTo>
                <a:cubicBezTo>
                  <a:pt x="34" y="222"/>
                  <a:pt x="35" y="222"/>
                  <a:pt x="35" y="221"/>
                </a:cubicBezTo>
                <a:cubicBezTo>
                  <a:pt x="34" y="221"/>
                  <a:pt x="33" y="222"/>
                  <a:pt x="34" y="223"/>
                </a:cubicBezTo>
                <a:close/>
                <a:moveTo>
                  <a:pt x="26" y="217"/>
                </a:moveTo>
                <a:cubicBezTo>
                  <a:pt x="26" y="217"/>
                  <a:pt x="27" y="217"/>
                  <a:pt x="26" y="216"/>
                </a:cubicBezTo>
                <a:cubicBezTo>
                  <a:pt x="26" y="217"/>
                  <a:pt x="26" y="217"/>
                  <a:pt x="26" y="217"/>
                </a:cubicBezTo>
                <a:close/>
                <a:moveTo>
                  <a:pt x="32" y="222"/>
                </a:moveTo>
                <a:cubicBezTo>
                  <a:pt x="33" y="222"/>
                  <a:pt x="33" y="222"/>
                  <a:pt x="33" y="221"/>
                </a:cubicBezTo>
                <a:cubicBezTo>
                  <a:pt x="32" y="221"/>
                  <a:pt x="32" y="222"/>
                  <a:pt x="32" y="222"/>
                </a:cubicBezTo>
                <a:close/>
                <a:moveTo>
                  <a:pt x="27" y="218"/>
                </a:moveTo>
                <a:cubicBezTo>
                  <a:pt x="27" y="219"/>
                  <a:pt x="26" y="220"/>
                  <a:pt x="27" y="221"/>
                </a:cubicBezTo>
                <a:cubicBezTo>
                  <a:pt x="27" y="220"/>
                  <a:pt x="27" y="220"/>
                  <a:pt x="28" y="219"/>
                </a:cubicBezTo>
                <a:cubicBezTo>
                  <a:pt x="28" y="219"/>
                  <a:pt x="28" y="218"/>
                  <a:pt x="27" y="218"/>
                </a:cubicBezTo>
                <a:close/>
                <a:moveTo>
                  <a:pt x="32" y="225"/>
                </a:moveTo>
                <a:cubicBezTo>
                  <a:pt x="33" y="224"/>
                  <a:pt x="33" y="224"/>
                  <a:pt x="34" y="223"/>
                </a:cubicBezTo>
                <a:cubicBezTo>
                  <a:pt x="33" y="223"/>
                  <a:pt x="33" y="223"/>
                  <a:pt x="33" y="223"/>
                </a:cubicBezTo>
                <a:cubicBezTo>
                  <a:pt x="32" y="223"/>
                  <a:pt x="32" y="224"/>
                  <a:pt x="32" y="225"/>
                </a:cubicBezTo>
                <a:close/>
                <a:moveTo>
                  <a:pt x="23" y="221"/>
                </a:moveTo>
                <a:cubicBezTo>
                  <a:pt x="24" y="220"/>
                  <a:pt x="25" y="219"/>
                  <a:pt x="26" y="217"/>
                </a:cubicBezTo>
                <a:cubicBezTo>
                  <a:pt x="25" y="219"/>
                  <a:pt x="24" y="220"/>
                  <a:pt x="23" y="221"/>
                </a:cubicBezTo>
                <a:close/>
                <a:moveTo>
                  <a:pt x="57" y="242"/>
                </a:moveTo>
                <a:cubicBezTo>
                  <a:pt x="58" y="243"/>
                  <a:pt x="58" y="243"/>
                  <a:pt x="58" y="243"/>
                </a:cubicBezTo>
                <a:cubicBezTo>
                  <a:pt x="59" y="243"/>
                  <a:pt x="58" y="242"/>
                  <a:pt x="58" y="241"/>
                </a:cubicBezTo>
                <a:lnTo>
                  <a:pt x="57" y="242"/>
                </a:lnTo>
                <a:close/>
                <a:moveTo>
                  <a:pt x="25" y="220"/>
                </a:moveTo>
                <a:cubicBezTo>
                  <a:pt x="26" y="220"/>
                  <a:pt x="26" y="219"/>
                  <a:pt x="26" y="218"/>
                </a:cubicBezTo>
                <a:cubicBezTo>
                  <a:pt x="26" y="218"/>
                  <a:pt x="25" y="219"/>
                  <a:pt x="25" y="220"/>
                </a:cubicBezTo>
                <a:close/>
                <a:moveTo>
                  <a:pt x="44" y="234"/>
                </a:moveTo>
                <a:cubicBezTo>
                  <a:pt x="44" y="234"/>
                  <a:pt x="45" y="233"/>
                  <a:pt x="45" y="233"/>
                </a:cubicBezTo>
                <a:cubicBezTo>
                  <a:pt x="44" y="233"/>
                  <a:pt x="43" y="233"/>
                  <a:pt x="44" y="234"/>
                </a:cubicBezTo>
                <a:close/>
                <a:moveTo>
                  <a:pt x="49" y="243"/>
                </a:moveTo>
                <a:cubicBezTo>
                  <a:pt x="50" y="242"/>
                  <a:pt x="52" y="240"/>
                  <a:pt x="52" y="239"/>
                </a:cubicBezTo>
                <a:cubicBezTo>
                  <a:pt x="51" y="241"/>
                  <a:pt x="49" y="241"/>
                  <a:pt x="49" y="243"/>
                </a:cubicBezTo>
                <a:close/>
                <a:moveTo>
                  <a:pt x="31" y="225"/>
                </a:moveTo>
                <a:cubicBezTo>
                  <a:pt x="32" y="225"/>
                  <a:pt x="31" y="226"/>
                  <a:pt x="31" y="226"/>
                </a:cubicBezTo>
                <a:cubicBezTo>
                  <a:pt x="32" y="226"/>
                  <a:pt x="32" y="226"/>
                  <a:pt x="32" y="225"/>
                </a:cubicBezTo>
                <a:cubicBezTo>
                  <a:pt x="32" y="225"/>
                  <a:pt x="32" y="225"/>
                  <a:pt x="31" y="225"/>
                </a:cubicBezTo>
                <a:close/>
                <a:moveTo>
                  <a:pt x="42" y="242"/>
                </a:moveTo>
                <a:cubicBezTo>
                  <a:pt x="43" y="241"/>
                  <a:pt x="45" y="239"/>
                  <a:pt x="46" y="236"/>
                </a:cubicBezTo>
                <a:cubicBezTo>
                  <a:pt x="46" y="237"/>
                  <a:pt x="46" y="238"/>
                  <a:pt x="47" y="237"/>
                </a:cubicBezTo>
                <a:cubicBezTo>
                  <a:pt x="47" y="236"/>
                  <a:pt x="46" y="236"/>
                  <a:pt x="46" y="235"/>
                </a:cubicBezTo>
                <a:cubicBezTo>
                  <a:pt x="45" y="238"/>
                  <a:pt x="42" y="240"/>
                  <a:pt x="42" y="242"/>
                </a:cubicBezTo>
                <a:close/>
                <a:moveTo>
                  <a:pt x="23" y="220"/>
                </a:moveTo>
                <a:cubicBezTo>
                  <a:pt x="23" y="220"/>
                  <a:pt x="22" y="220"/>
                  <a:pt x="23" y="219"/>
                </a:cubicBezTo>
                <a:cubicBezTo>
                  <a:pt x="22" y="219"/>
                  <a:pt x="22" y="219"/>
                  <a:pt x="22" y="219"/>
                </a:cubicBezTo>
                <a:cubicBezTo>
                  <a:pt x="22" y="219"/>
                  <a:pt x="22" y="221"/>
                  <a:pt x="23" y="220"/>
                </a:cubicBezTo>
                <a:close/>
                <a:moveTo>
                  <a:pt x="30" y="227"/>
                </a:moveTo>
                <a:cubicBezTo>
                  <a:pt x="30" y="227"/>
                  <a:pt x="30" y="227"/>
                  <a:pt x="31" y="228"/>
                </a:cubicBezTo>
                <a:cubicBezTo>
                  <a:pt x="31" y="227"/>
                  <a:pt x="31" y="227"/>
                  <a:pt x="31" y="227"/>
                </a:cubicBezTo>
                <a:cubicBezTo>
                  <a:pt x="31" y="226"/>
                  <a:pt x="32" y="227"/>
                  <a:pt x="31" y="226"/>
                </a:cubicBezTo>
                <a:cubicBezTo>
                  <a:pt x="31" y="226"/>
                  <a:pt x="31" y="226"/>
                  <a:pt x="30" y="227"/>
                </a:cubicBezTo>
                <a:close/>
                <a:moveTo>
                  <a:pt x="31" y="230"/>
                </a:moveTo>
                <a:cubicBezTo>
                  <a:pt x="32" y="229"/>
                  <a:pt x="33" y="228"/>
                  <a:pt x="33" y="228"/>
                </a:cubicBezTo>
                <a:cubicBezTo>
                  <a:pt x="32" y="228"/>
                  <a:pt x="31" y="229"/>
                  <a:pt x="31" y="230"/>
                </a:cubicBezTo>
                <a:close/>
                <a:moveTo>
                  <a:pt x="57" y="246"/>
                </a:moveTo>
                <a:cubicBezTo>
                  <a:pt x="57" y="246"/>
                  <a:pt x="57" y="246"/>
                  <a:pt x="58" y="246"/>
                </a:cubicBezTo>
                <a:cubicBezTo>
                  <a:pt x="57" y="246"/>
                  <a:pt x="57" y="246"/>
                  <a:pt x="57" y="246"/>
                </a:cubicBezTo>
                <a:close/>
                <a:moveTo>
                  <a:pt x="21" y="224"/>
                </a:moveTo>
                <a:cubicBezTo>
                  <a:pt x="22" y="224"/>
                  <a:pt x="22" y="223"/>
                  <a:pt x="22" y="223"/>
                </a:cubicBezTo>
                <a:cubicBezTo>
                  <a:pt x="22" y="223"/>
                  <a:pt x="21" y="224"/>
                  <a:pt x="21" y="224"/>
                </a:cubicBezTo>
                <a:close/>
                <a:moveTo>
                  <a:pt x="52" y="249"/>
                </a:moveTo>
                <a:cubicBezTo>
                  <a:pt x="52" y="249"/>
                  <a:pt x="52" y="249"/>
                  <a:pt x="51" y="249"/>
                </a:cubicBezTo>
                <a:cubicBezTo>
                  <a:pt x="52" y="250"/>
                  <a:pt x="52" y="249"/>
                  <a:pt x="52" y="250"/>
                </a:cubicBezTo>
                <a:cubicBezTo>
                  <a:pt x="53" y="248"/>
                  <a:pt x="53" y="248"/>
                  <a:pt x="54" y="247"/>
                </a:cubicBezTo>
                <a:cubicBezTo>
                  <a:pt x="53" y="247"/>
                  <a:pt x="52" y="248"/>
                  <a:pt x="52" y="249"/>
                </a:cubicBezTo>
                <a:close/>
                <a:moveTo>
                  <a:pt x="29" y="230"/>
                </a:moveTo>
                <a:cubicBezTo>
                  <a:pt x="29" y="230"/>
                  <a:pt x="29" y="230"/>
                  <a:pt x="29" y="230"/>
                </a:cubicBezTo>
                <a:cubicBezTo>
                  <a:pt x="29" y="229"/>
                  <a:pt x="28" y="230"/>
                  <a:pt x="29" y="230"/>
                </a:cubicBezTo>
                <a:close/>
                <a:moveTo>
                  <a:pt x="54" y="249"/>
                </a:moveTo>
                <a:cubicBezTo>
                  <a:pt x="55" y="250"/>
                  <a:pt x="54" y="251"/>
                  <a:pt x="55" y="250"/>
                </a:cubicBezTo>
                <a:cubicBezTo>
                  <a:pt x="56" y="251"/>
                  <a:pt x="55" y="250"/>
                  <a:pt x="55" y="251"/>
                </a:cubicBezTo>
                <a:cubicBezTo>
                  <a:pt x="56" y="251"/>
                  <a:pt x="56" y="250"/>
                  <a:pt x="56" y="250"/>
                </a:cubicBezTo>
                <a:cubicBezTo>
                  <a:pt x="55" y="249"/>
                  <a:pt x="55" y="249"/>
                  <a:pt x="54" y="249"/>
                </a:cubicBezTo>
                <a:close/>
                <a:moveTo>
                  <a:pt x="47" y="245"/>
                </a:moveTo>
                <a:cubicBezTo>
                  <a:pt x="47" y="246"/>
                  <a:pt x="46" y="246"/>
                  <a:pt x="47" y="246"/>
                </a:cubicBezTo>
                <a:cubicBezTo>
                  <a:pt x="48" y="245"/>
                  <a:pt x="48" y="245"/>
                  <a:pt x="48" y="245"/>
                </a:cubicBezTo>
                <a:cubicBezTo>
                  <a:pt x="48" y="245"/>
                  <a:pt x="47" y="245"/>
                  <a:pt x="47" y="245"/>
                </a:cubicBezTo>
                <a:close/>
                <a:moveTo>
                  <a:pt x="28" y="231"/>
                </a:moveTo>
                <a:cubicBezTo>
                  <a:pt x="28" y="232"/>
                  <a:pt x="27" y="232"/>
                  <a:pt x="27" y="233"/>
                </a:cubicBezTo>
                <a:cubicBezTo>
                  <a:pt x="28" y="232"/>
                  <a:pt x="28" y="231"/>
                  <a:pt x="28" y="231"/>
                </a:cubicBezTo>
                <a:cubicBezTo>
                  <a:pt x="28" y="231"/>
                  <a:pt x="28" y="230"/>
                  <a:pt x="28" y="231"/>
                </a:cubicBezTo>
                <a:close/>
                <a:moveTo>
                  <a:pt x="28" y="235"/>
                </a:moveTo>
                <a:cubicBezTo>
                  <a:pt x="29" y="234"/>
                  <a:pt x="30" y="233"/>
                  <a:pt x="29" y="232"/>
                </a:cubicBezTo>
                <a:cubicBezTo>
                  <a:pt x="29" y="233"/>
                  <a:pt x="29" y="234"/>
                  <a:pt x="28" y="235"/>
                </a:cubicBezTo>
                <a:close/>
                <a:moveTo>
                  <a:pt x="48" y="247"/>
                </a:moveTo>
                <a:cubicBezTo>
                  <a:pt x="48" y="248"/>
                  <a:pt x="49" y="248"/>
                  <a:pt x="49" y="248"/>
                </a:cubicBezTo>
                <a:cubicBezTo>
                  <a:pt x="49" y="248"/>
                  <a:pt x="49" y="248"/>
                  <a:pt x="49" y="248"/>
                </a:cubicBezTo>
                <a:cubicBezTo>
                  <a:pt x="49" y="248"/>
                  <a:pt x="49" y="247"/>
                  <a:pt x="48" y="247"/>
                </a:cubicBezTo>
                <a:close/>
                <a:moveTo>
                  <a:pt x="17" y="226"/>
                </a:moveTo>
                <a:cubicBezTo>
                  <a:pt x="17" y="226"/>
                  <a:pt x="17" y="227"/>
                  <a:pt x="17" y="227"/>
                </a:cubicBezTo>
                <a:cubicBezTo>
                  <a:pt x="17" y="226"/>
                  <a:pt x="18" y="227"/>
                  <a:pt x="18" y="227"/>
                </a:cubicBezTo>
                <a:cubicBezTo>
                  <a:pt x="18" y="226"/>
                  <a:pt x="17" y="226"/>
                  <a:pt x="17" y="225"/>
                </a:cubicBezTo>
                <a:lnTo>
                  <a:pt x="17" y="226"/>
                </a:lnTo>
                <a:close/>
                <a:moveTo>
                  <a:pt x="41" y="244"/>
                </a:moveTo>
                <a:cubicBezTo>
                  <a:pt x="41" y="244"/>
                  <a:pt x="42" y="243"/>
                  <a:pt x="41" y="243"/>
                </a:cubicBezTo>
                <a:cubicBezTo>
                  <a:pt x="40" y="245"/>
                  <a:pt x="39" y="245"/>
                  <a:pt x="41" y="244"/>
                </a:cubicBezTo>
                <a:close/>
                <a:moveTo>
                  <a:pt x="50" y="252"/>
                </a:moveTo>
                <a:cubicBezTo>
                  <a:pt x="50" y="251"/>
                  <a:pt x="51" y="252"/>
                  <a:pt x="51" y="252"/>
                </a:cubicBezTo>
                <a:cubicBezTo>
                  <a:pt x="50" y="252"/>
                  <a:pt x="51" y="251"/>
                  <a:pt x="51" y="250"/>
                </a:cubicBezTo>
                <a:cubicBezTo>
                  <a:pt x="51" y="252"/>
                  <a:pt x="49" y="251"/>
                  <a:pt x="50" y="252"/>
                </a:cubicBezTo>
                <a:close/>
                <a:moveTo>
                  <a:pt x="42" y="245"/>
                </a:moveTo>
                <a:cubicBezTo>
                  <a:pt x="42" y="246"/>
                  <a:pt x="42" y="246"/>
                  <a:pt x="43" y="246"/>
                </a:cubicBezTo>
                <a:cubicBezTo>
                  <a:pt x="43" y="245"/>
                  <a:pt x="42" y="245"/>
                  <a:pt x="42" y="245"/>
                </a:cubicBezTo>
                <a:close/>
                <a:moveTo>
                  <a:pt x="53" y="255"/>
                </a:moveTo>
                <a:cubicBezTo>
                  <a:pt x="53" y="254"/>
                  <a:pt x="54" y="254"/>
                  <a:pt x="53" y="253"/>
                </a:cubicBezTo>
                <a:cubicBezTo>
                  <a:pt x="53" y="254"/>
                  <a:pt x="52" y="254"/>
                  <a:pt x="53" y="255"/>
                </a:cubicBezTo>
                <a:close/>
                <a:moveTo>
                  <a:pt x="40" y="247"/>
                </a:moveTo>
                <a:cubicBezTo>
                  <a:pt x="41" y="247"/>
                  <a:pt x="42" y="246"/>
                  <a:pt x="41" y="246"/>
                </a:cubicBezTo>
                <a:lnTo>
                  <a:pt x="40" y="247"/>
                </a:lnTo>
                <a:close/>
                <a:moveTo>
                  <a:pt x="43" y="248"/>
                </a:moveTo>
                <a:cubicBezTo>
                  <a:pt x="44" y="249"/>
                  <a:pt x="44" y="249"/>
                  <a:pt x="44" y="249"/>
                </a:cubicBezTo>
                <a:cubicBezTo>
                  <a:pt x="44" y="248"/>
                  <a:pt x="43" y="248"/>
                  <a:pt x="43" y="248"/>
                </a:cubicBezTo>
                <a:close/>
                <a:moveTo>
                  <a:pt x="15" y="234"/>
                </a:moveTo>
                <a:cubicBezTo>
                  <a:pt x="15" y="233"/>
                  <a:pt x="15" y="233"/>
                  <a:pt x="15" y="232"/>
                </a:cubicBezTo>
                <a:cubicBezTo>
                  <a:pt x="15" y="233"/>
                  <a:pt x="15" y="233"/>
                  <a:pt x="15" y="233"/>
                </a:cubicBezTo>
                <a:cubicBezTo>
                  <a:pt x="16" y="234"/>
                  <a:pt x="16" y="234"/>
                  <a:pt x="16" y="234"/>
                </a:cubicBezTo>
                <a:cubicBezTo>
                  <a:pt x="17" y="232"/>
                  <a:pt x="17" y="233"/>
                  <a:pt x="18" y="231"/>
                </a:cubicBezTo>
                <a:cubicBezTo>
                  <a:pt x="18" y="231"/>
                  <a:pt x="17" y="231"/>
                  <a:pt x="17" y="230"/>
                </a:cubicBezTo>
                <a:cubicBezTo>
                  <a:pt x="17" y="230"/>
                  <a:pt x="17" y="231"/>
                  <a:pt x="17" y="230"/>
                </a:cubicBezTo>
                <a:cubicBezTo>
                  <a:pt x="17" y="232"/>
                  <a:pt x="16" y="232"/>
                  <a:pt x="15" y="234"/>
                </a:cubicBezTo>
                <a:close/>
                <a:moveTo>
                  <a:pt x="51" y="255"/>
                </a:moveTo>
                <a:cubicBezTo>
                  <a:pt x="51" y="256"/>
                  <a:pt x="50" y="257"/>
                  <a:pt x="51" y="257"/>
                </a:cubicBezTo>
                <a:cubicBezTo>
                  <a:pt x="51" y="256"/>
                  <a:pt x="52" y="256"/>
                  <a:pt x="52" y="255"/>
                </a:cubicBezTo>
                <a:cubicBezTo>
                  <a:pt x="51" y="255"/>
                  <a:pt x="51" y="255"/>
                  <a:pt x="51" y="255"/>
                </a:cubicBezTo>
                <a:close/>
                <a:moveTo>
                  <a:pt x="20" y="235"/>
                </a:moveTo>
                <a:cubicBezTo>
                  <a:pt x="19" y="235"/>
                  <a:pt x="19" y="236"/>
                  <a:pt x="19" y="236"/>
                </a:cubicBezTo>
                <a:cubicBezTo>
                  <a:pt x="20" y="236"/>
                  <a:pt x="20" y="236"/>
                  <a:pt x="20" y="236"/>
                </a:cubicBezTo>
                <a:cubicBezTo>
                  <a:pt x="20" y="236"/>
                  <a:pt x="21" y="235"/>
                  <a:pt x="21" y="235"/>
                </a:cubicBezTo>
                <a:cubicBezTo>
                  <a:pt x="20" y="235"/>
                  <a:pt x="20" y="236"/>
                  <a:pt x="20" y="235"/>
                </a:cubicBezTo>
                <a:close/>
                <a:moveTo>
                  <a:pt x="21" y="238"/>
                </a:moveTo>
                <a:cubicBezTo>
                  <a:pt x="21" y="237"/>
                  <a:pt x="22" y="237"/>
                  <a:pt x="22" y="236"/>
                </a:cubicBezTo>
                <a:cubicBezTo>
                  <a:pt x="21" y="236"/>
                  <a:pt x="21" y="237"/>
                  <a:pt x="21" y="238"/>
                </a:cubicBezTo>
                <a:close/>
                <a:moveTo>
                  <a:pt x="17" y="236"/>
                </a:moveTo>
                <a:cubicBezTo>
                  <a:pt x="18" y="236"/>
                  <a:pt x="18" y="235"/>
                  <a:pt x="18" y="235"/>
                </a:cubicBezTo>
                <a:cubicBezTo>
                  <a:pt x="18" y="235"/>
                  <a:pt x="17" y="236"/>
                  <a:pt x="17" y="236"/>
                </a:cubicBezTo>
                <a:close/>
                <a:moveTo>
                  <a:pt x="23" y="243"/>
                </a:moveTo>
                <a:cubicBezTo>
                  <a:pt x="24" y="243"/>
                  <a:pt x="25" y="241"/>
                  <a:pt x="26" y="240"/>
                </a:cubicBezTo>
                <a:cubicBezTo>
                  <a:pt x="25" y="240"/>
                  <a:pt x="25" y="240"/>
                  <a:pt x="25" y="240"/>
                </a:cubicBezTo>
                <a:cubicBezTo>
                  <a:pt x="24" y="241"/>
                  <a:pt x="24" y="242"/>
                  <a:pt x="23" y="243"/>
                </a:cubicBezTo>
                <a:close/>
                <a:moveTo>
                  <a:pt x="17" y="238"/>
                </a:moveTo>
                <a:cubicBezTo>
                  <a:pt x="17" y="237"/>
                  <a:pt x="18" y="237"/>
                  <a:pt x="18" y="236"/>
                </a:cubicBezTo>
                <a:cubicBezTo>
                  <a:pt x="17" y="236"/>
                  <a:pt x="16" y="237"/>
                  <a:pt x="17" y="238"/>
                </a:cubicBezTo>
                <a:close/>
                <a:moveTo>
                  <a:pt x="35" y="251"/>
                </a:moveTo>
                <a:cubicBezTo>
                  <a:pt x="35" y="252"/>
                  <a:pt x="36" y="250"/>
                  <a:pt x="36" y="250"/>
                </a:cubicBezTo>
                <a:lnTo>
                  <a:pt x="35" y="251"/>
                </a:lnTo>
                <a:close/>
                <a:moveTo>
                  <a:pt x="38" y="255"/>
                </a:moveTo>
                <a:cubicBezTo>
                  <a:pt x="39" y="254"/>
                  <a:pt x="39" y="254"/>
                  <a:pt x="39" y="254"/>
                </a:cubicBezTo>
                <a:cubicBezTo>
                  <a:pt x="39" y="254"/>
                  <a:pt x="38" y="254"/>
                  <a:pt x="38" y="255"/>
                </a:cubicBezTo>
                <a:close/>
                <a:moveTo>
                  <a:pt x="12" y="236"/>
                </a:moveTo>
                <a:cubicBezTo>
                  <a:pt x="12" y="236"/>
                  <a:pt x="12" y="237"/>
                  <a:pt x="12" y="237"/>
                </a:cubicBezTo>
                <a:cubicBezTo>
                  <a:pt x="13" y="236"/>
                  <a:pt x="13" y="236"/>
                  <a:pt x="13" y="236"/>
                </a:cubicBezTo>
                <a:cubicBezTo>
                  <a:pt x="13" y="236"/>
                  <a:pt x="12" y="236"/>
                  <a:pt x="12" y="236"/>
                </a:cubicBezTo>
                <a:close/>
                <a:moveTo>
                  <a:pt x="38" y="253"/>
                </a:moveTo>
                <a:cubicBezTo>
                  <a:pt x="36" y="252"/>
                  <a:pt x="36" y="252"/>
                  <a:pt x="36" y="252"/>
                </a:cubicBezTo>
                <a:cubicBezTo>
                  <a:pt x="36" y="253"/>
                  <a:pt x="37" y="254"/>
                  <a:pt x="38" y="253"/>
                </a:cubicBezTo>
                <a:close/>
                <a:moveTo>
                  <a:pt x="12" y="239"/>
                </a:moveTo>
                <a:cubicBezTo>
                  <a:pt x="13" y="238"/>
                  <a:pt x="13" y="238"/>
                  <a:pt x="13" y="238"/>
                </a:cubicBezTo>
                <a:cubicBezTo>
                  <a:pt x="13" y="238"/>
                  <a:pt x="13" y="239"/>
                  <a:pt x="13" y="238"/>
                </a:cubicBezTo>
                <a:cubicBezTo>
                  <a:pt x="12" y="238"/>
                  <a:pt x="14" y="237"/>
                  <a:pt x="13" y="237"/>
                </a:cubicBezTo>
                <a:cubicBezTo>
                  <a:pt x="12" y="237"/>
                  <a:pt x="12" y="238"/>
                  <a:pt x="12" y="239"/>
                </a:cubicBezTo>
                <a:close/>
                <a:moveTo>
                  <a:pt x="35" y="256"/>
                </a:moveTo>
                <a:cubicBezTo>
                  <a:pt x="35" y="256"/>
                  <a:pt x="36" y="257"/>
                  <a:pt x="36" y="257"/>
                </a:cubicBezTo>
                <a:cubicBezTo>
                  <a:pt x="36" y="256"/>
                  <a:pt x="35" y="256"/>
                  <a:pt x="35" y="256"/>
                </a:cubicBezTo>
                <a:close/>
                <a:moveTo>
                  <a:pt x="27" y="255"/>
                </a:moveTo>
                <a:cubicBezTo>
                  <a:pt x="27" y="255"/>
                  <a:pt x="28" y="254"/>
                  <a:pt x="28" y="254"/>
                </a:cubicBezTo>
                <a:cubicBezTo>
                  <a:pt x="27" y="254"/>
                  <a:pt x="27" y="254"/>
                  <a:pt x="27" y="255"/>
                </a:cubicBezTo>
                <a:close/>
                <a:moveTo>
                  <a:pt x="8" y="244"/>
                </a:moveTo>
                <a:cubicBezTo>
                  <a:pt x="7" y="244"/>
                  <a:pt x="7" y="244"/>
                  <a:pt x="7" y="244"/>
                </a:cubicBezTo>
                <a:cubicBezTo>
                  <a:pt x="8" y="245"/>
                  <a:pt x="8" y="243"/>
                  <a:pt x="7" y="243"/>
                </a:cubicBezTo>
                <a:cubicBezTo>
                  <a:pt x="7" y="243"/>
                  <a:pt x="7" y="243"/>
                  <a:pt x="8" y="244"/>
                </a:cubicBezTo>
                <a:close/>
                <a:moveTo>
                  <a:pt x="6" y="247"/>
                </a:moveTo>
                <a:cubicBezTo>
                  <a:pt x="7" y="248"/>
                  <a:pt x="9" y="244"/>
                  <a:pt x="8" y="244"/>
                </a:cubicBezTo>
                <a:cubicBezTo>
                  <a:pt x="7" y="245"/>
                  <a:pt x="7" y="246"/>
                  <a:pt x="6" y="247"/>
                </a:cubicBezTo>
                <a:close/>
                <a:moveTo>
                  <a:pt x="11" y="248"/>
                </a:moveTo>
                <a:cubicBezTo>
                  <a:pt x="12" y="248"/>
                  <a:pt x="12" y="247"/>
                  <a:pt x="11" y="247"/>
                </a:cubicBezTo>
                <a:cubicBezTo>
                  <a:pt x="11" y="247"/>
                  <a:pt x="11" y="248"/>
                  <a:pt x="11" y="248"/>
                </a:cubicBezTo>
                <a:close/>
                <a:moveTo>
                  <a:pt x="32" y="264"/>
                </a:moveTo>
                <a:cubicBezTo>
                  <a:pt x="33" y="264"/>
                  <a:pt x="33" y="264"/>
                  <a:pt x="33" y="263"/>
                </a:cubicBezTo>
                <a:cubicBezTo>
                  <a:pt x="32" y="263"/>
                  <a:pt x="32" y="263"/>
                  <a:pt x="32" y="264"/>
                </a:cubicBezTo>
                <a:close/>
                <a:moveTo>
                  <a:pt x="10" y="250"/>
                </a:moveTo>
                <a:cubicBezTo>
                  <a:pt x="10" y="250"/>
                  <a:pt x="11" y="249"/>
                  <a:pt x="11" y="249"/>
                </a:cubicBezTo>
                <a:cubicBezTo>
                  <a:pt x="10" y="248"/>
                  <a:pt x="10" y="248"/>
                  <a:pt x="10" y="248"/>
                </a:cubicBezTo>
                <a:cubicBezTo>
                  <a:pt x="10" y="249"/>
                  <a:pt x="9" y="249"/>
                  <a:pt x="10" y="250"/>
                </a:cubicBezTo>
                <a:close/>
                <a:moveTo>
                  <a:pt x="7" y="252"/>
                </a:moveTo>
                <a:cubicBezTo>
                  <a:pt x="7" y="251"/>
                  <a:pt x="9" y="249"/>
                  <a:pt x="8" y="248"/>
                </a:cubicBezTo>
                <a:cubicBezTo>
                  <a:pt x="8" y="249"/>
                  <a:pt x="6" y="251"/>
                  <a:pt x="7" y="252"/>
                </a:cubicBezTo>
                <a:close/>
                <a:moveTo>
                  <a:pt x="3" y="247"/>
                </a:moveTo>
                <a:cubicBezTo>
                  <a:pt x="3" y="246"/>
                  <a:pt x="4" y="246"/>
                  <a:pt x="4" y="246"/>
                </a:cubicBezTo>
                <a:cubicBezTo>
                  <a:pt x="3" y="246"/>
                  <a:pt x="2" y="246"/>
                  <a:pt x="3" y="247"/>
                </a:cubicBezTo>
                <a:close/>
                <a:moveTo>
                  <a:pt x="0" y="255"/>
                </a:moveTo>
                <a:cubicBezTo>
                  <a:pt x="1" y="253"/>
                  <a:pt x="3" y="253"/>
                  <a:pt x="2" y="251"/>
                </a:cubicBezTo>
                <a:cubicBezTo>
                  <a:pt x="2" y="253"/>
                  <a:pt x="0" y="254"/>
                  <a:pt x="0" y="255"/>
                </a:cubicBezTo>
                <a:close/>
                <a:moveTo>
                  <a:pt x="30" y="271"/>
                </a:moveTo>
                <a:cubicBezTo>
                  <a:pt x="30" y="271"/>
                  <a:pt x="31" y="271"/>
                  <a:pt x="31" y="271"/>
                </a:cubicBezTo>
                <a:cubicBezTo>
                  <a:pt x="31" y="271"/>
                  <a:pt x="30" y="270"/>
                  <a:pt x="30" y="271"/>
                </a:cubicBezTo>
                <a:close/>
                <a:moveTo>
                  <a:pt x="34" y="274"/>
                </a:moveTo>
                <a:cubicBezTo>
                  <a:pt x="35" y="275"/>
                  <a:pt x="34" y="275"/>
                  <a:pt x="35" y="275"/>
                </a:cubicBezTo>
                <a:cubicBezTo>
                  <a:pt x="36" y="275"/>
                  <a:pt x="35" y="275"/>
                  <a:pt x="35" y="274"/>
                </a:cubicBezTo>
                <a:cubicBezTo>
                  <a:pt x="35" y="274"/>
                  <a:pt x="35" y="274"/>
                  <a:pt x="34" y="274"/>
                </a:cubicBezTo>
                <a:close/>
                <a:moveTo>
                  <a:pt x="3" y="254"/>
                </a:moveTo>
                <a:cubicBezTo>
                  <a:pt x="2" y="254"/>
                  <a:pt x="2" y="254"/>
                  <a:pt x="2" y="253"/>
                </a:cubicBezTo>
                <a:cubicBezTo>
                  <a:pt x="2" y="254"/>
                  <a:pt x="2" y="254"/>
                  <a:pt x="2" y="254"/>
                </a:cubicBezTo>
                <a:cubicBezTo>
                  <a:pt x="2" y="254"/>
                  <a:pt x="4" y="254"/>
                  <a:pt x="3" y="253"/>
                </a:cubicBezTo>
                <a:lnTo>
                  <a:pt x="3" y="254"/>
                </a:lnTo>
                <a:close/>
                <a:moveTo>
                  <a:pt x="27" y="271"/>
                </a:moveTo>
                <a:cubicBezTo>
                  <a:pt x="27" y="271"/>
                  <a:pt x="27" y="272"/>
                  <a:pt x="28" y="271"/>
                </a:cubicBezTo>
                <a:cubicBezTo>
                  <a:pt x="28" y="271"/>
                  <a:pt x="27" y="270"/>
                  <a:pt x="27" y="271"/>
                </a:cubicBezTo>
                <a:close/>
                <a:moveTo>
                  <a:pt x="31" y="278"/>
                </a:moveTo>
                <a:cubicBezTo>
                  <a:pt x="31" y="277"/>
                  <a:pt x="30" y="277"/>
                  <a:pt x="30" y="276"/>
                </a:cubicBezTo>
                <a:cubicBezTo>
                  <a:pt x="30" y="277"/>
                  <a:pt x="31" y="277"/>
                  <a:pt x="31" y="278"/>
                </a:cubicBezTo>
                <a:close/>
                <a:moveTo>
                  <a:pt x="31" y="281"/>
                </a:moveTo>
                <a:cubicBezTo>
                  <a:pt x="32" y="281"/>
                  <a:pt x="32" y="281"/>
                  <a:pt x="32" y="281"/>
                </a:cubicBezTo>
                <a:cubicBezTo>
                  <a:pt x="32" y="280"/>
                  <a:pt x="32" y="280"/>
                  <a:pt x="33" y="280"/>
                </a:cubicBezTo>
                <a:cubicBezTo>
                  <a:pt x="33" y="280"/>
                  <a:pt x="33" y="279"/>
                  <a:pt x="33" y="279"/>
                </a:cubicBezTo>
                <a:cubicBezTo>
                  <a:pt x="32" y="280"/>
                  <a:pt x="32" y="281"/>
                  <a:pt x="31" y="281"/>
                </a:cubicBezTo>
                <a:close/>
                <a:moveTo>
                  <a:pt x="782" y="255"/>
                </a:moveTo>
                <a:cubicBezTo>
                  <a:pt x="781" y="255"/>
                  <a:pt x="779" y="253"/>
                  <a:pt x="779" y="256"/>
                </a:cubicBezTo>
                <a:cubicBezTo>
                  <a:pt x="781" y="259"/>
                  <a:pt x="782" y="261"/>
                  <a:pt x="783" y="263"/>
                </a:cubicBezTo>
                <a:cubicBezTo>
                  <a:pt x="781" y="263"/>
                  <a:pt x="777" y="259"/>
                  <a:pt x="774" y="258"/>
                </a:cubicBezTo>
                <a:cubicBezTo>
                  <a:pt x="775" y="259"/>
                  <a:pt x="777" y="263"/>
                  <a:pt x="778" y="264"/>
                </a:cubicBezTo>
                <a:cubicBezTo>
                  <a:pt x="779" y="267"/>
                  <a:pt x="779" y="268"/>
                  <a:pt x="780" y="271"/>
                </a:cubicBezTo>
                <a:cubicBezTo>
                  <a:pt x="779" y="271"/>
                  <a:pt x="779" y="271"/>
                  <a:pt x="779" y="272"/>
                </a:cubicBezTo>
                <a:cubicBezTo>
                  <a:pt x="776" y="269"/>
                  <a:pt x="775" y="267"/>
                  <a:pt x="772" y="264"/>
                </a:cubicBezTo>
                <a:cubicBezTo>
                  <a:pt x="771" y="262"/>
                  <a:pt x="772" y="262"/>
                  <a:pt x="771" y="260"/>
                </a:cubicBezTo>
                <a:cubicBezTo>
                  <a:pt x="770" y="259"/>
                  <a:pt x="767" y="254"/>
                  <a:pt x="766" y="252"/>
                </a:cubicBezTo>
                <a:cubicBezTo>
                  <a:pt x="766" y="254"/>
                  <a:pt x="763" y="249"/>
                  <a:pt x="762" y="246"/>
                </a:cubicBezTo>
                <a:cubicBezTo>
                  <a:pt x="763" y="250"/>
                  <a:pt x="761" y="249"/>
                  <a:pt x="764" y="255"/>
                </a:cubicBezTo>
                <a:cubicBezTo>
                  <a:pt x="763" y="252"/>
                  <a:pt x="764" y="254"/>
                  <a:pt x="765" y="256"/>
                </a:cubicBezTo>
                <a:cubicBezTo>
                  <a:pt x="765" y="257"/>
                  <a:pt x="765" y="255"/>
                  <a:pt x="765" y="255"/>
                </a:cubicBezTo>
                <a:cubicBezTo>
                  <a:pt x="766" y="256"/>
                  <a:pt x="766" y="257"/>
                  <a:pt x="766" y="258"/>
                </a:cubicBezTo>
                <a:cubicBezTo>
                  <a:pt x="767" y="259"/>
                  <a:pt x="768" y="260"/>
                  <a:pt x="770" y="260"/>
                </a:cubicBezTo>
                <a:cubicBezTo>
                  <a:pt x="770" y="262"/>
                  <a:pt x="771" y="264"/>
                  <a:pt x="772" y="267"/>
                </a:cubicBezTo>
                <a:cubicBezTo>
                  <a:pt x="771" y="267"/>
                  <a:pt x="768" y="261"/>
                  <a:pt x="769" y="264"/>
                </a:cubicBezTo>
                <a:cubicBezTo>
                  <a:pt x="768" y="262"/>
                  <a:pt x="766" y="259"/>
                  <a:pt x="766" y="260"/>
                </a:cubicBezTo>
                <a:cubicBezTo>
                  <a:pt x="766" y="259"/>
                  <a:pt x="764" y="256"/>
                  <a:pt x="764" y="255"/>
                </a:cubicBezTo>
                <a:cubicBezTo>
                  <a:pt x="763" y="254"/>
                  <a:pt x="762" y="254"/>
                  <a:pt x="761" y="253"/>
                </a:cubicBezTo>
                <a:cubicBezTo>
                  <a:pt x="761" y="252"/>
                  <a:pt x="762" y="253"/>
                  <a:pt x="762" y="252"/>
                </a:cubicBezTo>
                <a:cubicBezTo>
                  <a:pt x="762" y="251"/>
                  <a:pt x="761" y="249"/>
                  <a:pt x="761" y="249"/>
                </a:cubicBezTo>
                <a:cubicBezTo>
                  <a:pt x="757" y="243"/>
                  <a:pt x="757" y="246"/>
                  <a:pt x="752" y="241"/>
                </a:cubicBezTo>
                <a:cubicBezTo>
                  <a:pt x="752" y="241"/>
                  <a:pt x="755" y="244"/>
                  <a:pt x="755" y="245"/>
                </a:cubicBezTo>
                <a:cubicBezTo>
                  <a:pt x="755" y="246"/>
                  <a:pt x="755" y="245"/>
                  <a:pt x="755" y="244"/>
                </a:cubicBezTo>
                <a:cubicBezTo>
                  <a:pt x="755" y="244"/>
                  <a:pt x="755" y="246"/>
                  <a:pt x="756" y="246"/>
                </a:cubicBezTo>
                <a:cubicBezTo>
                  <a:pt x="757" y="248"/>
                  <a:pt x="756" y="247"/>
                  <a:pt x="757" y="249"/>
                </a:cubicBezTo>
                <a:cubicBezTo>
                  <a:pt x="755" y="246"/>
                  <a:pt x="755" y="248"/>
                  <a:pt x="753" y="248"/>
                </a:cubicBezTo>
                <a:cubicBezTo>
                  <a:pt x="752" y="245"/>
                  <a:pt x="751" y="244"/>
                  <a:pt x="750" y="245"/>
                </a:cubicBezTo>
                <a:cubicBezTo>
                  <a:pt x="748" y="242"/>
                  <a:pt x="747" y="243"/>
                  <a:pt x="745" y="239"/>
                </a:cubicBezTo>
                <a:cubicBezTo>
                  <a:pt x="744" y="239"/>
                  <a:pt x="744" y="239"/>
                  <a:pt x="744" y="239"/>
                </a:cubicBezTo>
                <a:cubicBezTo>
                  <a:pt x="743" y="237"/>
                  <a:pt x="741" y="236"/>
                  <a:pt x="739" y="233"/>
                </a:cubicBezTo>
                <a:cubicBezTo>
                  <a:pt x="739" y="232"/>
                  <a:pt x="739" y="231"/>
                  <a:pt x="740" y="231"/>
                </a:cubicBezTo>
                <a:cubicBezTo>
                  <a:pt x="741" y="233"/>
                  <a:pt x="741" y="234"/>
                  <a:pt x="742" y="234"/>
                </a:cubicBezTo>
                <a:cubicBezTo>
                  <a:pt x="742" y="234"/>
                  <a:pt x="741" y="231"/>
                  <a:pt x="743" y="234"/>
                </a:cubicBezTo>
                <a:cubicBezTo>
                  <a:pt x="743" y="233"/>
                  <a:pt x="742" y="232"/>
                  <a:pt x="741" y="231"/>
                </a:cubicBezTo>
                <a:cubicBezTo>
                  <a:pt x="740" y="230"/>
                  <a:pt x="741" y="231"/>
                  <a:pt x="740" y="231"/>
                </a:cubicBezTo>
                <a:cubicBezTo>
                  <a:pt x="739" y="227"/>
                  <a:pt x="737" y="229"/>
                  <a:pt x="736" y="226"/>
                </a:cubicBezTo>
                <a:cubicBezTo>
                  <a:pt x="736" y="227"/>
                  <a:pt x="735" y="226"/>
                  <a:pt x="733" y="224"/>
                </a:cubicBezTo>
                <a:cubicBezTo>
                  <a:pt x="734" y="226"/>
                  <a:pt x="737" y="229"/>
                  <a:pt x="738" y="231"/>
                </a:cubicBezTo>
                <a:cubicBezTo>
                  <a:pt x="735" y="229"/>
                  <a:pt x="728" y="217"/>
                  <a:pt x="726" y="218"/>
                </a:cubicBezTo>
                <a:cubicBezTo>
                  <a:pt x="724" y="215"/>
                  <a:pt x="723" y="213"/>
                  <a:pt x="721" y="210"/>
                </a:cubicBezTo>
                <a:cubicBezTo>
                  <a:pt x="715" y="205"/>
                  <a:pt x="707" y="195"/>
                  <a:pt x="698" y="186"/>
                </a:cubicBezTo>
                <a:cubicBezTo>
                  <a:pt x="698" y="186"/>
                  <a:pt x="701" y="188"/>
                  <a:pt x="700" y="188"/>
                </a:cubicBezTo>
                <a:cubicBezTo>
                  <a:pt x="696" y="184"/>
                  <a:pt x="693" y="182"/>
                  <a:pt x="688" y="177"/>
                </a:cubicBezTo>
                <a:cubicBezTo>
                  <a:pt x="689" y="178"/>
                  <a:pt x="690" y="178"/>
                  <a:pt x="690" y="177"/>
                </a:cubicBezTo>
                <a:cubicBezTo>
                  <a:pt x="689" y="176"/>
                  <a:pt x="689" y="176"/>
                  <a:pt x="689" y="176"/>
                </a:cubicBezTo>
                <a:cubicBezTo>
                  <a:pt x="687" y="174"/>
                  <a:pt x="689" y="177"/>
                  <a:pt x="688" y="177"/>
                </a:cubicBezTo>
                <a:cubicBezTo>
                  <a:pt x="686" y="175"/>
                  <a:pt x="687" y="175"/>
                  <a:pt x="686" y="174"/>
                </a:cubicBezTo>
                <a:cubicBezTo>
                  <a:pt x="684" y="172"/>
                  <a:pt x="686" y="174"/>
                  <a:pt x="684" y="173"/>
                </a:cubicBezTo>
                <a:cubicBezTo>
                  <a:pt x="683" y="172"/>
                  <a:pt x="682" y="169"/>
                  <a:pt x="681" y="170"/>
                </a:cubicBezTo>
                <a:cubicBezTo>
                  <a:pt x="680" y="169"/>
                  <a:pt x="681" y="169"/>
                  <a:pt x="681" y="169"/>
                </a:cubicBezTo>
                <a:cubicBezTo>
                  <a:pt x="680" y="168"/>
                  <a:pt x="679" y="168"/>
                  <a:pt x="678" y="168"/>
                </a:cubicBezTo>
                <a:cubicBezTo>
                  <a:pt x="676" y="165"/>
                  <a:pt x="672" y="163"/>
                  <a:pt x="672" y="161"/>
                </a:cubicBezTo>
                <a:cubicBezTo>
                  <a:pt x="670" y="160"/>
                  <a:pt x="662" y="154"/>
                  <a:pt x="657" y="149"/>
                </a:cubicBezTo>
                <a:cubicBezTo>
                  <a:pt x="660" y="152"/>
                  <a:pt x="654" y="146"/>
                  <a:pt x="654" y="146"/>
                </a:cubicBezTo>
                <a:cubicBezTo>
                  <a:pt x="653" y="145"/>
                  <a:pt x="653" y="145"/>
                  <a:pt x="652" y="145"/>
                </a:cubicBezTo>
                <a:cubicBezTo>
                  <a:pt x="648" y="142"/>
                  <a:pt x="644" y="139"/>
                  <a:pt x="645" y="138"/>
                </a:cubicBezTo>
                <a:cubicBezTo>
                  <a:pt x="641" y="135"/>
                  <a:pt x="641" y="135"/>
                  <a:pt x="641" y="135"/>
                </a:cubicBezTo>
                <a:cubicBezTo>
                  <a:pt x="642" y="137"/>
                  <a:pt x="641" y="136"/>
                  <a:pt x="640" y="136"/>
                </a:cubicBezTo>
                <a:cubicBezTo>
                  <a:pt x="637" y="133"/>
                  <a:pt x="636" y="133"/>
                  <a:pt x="633" y="130"/>
                </a:cubicBezTo>
                <a:cubicBezTo>
                  <a:pt x="633" y="130"/>
                  <a:pt x="632" y="129"/>
                  <a:pt x="633" y="129"/>
                </a:cubicBezTo>
                <a:cubicBezTo>
                  <a:pt x="629" y="126"/>
                  <a:pt x="631" y="129"/>
                  <a:pt x="629" y="128"/>
                </a:cubicBezTo>
                <a:cubicBezTo>
                  <a:pt x="628" y="126"/>
                  <a:pt x="625" y="124"/>
                  <a:pt x="622" y="123"/>
                </a:cubicBezTo>
                <a:cubicBezTo>
                  <a:pt x="626" y="124"/>
                  <a:pt x="620" y="120"/>
                  <a:pt x="618" y="120"/>
                </a:cubicBezTo>
                <a:cubicBezTo>
                  <a:pt x="618" y="120"/>
                  <a:pt x="620" y="122"/>
                  <a:pt x="621" y="122"/>
                </a:cubicBezTo>
                <a:cubicBezTo>
                  <a:pt x="623" y="124"/>
                  <a:pt x="615" y="119"/>
                  <a:pt x="617" y="119"/>
                </a:cubicBezTo>
                <a:cubicBezTo>
                  <a:pt x="614" y="117"/>
                  <a:pt x="614" y="117"/>
                  <a:pt x="614" y="117"/>
                </a:cubicBezTo>
                <a:cubicBezTo>
                  <a:pt x="613" y="116"/>
                  <a:pt x="614" y="118"/>
                  <a:pt x="611" y="116"/>
                </a:cubicBezTo>
                <a:cubicBezTo>
                  <a:pt x="611" y="116"/>
                  <a:pt x="613" y="116"/>
                  <a:pt x="612" y="115"/>
                </a:cubicBezTo>
                <a:cubicBezTo>
                  <a:pt x="610" y="114"/>
                  <a:pt x="612" y="116"/>
                  <a:pt x="610" y="115"/>
                </a:cubicBezTo>
                <a:cubicBezTo>
                  <a:pt x="607" y="112"/>
                  <a:pt x="602" y="111"/>
                  <a:pt x="596" y="106"/>
                </a:cubicBezTo>
                <a:cubicBezTo>
                  <a:pt x="596" y="106"/>
                  <a:pt x="595" y="106"/>
                  <a:pt x="595" y="105"/>
                </a:cubicBezTo>
                <a:cubicBezTo>
                  <a:pt x="594" y="105"/>
                  <a:pt x="594" y="105"/>
                  <a:pt x="594" y="106"/>
                </a:cubicBezTo>
                <a:cubicBezTo>
                  <a:pt x="587" y="101"/>
                  <a:pt x="583" y="99"/>
                  <a:pt x="576" y="95"/>
                </a:cubicBezTo>
                <a:cubicBezTo>
                  <a:pt x="573" y="94"/>
                  <a:pt x="576" y="96"/>
                  <a:pt x="575" y="96"/>
                </a:cubicBezTo>
                <a:cubicBezTo>
                  <a:pt x="575" y="95"/>
                  <a:pt x="571" y="94"/>
                  <a:pt x="571" y="94"/>
                </a:cubicBezTo>
                <a:cubicBezTo>
                  <a:pt x="568" y="92"/>
                  <a:pt x="566" y="90"/>
                  <a:pt x="562" y="88"/>
                </a:cubicBezTo>
                <a:cubicBezTo>
                  <a:pt x="555" y="85"/>
                  <a:pt x="548" y="82"/>
                  <a:pt x="540" y="79"/>
                </a:cubicBezTo>
                <a:cubicBezTo>
                  <a:pt x="540" y="78"/>
                  <a:pt x="540" y="78"/>
                  <a:pt x="540" y="78"/>
                </a:cubicBezTo>
                <a:cubicBezTo>
                  <a:pt x="537" y="77"/>
                  <a:pt x="535" y="76"/>
                  <a:pt x="533" y="75"/>
                </a:cubicBezTo>
                <a:cubicBezTo>
                  <a:pt x="530" y="74"/>
                  <a:pt x="529" y="74"/>
                  <a:pt x="526" y="73"/>
                </a:cubicBezTo>
                <a:cubicBezTo>
                  <a:pt x="526" y="72"/>
                  <a:pt x="526" y="72"/>
                  <a:pt x="526" y="72"/>
                </a:cubicBezTo>
                <a:cubicBezTo>
                  <a:pt x="521" y="71"/>
                  <a:pt x="517" y="70"/>
                  <a:pt x="514" y="68"/>
                </a:cubicBezTo>
                <a:cubicBezTo>
                  <a:pt x="510" y="68"/>
                  <a:pt x="504" y="65"/>
                  <a:pt x="502" y="64"/>
                </a:cubicBezTo>
                <a:cubicBezTo>
                  <a:pt x="500" y="63"/>
                  <a:pt x="502" y="65"/>
                  <a:pt x="502" y="65"/>
                </a:cubicBezTo>
                <a:cubicBezTo>
                  <a:pt x="497" y="64"/>
                  <a:pt x="493" y="62"/>
                  <a:pt x="488" y="60"/>
                </a:cubicBezTo>
                <a:cubicBezTo>
                  <a:pt x="485" y="60"/>
                  <a:pt x="481" y="60"/>
                  <a:pt x="480" y="59"/>
                </a:cubicBezTo>
                <a:cubicBezTo>
                  <a:pt x="483" y="59"/>
                  <a:pt x="485" y="60"/>
                  <a:pt x="484" y="59"/>
                </a:cubicBezTo>
                <a:cubicBezTo>
                  <a:pt x="482" y="58"/>
                  <a:pt x="480" y="59"/>
                  <a:pt x="480" y="58"/>
                </a:cubicBezTo>
                <a:cubicBezTo>
                  <a:pt x="479" y="58"/>
                  <a:pt x="479" y="58"/>
                  <a:pt x="479" y="59"/>
                </a:cubicBezTo>
                <a:cubicBezTo>
                  <a:pt x="474" y="58"/>
                  <a:pt x="470" y="57"/>
                  <a:pt x="468" y="56"/>
                </a:cubicBezTo>
                <a:cubicBezTo>
                  <a:pt x="466" y="56"/>
                  <a:pt x="469" y="57"/>
                  <a:pt x="464" y="56"/>
                </a:cubicBezTo>
                <a:cubicBezTo>
                  <a:pt x="465" y="55"/>
                  <a:pt x="461" y="54"/>
                  <a:pt x="459" y="54"/>
                </a:cubicBezTo>
                <a:cubicBezTo>
                  <a:pt x="459" y="54"/>
                  <a:pt x="459" y="54"/>
                  <a:pt x="458" y="54"/>
                </a:cubicBezTo>
                <a:cubicBezTo>
                  <a:pt x="458" y="54"/>
                  <a:pt x="459" y="54"/>
                  <a:pt x="461" y="54"/>
                </a:cubicBezTo>
                <a:cubicBezTo>
                  <a:pt x="461" y="53"/>
                  <a:pt x="460" y="53"/>
                  <a:pt x="458" y="53"/>
                </a:cubicBezTo>
                <a:cubicBezTo>
                  <a:pt x="457" y="53"/>
                  <a:pt x="456" y="53"/>
                  <a:pt x="456" y="54"/>
                </a:cubicBezTo>
                <a:cubicBezTo>
                  <a:pt x="453" y="53"/>
                  <a:pt x="452" y="52"/>
                  <a:pt x="450" y="52"/>
                </a:cubicBezTo>
                <a:cubicBezTo>
                  <a:pt x="448" y="51"/>
                  <a:pt x="451" y="52"/>
                  <a:pt x="450" y="52"/>
                </a:cubicBezTo>
                <a:cubicBezTo>
                  <a:pt x="442" y="51"/>
                  <a:pt x="434" y="51"/>
                  <a:pt x="428" y="49"/>
                </a:cubicBezTo>
                <a:cubicBezTo>
                  <a:pt x="426" y="49"/>
                  <a:pt x="429" y="50"/>
                  <a:pt x="427" y="50"/>
                </a:cubicBezTo>
                <a:cubicBezTo>
                  <a:pt x="424" y="50"/>
                  <a:pt x="424" y="49"/>
                  <a:pt x="426" y="49"/>
                </a:cubicBezTo>
                <a:cubicBezTo>
                  <a:pt x="426" y="48"/>
                  <a:pt x="425" y="49"/>
                  <a:pt x="423" y="48"/>
                </a:cubicBezTo>
                <a:cubicBezTo>
                  <a:pt x="423" y="49"/>
                  <a:pt x="423" y="49"/>
                  <a:pt x="423" y="49"/>
                </a:cubicBezTo>
                <a:cubicBezTo>
                  <a:pt x="416" y="48"/>
                  <a:pt x="410" y="48"/>
                  <a:pt x="402" y="48"/>
                </a:cubicBezTo>
                <a:cubicBezTo>
                  <a:pt x="404" y="47"/>
                  <a:pt x="401" y="47"/>
                  <a:pt x="397" y="47"/>
                </a:cubicBezTo>
                <a:cubicBezTo>
                  <a:pt x="397" y="46"/>
                  <a:pt x="397" y="46"/>
                  <a:pt x="397" y="46"/>
                </a:cubicBezTo>
                <a:cubicBezTo>
                  <a:pt x="394" y="47"/>
                  <a:pt x="393" y="46"/>
                  <a:pt x="391" y="46"/>
                </a:cubicBezTo>
                <a:cubicBezTo>
                  <a:pt x="389" y="46"/>
                  <a:pt x="395" y="47"/>
                  <a:pt x="393" y="48"/>
                </a:cubicBezTo>
                <a:cubicBezTo>
                  <a:pt x="390" y="47"/>
                  <a:pt x="390" y="47"/>
                  <a:pt x="388" y="47"/>
                </a:cubicBezTo>
                <a:cubicBezTo>
                  <a:pt x="386" y="47"/>
                  <a:pt x="388" y="47"/>
                  <a:pt x="388" y="48"/>
                </a:cubicBezTo>
                <a:cubicBezTo>
                  <a:pt x="385" y="48"/>
                  <a:pt x="385" y="47"/>
                  <a:pt x="382" y="48"/>
                </a:cubicBezTo>
                <a:cubicBezTo>
                  <a:pt x="382" y="47"/>
                  <a:pt x="383" y="47"/>
                  <a:pt x="384" y="47"/>
                </a:cubicBezTo>
                <a:cubicBezTo>
                  <a:pt x="383" y="47"/>
                  <a:pt x="380" y="48"/>
                  <a:pt x="380" y="47"/>
                </a:cubicBezTo>
                <a:cubicBezTo>
                  <a:pt x="379" y="47"/>
                  <a:pt x="380" y="48"/>
                  <a:pt x="377" y="48"/>
                </a:cubicBezTo>
                <a:cubicBezTo>
                  <a:pt x="376" y="47"/>
                  <a:pt x="377" y="47"/>
                  <a:pt x="376" y="47"/>
                </a:cubicBezTo>
                <a:cubicBezTo>
                  <a:pt x="375" y="47"/>
                  <a:pt x="371" y="48"/>
                  <a:pt x="375" y="48"/>
                </a:cubicBezTo>
                <a:cubicBezTo>
                  <a:pt x="374" y="48"/>
                  <a:pt x="373" y="49"/>
                  <a:pt x="371" y="49"/>
                </a:cubicBezTo>
                <a:cubicBezTo>
                  <a:pt x="372" y="48"/>
                  <a:pt x="370" y="48"/>
                  <a:pt x="371" y="47"/>
                </a:cubicBezTo>
                <a:cubicBezTo>
                  <a:pt x="370" y="47"/>
                  <a:pt x="367" y="48"/>
                  <a:pt x="368" y="47"/>
                </a:cubicBezTo>
                <a:cubicBezTo>
                  <a:pt x="365" y="48"/>
                  <a:pt x="363" y="48"/>
                  <a:pt x="361" y="48"/>
                </a:cubicBezTo>
                <a:cubicBezTo>
                  <a:pt x="361" y="47"/>
                  <a:pt x="362" y="47"/>
                  <a:pt x="363" y="47"/>
                </a:cubicBezTo>
                <a:cubicBezTo>
                  <a:pt x="363" y="47"/>
                  <a:pt x="361" y="47"/>
                  <a:pt x="359" y="47"/>
                </a:cubicBezTo>
                <a:cubicBezTo>
                  <a:pt x="358" y="48"/>
                  <a:pt x="355" y="48"/>
                  <a:pt x="351" y="48"/>
                </a:cubicBezTo>
                <a:cubicBezTo>
                  <a:pt x="351" y="49"/>
                  <a:pt x="354" y="48"/>
                  <a:pt x="354" y="49"/>
                </a:cubicBezTo>
                <a:cubicBezTo>
                  <a:pt x="350" y="50"/>
                  <a:pt x="351" y="49"/>
                  <a:pt x="348" y="49"/>
                </a:cubicBezTo>
                <a:cubicBezTo>
                  <a:pt x="350" y="50"/>
                  <a:pt x="344" y="50"/>
                  <a:pt x="342" y="50"/>
                </a:cubicBezTo>
                <a:cubicBezTo>
                  <a:pt x="340" y="50"/>
                  <a:pt x="343" y="50"/>
                  <a:pt x="341" y="51"/>
                </a:cubicBezTo>
                <a:cubicBezTo>
                  <a:pt x="336" y="52"/>
                  <a:pt x="334" y="52"/>
                  <a:pt x="332" y="51"/>
                </a:cubicBezTo>
                <a:cubicBezTo>
                  <a:pt x="334" y="50"/>
                  <a:pt x="335" y="51"/>
                  <a:pt x="335" y="51"/>
                </a:cubicBezTo>
                <a:cubicBezTo>
                  <a:pt x="336" y="51"/>
                  <a:pt x="336" y="51"/>
                  <a:pt x="336" y="51"/>
                </a:cubicBezTo>
                <a:cubicBezTo>
                  <a:pt x="336" y="50"/>
                  <a:pt x="334" y="51"/>
                  <a:pt x="335" y="50"/>
                </a:cubicBezTo>
                <a:cubicBezTo>
                  <a:pt x="331" y="51"/>
                  <a:pt x="331" y="51"/>
                  <a:pt x="331" y="52"/>
                </a:cubicBezTo>
                <a:cubicBezTo>
                  <a:pt x="330" y="51"/>
                  <a:pt x="326" y="51"/>
                  <a:pt x="326" y="52"/>
                </a:cubicBezTo>
                <a:cubicBezTo>
                  <a:pt x="323" y="53"/>
                  <a:pt x="325" y="52"/>
                  <a:pt x="326" y="51"/>
                </a:cubicBezTo>
                <a:cubicBezTo>
                  <a:pt x="326" y="51"/>
                  <a:pt x="322" y="52"/>
                  <a:pt x="321" y="53"/>
                </a:cubicBezTo>
                <a:cubicBezTo>
                  <a:pt x="321" y="53"/>
                  <a:pt x="322" y="53"/>
                  <a:pt x="323" y="53"/>
                </a:cubicBezTo>
                <a:cubicBezTo>
                  <a:pt x="321" y="53"/>
                  <a:pt x="315" y="54"/>
                  <a:pt x="316" y="55"/>
                </a:cubicBezTo>
                <a:cubicBezTo>
                  <a:pt x="314" y="56"/>
                  <a:pt x="314" y="55"/>
                  <a:pt x="312" y="55"/>
                </a:cubicBezTo>
                <a:cubicBezTo>
                  <a:pt x="313" y="55"/>
                  <a:pt x="314" y="54"/>
                  <a:pt x="315" y="54"/>
                </a:cubicBezTo>
                <a:cubicBezTo>
                  <a:pt x="317" y="53"/>
                  <a:pt x="317" y="53"/>
                  <a:pt x="320" y="52"/>
                </a:cubicBezTo>
                <a:cubicBezTo>
                  <a:pt x="319" y="52"/>
                  <a:pt x="314" y="54"/>
                  <a:pt x="313" y="54"/>
                </a:cubicBezTo>
                <a:cubicBezTo>
                  <a:pt x="310" y="54"/>
                  <a:pt x="314" y="54"/>
                  <a:pt x="312" y="55"/>
                </a:cubicBezTo>
                <a:cubicBezTo>
                  <a:pt x="308" y="56"/>
                  <a:pt x="308" y="56"/>
                  <a:pt x="304" y="57"/>
                </a:cubicBezTo>
                <a:cubicBezTo>
                  <a:pt x="305" y="57"/>
                  <a:pt x="307" y="57"/>
                  <a:pt x="307" y="56"/>
                </a:cubicBezTo>
                <a:cubicBezTo>
                  <a:pt x="305" y="56"/>
                  <a:pt x="302" y="58"/>
                  <a:pt x="302" y="58"/>
                </a:cubicBezTo>
                <a:cubicBezTo>
                  <a:pt x="299" y="59"/>
                  <a:pt x="304" y="57"/>
                  <a:pt x="301" y="58"/>
                </a:cubicBezTo>
                <a:cubicBezTo>
                  <a:pt x="301" y="57"/>
                  <a:pt x="304" y="57"/>
                  <a:pt x="303" y="57"/>
                </a:cubicBezTo>
                <a:cubicBezTo>
                  <a:pt x="303" y="57"/>
                  <a:pt x="298" y="58"/>
                  <a:pt x="297" y="58"/>
                </a:cubicBezTo>
                <a:cubicBezTo>
                  <a:pt x="298" y="59"/>
                  <a:pt x="301" y="57"/>
                  <a:pt x="301" y="58"/>
                </a:cubicBezTo>
                <a:cubicBezTo>
                  <a:pt x="296" y="59"/>
                  <a:pt x="295" y="60"/>
                  <a:pt x="292" y="60"/>
                </a:cubicBezTo>
                <a:cubicBezTo>
                  <a:pt x="290" y="61"/>
                  <a:pt x="289" y="61"/>
                  <a:pt x="289" y="62"/>
                </a:cubicBezTo>
                <a:cubicBezTo>
                  <a:pt x="288" y="62"/>
                  <a:pt x="283" y="62"/>
                  <a:pt x="283" y="63"/>
                </a:cubicBezTo>
                <a:cubicBezTo>
                  <a:pt x="279" y="65"/>
                  <a:pt x="279" y="64"/>
                  <a:pt x="276" y="65"/>
                </a:cubicBezTo>
                <a:cubicBezTo>
                  <a:pt x="274" y="66"/>
                  <a:pt x="277" y="66"/>
                  <a:pt x="276" y="66"/>
                </a:cubicBezTo>
                <a:cubicBezTo>
                  <a:pt x="273" y="67"/>
                  <a:pt x="273" y="67"/>
                  <a:pt x="273" y="67"/>
                </a:cubicBezTo>
                <a:cubicBezTo>
                  <a:pt x="275" y="65"/>
                  <a:pt x="264" y="71"/>
                  <a:pt x="260" y="71"/>
                </a:cubicBezTo>
                <a:cubicBezTo>
                  <a:pt x="259" y="72"/>
                  <a:pt x="259" y="72"/>
                  <a:pt x="259" y="73"/>
                </a:cubicBezTo>
                <a:cubicBezTo>
                  <a:pt x="257" y="73"/>
                  <a:pt x="254" y="74"/>
                  <a:pt x="253" y="75"/>
                </a:cubicBezTo>
                <a:cubicBezTo>
                  <a:pt x="253" y="75"/>
                  <a:pt x="253" y="75"/>
                  <a:pt x="253" y="74"/>
                </a:cubicBezTo>
                <a:cubicBezTo>
                  <a:pt x="248" y="77"/>
                  <a:pt x="246" y="78"/>
                  <a:pt x="239" y="81"/>
                </a:cubicBezTo>
                <a:cubicBezTo>
                  <a:pt x="240" y="80"/>
                  <a:pt x="244" y="78"/>
                  <a:pt x="245" y="78"/>
                </a:cubicBezTo>
                <a:cubicBezTo>
                  <a:pt x="244" y="78"/>
                  <a:pt x="244" y="76"/>
                  <a:pt x="243" y="77"/>
                </a:cubicBezTo>
                <a:cubicBezTo>
                  <a:pt x="243" y="77"/>
                  <a:pt x="242" y="76"/>
                  <a:pt x="243" y="75"/>
                </a:cubicBezTo>
                <a:cubicBezTo>
                  <a:pt x="244" y="75"/>
                  <a:pt x="244" y="75"/>
                  <a:pt x="245" y="75"/>
                </a:cubicBezTo>
                <a:cubicBezTo>
                  <a:pt x="247" y="74"/>
                  <a:pt x="243" y="74"/>
                  <a:pt x="246" y="73"/>
                </a:cubicBezTo>
                <a:cubicBezTo>
                  <a:pt x="245" y="73"/>
                  <a:pt x="244" y="74"/>
                  <a:pt x="243" y="75"/>
                </a:cubicBezTo>
                <a:cubicBezTo>
                  <a:pt x="243" y="73"/>
                  <a:pt x="250" y="71"/>
                  <a:pt x="252" y="71"/>
                </a:cubicBezTo>
                <a:cubicBezTo>
                  <a:pt x="254" y="70"/>
                  <a:pt x="251" y="70"/>
                  <a:pt x="254" y="69"/>
                </a:cubicBezTo>
                <a:cubicBezTo>
                  <a:pt x="247" y="70"/>
                  <a:pt x="242" y="74"/>
                  <a:pt x="237" y="76"/>
                </a:cubicBezTo>
                <a:cubicBezTo>
                  <a:pt x="236" y="76"/>
                  <a:pt x="237" y="76"/>
                  <a:pt x="237" y="76"/>
                </a:cubicBezTo>
                <a:cubicBezTo>
                  <a:pt x="235" y="77"/>
                  <a:pt x="233" y="78"/>
                  <a:pt x="233" y="78"/>
                </a:cubicBezTo>
                <a:cubicBezTo>
                  <a:pt x="234" y="77"/>
                  <a:pt x="235" y="77"/>
                  <a:pt x="235" y="76"/>
                </a:cubicBezTo>
                <a:cubicBezTo>
                  <a:pt x="232" y="77"/>
                  <a:pt x="234" y="77"/>
                  <a:pt x="231" y="78"/>
                </a:cubicBezTo>
                <a:cubicBezTo>
                  <a:pt x="229" y="78"/>
                  <a:pt x="231" y="77"/>
                  <a:pt x="227" y="79"/>
                </a:cubicBezTo>
                <a:cubicBezTo>
                  <a:pt x="227" y="78"/>
                  <a:pt x="230" y="77"/>
                  <a:pt x="231" y="76"/>
                </a:cubicBezTo>
                <a:cubicBezTo>
                  <a:pt x="229" y="77"/>
                  <a:pt x="228" y="77"/>
                  <a:pt x="224" y="79"/>
                </a:cubicBezTo>
                <a:cubicBezTo>
                  <a:pt x="227" y="76"/>
                  <a:pt x="236" y="73"/>
                  <a:pt x="233" y="72"/>
                </a:cubicBezTo>
                <a:cubicBezTo>
                  <a:pt x="233" y="72"/>
                  <a:pt x="231" y="72"/>
                  <a:pt x="231" y="72"/>
                </a:cubicBezTo>
                <a:cubicBezTo>
                  <a:pt x="229" y="73"/>
                  <a:pt x="233" y="72"/>
                  <a:pt x="230" y="73"/>
                </a:cubicBezTo>
                <a:cubicBezTo>
                  <a:pt x="230" y="73"/>
                  <a:pt x="232" y="73"/>
                  <a:pt x="232" y="73"/>
                </a:cubicBezTo>
                <a:cubicBezTo>
                  <a:pt x="227" y="76"/>
                  <a:pt x="222" y="80"/>
                  <a:pt x="219" y="80"/>
                </a:cubicBezTo>
                <a:cubicBezTo>
                  <a:pt x="223" y="79"/>
                  <a:pt x="216" y="80"/>
                  <a:pt x="222" y="77"/>
                </a:cubicBezTo>
                <a:cubicBezTo>
                  <a:pt x="221" y="76"/>
                  <a:pt x="216" y="78"/>
                  <a:pt x="218" y="76"/>
                </a:cubicBezTo>
                <a:cubicBezTo>
                  <a:pt x="217" y="77"/>
                  <a:pt x="210" y="80"/>
                  <a:pt x="210" y="82"/>
                </a:cubicBezTo>
                <a:cubicBezTo>
                  <a:pt x="205" y="84"/>
                  <a:pt x="210" y="81"/>
                  <a:pt x="203" y="85"/>
                </a:cubicBezTo>
                <a:cubicBezTo>
                  <a:pt x="207" y="83"/>
                  <a:pt x="205" y="85"/>
                  <a:pt x="206" y="85"/>
                </a:cubicBezTo>
                <a:cubicBezTo>
                  <a:pt x="203" y="87"/>
                  <a:pt x="205" y="85"/>
                  <a:pt x="204" y="85"/>
                </a:cubicBezTo>
                <a:cubicBezTo>
                  <a:pt x="202" y="86"/>
                  <a:pt x="201" y="88"/>
                  <a:pt x="199" y="88"/>
                </a:cubicBezTo>
                <a:cubicBezTo>
                  <a:pt x="199" y="89"/>
                  <a:pt x="199" y="89"/>
                  <a:pt x="198" y="89"/>
                </a:cubicBezTo>
                <a:cubicBezTo>
                  <a:pt x="200" y="89"/>
                  <a:pt x="202" y="86"/>
                  <a:pt x="203" y="86"/>
                </a:cubicBezTo>
                <a:cubicBezTo>
                  <a:pt x="204" y="87"/>
                  <a:pt x="202" y="88"/>
                  <a:pt x="201" y="88"/>
                </a:cubicBezTo>
                <a:cubicBezTo>
                  <a:pt x="201" y="89"/>
                  <a:pt x="205" y="87"/>
                  <a:pt x="202" y="89"/>
                </a:cubicBezTo>
                <a:cubicBezTo>
                  <a:pt x="202" y="89"/>
                  <a:pt x="204" y="88"/>
                  <a:pt x="205" y="87"/>
                </a:cubicBezTo>
                <a:cubicBezTo>
                  <a:pt x="203" y="89"/>
                  <a:pt x="198" y="91"/>
                  <a:pt x="198" y="92"/>
                </a:cubicBezTo>
                <a:cubicBezTo>
                  <a:pt x="198" y="92"/>
                  <a:pt x="198" y="91"/>
                  <a:pt x="195" y="93"/>
                </a:cubicBezTo>
                <a:cubicBezTo>
                  <a:pt x="195" y="92"/>
                  <a:pt x="196" y="92"/>
                  <a:pt x="197" y="91"/>
                </a:cubicBezTo>
                <a:cubicBezTo>
                  <a:pt x="196" y="91"/>
                  <a:pt x="194" y="92"/>
                  <a:pt x="192" y="94"/>
                </a:cubicBezTo>
                <a:cubicBezTo>
                  <a:pt x="191" y="94"/>
                  <a:pt x="190" y="94"/>
                  <a:pt x="190" y="93"/>
                </a:cubicBezTo>
                <a:cubicBezTo>
                  <a:pt x="187" y="95"/>
                  <a:pt x="190" y="94"/>
                  <a:pt x="187" y="96"/>
                </a:cubicBezTo>
                <a:cubicBezTo>
                  <a:pt x="189" y="94"/>
                  <a:pt x="184" y="97"/>
                  <a:pt x="184" y="96"/>
                </a:cubicBezTo>
                <a:cubicBezTo>
                  <a:pt x="182" y="98"/>
                  <a:pt x="180" y="99"/>
                  <a:pt x="179" y="100"/>
                </a:cubicBezTo>
                <a:cubicBezTo>
                  <a:pt x="179" y="99"/>
                  <a:pt x="179" y="98"/>
                  <a:pt x="181" y="98"/>
                </a:cubicBezTo>
                <a:cubicBezTo>
                  <a:pt x="184" y="96"/>
                  <a:pt x="180" y="98"/>
                  <a:pt x="180" y="97"/>
                </a:cubicBezTo>
                <a:cubicBezTo>
                  <a:pt x="184" y="95"/>
                  <a:pt x="186" y="93"/>
                  <a:pt x="191" y="90"/>
                </a:cubicBezTo>
                <a:cubicBezTo>
                  <a:pt x="188" y="92"/>
                  <a:pt x="189" y="92"/>
                  <a:pt x="192" y="90"/>
                </a:cubicBezTo>
                <a:cubicBezTo>
                  <a:pt x="194" y="88"/>
                  <a:pt x="194" y="88"/>
                  <a:pt x="198" y="86"/>
                </a:cubicBezTo>
                <a:cubicBezTo>
                  <a:pt x="200" y="85"/>
                  <a:pt x="196" y="86"/>
                  <a:pt x="200" y="84"/>
                </a:cubicBezTo>
                <a:cubicBezTo>
                  <a:pt x="199" y="85"/>
                  <a:pt x="204" y="82"/>
                  <a:pt x="204" y="84"/>
                </a:cubicBezTo>
                <a:cubicBezTo>
                  <a:pt x="204" y="84"/>
                  <a:pt x="206" y="83"/>
                  <a:pt x="208" y="82"/>
                </a:cubicBezTo>
                <a:cubicBezTo>
                  <a:pt x="208" y="81"/>
                  <a:pt x="209" y="81"/>
                  <a:pt x="209" y="81"/>
                </a:cubicBezTo>
                <a:cubicBezTo>
                  <a:pt x="209" y="80"/>
                  <a:pt x="205" y="82"/>
                  <a:pt x="207" y="82"/>
                </a:cubicBezTo>
                <a:cubicBezTo>
                  <a:pt x="205" y="83"/>
                  <a:pt x="203" y="84"/>
                  <a:pt x="203" y="83"/>
                </a:cubicBezTo>
                <a:cubicBezTo>
                  <a:pt x="206" y="81"/>
                  <a:pt x="206" y="81"/>
                  <a:pt x="206" y="81"/>
                </a:cubicBezTo>
                <a:cubicBezTo>
                  <a:pt x="206" y="81"/>
                  <a:pt x="205" y="82"/>
                  <a:pt x="206" y="82"/>
                </a:cubicBezTo>
                <a:cubicBezTo>
                  <a:pt x="208" y="81"/>
                  <a:pt x="207" y="81"/>
                  <a:pt x="207" y="80"/>
                </a:cubicBezTo>
                <a:cubicBezTo>
                  <a:pt x="208" y="79"/>
                  <a:pt x="209" y="80"/>
                  <a:pt x="210" y="79"/>
                </a:cubicBezTo>
                <a:cubicBezTo>
                  <a:pt x="212" y="78"/>
                  <a:pt x="209" y="81"/>
                  <a:pt x="213" y="79"/>
                </a:cubicBezTo>
                <a:cubicBezTo>
                  <a:pt x="215" y="78"/>
                  <a:pt x="214" y="77"/>
                  <a:pt x="216" y="77"/>
                </a:cubicBezTo>
                <a:cubicBezTo>
                  <a:pt x="218" y="75"/>
                  <a:pt x="218" y="73"/>
                  <a:pt x="217" y="73"/>
                </a:cubicBezTo>
                <a:cubicBezTo>
                  <a:pt x="216" y="74"/>
                  <a:pt x="216" y="74"/>
                  <a:pt x="213" y="75"/>
                </a:cubicBezTo>
                <a:cubicBezTo>
                  <a:pt x="213" y="74"/>
                  <a:pt x="213" y="74"/>
                  <a:pt x="213" y="74"/>
                </a:cubicBezTo>
                <a:cubicBezTo>
                  <a:pt x="219" y="70"/>
                  <a:pt x="218" y="72"/>
                  <a:pt x="221" y="70"/>
                </a:cubicBezTo>
                <a:cubicBezTo>
                  <a:pt x="222" y="70"/>
                  <a:pt x="220" y="71"/>
                  <a:pt x="219" y="72"/>
                </a:cubicBezTo>
                <a:cubicBezTo>
                  <a:pt x="218" y="73"/>
                  <a:pt x="221" y="71"/>
                  <a:pt x="219" y="73"/>
                </a:cubicBezTo>
                <a:cubicBezTo>
                  <a:pt x="219" y="73"/>
                  <a:pt x="223" y="71"/>
                  <a:pt x="222" y="72"/>
                </a:cubicBezTo>
                <a:cubicBezTo>
                  <a:pt x="224" y="71"/>
                  <a:pt x="221" y="72"/>
                  <a:pt x="221" y="71"/>
                </a:cubicBezTo>
                <a:cubicBezTo>
                  <a:pt x="224" y="70"/>
                  <a:pt x="221" y="70"/>
                  <a:pt x="224" y="68"/>
                </a:cubicBezTo>
                <a:cubicBezTo>
                  <a:pt x="224" y="68"/>
                  <a:pt x="224" y="68"/>
                  <a:pt x="224" y="68"/>
                </a:cubicBezTo>
                <a:cubicBezTo>
                  <a:pt x="223" y="68"/>
                  <a:pt x="223" y="69"/>
                  <a:pt x="221" y="70"/>
                </a:cubicBezTo>
                <a:cubicBezTo>
                  <a:pt x="224" y="66"/>
                  <a:pt x="231" y="66"/>
                  <a:pt x="235" y="63"/>
                </a:cubicBezTo>
                <a:cubicBezTo>
                  <a:pt x="234" y="63"/>
                  <a:pt x="233" y="64"/>
                  <a:pt x="234" y="62"/>
                </a:cubicBezTo>
                <a:cubicBezTo>
                  <a:pt x="231" y="63"/>
                  <a:pt x="234" y="63"/>
                  <a:pt x="231" y="64"/>
                </a:cubicBezTo>
                <a:cubicBezTo>
                  <a:pt x="233" y="63"/>
                  <a:pt x="232" y="63"/>
                  <a:pt x="234" y="61"/>
                </a:cubicBezTo>
                <a:cubicBezTo>
                  <a:pt x="236" y="60"/>
                  <a:pt x="235" y="61"/>
                  <a:pt x="234" y="61"/>
                </a:cubicBezTo>
                <a:cubicBezTo>
                  <a:pt x="235" y="61"/>
                  <a:pt x="236" y="61"/>
                  <a:pt x="236" y="62"/>
                </a:cubicBezTo>
                <a:cubicBezTo>
                  <a:pt x="239" y="60"/>
                  <a:pt x="239" y="60"/>
                  <a:pt x="241" y="59"/>
                </a:cubicBezTo>
                <a:cubicBezTo>
                  <a:pt x="240" y="60"/>
                  <a:pt x="244" y="58"/>
                  <a:pt x="245" y="58"/>
                </a:cubicBezTo>
                <a:cubicBezTo>
                  <a:pt x="248" y="57"/>
                  <a:pt x="244" y="57"/>
                  <a:pt x="247" y="57"/>
                </a:cubicBezTo>
                <a:cubicBezTo>
                  <a:pt x="249" y="55"/>
                  <a:pt x="249" y="56"/>
                  <a:pt x="249" y="56"/>
                </a:cubicBezTo>
                <a:cubicBezTo>
                  <a:pt x="248" y="58"/>
                  <a:pt x="246" y="58"/>
                  <a:pt x="244" y="59"/>
                </a:cubicBezTo>
                <a:cubicBezTo>
                  <a:pt x="245" y="59"/>
                  <a:pt x="246" y="59"/>
                  <a:pt x="244" y="61"/>
                </a:cubicBezTo>
                <a:cubicBezTo>
                  <a:pt x="244" y="61"/>
                  <a:pt x="245" y="60"/>
                  <a:pt x="245" y="61"/>
                </a:cubicBezTo>
                <a:cubicBezTo>
                  <a:pt x="245" y="60"/>
                  <a:pt x="245" y="60"/>
                  <a:pt x="246" y="59"/>
                </a:cubicBezTo>
                <a:cubicBezTo>
                  <a:pt x="247" y="59"/>
                  <a:pt x="248" y="59"/>
                  <a:pt x="248" y="59"/>
                </a:cubicBezTo>
                <a:cubicBezTo>
                  <a:pt x="250" y="58"/>
                  <a:pt x="245" y="59"/>
                  <a:pt x="246" y="59"/>
                </a:cubicBezTo>
                <a:cubicBezTo>
                  <a:pt x="248" y="57"/>
                  <a:pt x="253" y="56"/>
                  <a:pt x="253" y="55"/>
                </a:cubicBezTo>
                <a:cubicBezTo>
                  <a:pt x="255" y="54"/>
                  <a:pt x="255" y="55"/>
                  <a:pt x="257" y="55"/>
                </a:cubicBezTo>
                <a:cubicBezTo>
                  <a:pt x="257" y="54"/>
                  <a:pt x="264" y="50"/>
                  <a:pt x="267" y="50"/>
                </a:cubicBezTo>
                <a:cubicBezTo>
                  <a:pt x="271" y="49"/>
                  <a:pt x="268" y="48"/>
                  <a:pt x="268" y="48"/>
                </a:cubicBezTo>
                <a:cubicBezTo>
                  <a:pt x="266" y="49"/>
                  <a:pt x="263" y="49"/>
                  <a:pt x="263" y="50"/>
                </a:cubicBezTo>
                <a:cubicBezTo>
                  <a:pt x="263" y="50"/>
                  <a:pt x="265" y="50"/>
                  <a:pt x="266" y="49"/>
                </a:cubicBezTo>
                <a:cubicBezTo>
                  <a:pt x="263" y="51"/>
                  <a:pt x="256" y="53"/>
                  <a:pt x="253" y="55"/>
                </a:cubicBezTo>
                <a:cubicBezTo>
                  <a:pt x="253" y="54"/>
                  <a:pt x="252" y="54"/>
                  <a:pt x="254" y="53"/>
                </a:cubicBezTo>
                <a:cubicBezTo>
                  <a:pt x="256" y="52"/>
                  <a:pt x="258" y="52"/>
                  <a:pt x="258" y="51"/>
                </a:cubicBezTo>
                <a:cubicBezTo>
                  <a:pt x="261" y="50"/>
                  <a:pt x="259" y="52"/>
                  <a:pt x="257" y="52"/>
                </a:cubicBezTo>
                <a:cubicBezTo>
                  <a:pt x="261" y="51"/>
                  <a:pt x="263" y="49"/>
                  <a:pt x="267" y="48"/>
                </a:cubicBezTo>
                <a:cubicBezTo>
                  <a:pt x="262" y="49"/>
                  <a:pt x="253" y="52"/>
                  <a:pt x="247" y="55"/>
                </a:cubicBezTo>
                <a:cubicBezTo>
                  <a:pt x="244" y="56"/>
                  <a:pt x="242" y="56"/>
                  <a:pt x="242" y="55"/>
                </a:cubicBezTo>
                <a:cubicBezTo>
                  <a:pt x="240" y="56"/>
                  <a:pt x="242" y="56"/>
                  <a:pt x="242" y="57"/>
                </a:cubicBezTo>
                <a:cubicBezTo>
                  <a:pt x="240" y="57"/>
                  <a:pt x="241" y="58"/>
                  <a:pt x="239" y="58"/>
                </a:cubicBezTo>
                <a:cubicBezTo>
                  <a:pt x="238" y="58"/>
                  <a:pt x="240" y="57"/>
                  <a:pt x="239" y="57"/>
                </a:cubicBezTo>
                <a:cubicBezTo>
                  <a:pt x="238" y="57"/>
                  <a:pt x="236" y="58"/>
                  <a:pt x="234" y="59"/>
                </a:cubicBezTo>
                <a:cubicBezTo>
                  <a:pt x="233" y="60"/>
                  <a:pt x="235" y="59"/>
                  <a:pt x="234" y="60"/>
                </a:cubicBezTo>
                <a:cubicBezTo>
                  <a:pt x="236" y="59"/>
                  <a:pt x="235" y="59"/>
                  <a:pt x="235" y="59"/>
                </a:cubicBezTo>
                <a:cubicBezTo>
                  <a:pt x="237" y="57"/>
                  <a:pt x="237" y="58"/>
                  <a:pt x="239" y="58"/>
                </a:cubicBezTo>
                <a:cubicBezTo>
                  <a:pt x="238" y="59"/>
                  <a:pt x="227" y="63"/>
                  <a:pt x="229" y="64"/>
                </a:cubicBezTo>
                <a:cubicBezTo>
                  <a:pt x="228" y="64"/>
                  <a:pt x="227" y="64"/>
                  <a:pt x="226" y="64"/>
                </a:cubicBezTo>
                <a:cubicBezTo>
                  <a:pt x="229" y="61"/>
                  <a:pt x="225" y="63"/>
                  <a:pt x="223" y="62"/>
                </a:cubicBezTo>
                <a:cubicBezTo>
                  <a:pt x="222" y="63"/>
                  <a:pt x="222" y="63"/>
                  <a:pt x="220" y="64"/>
                </a:cubicBezTo>
                <a:cubicBezTo>
                  <a:pt x="220" y="64"/>
                  <a:pt x="221" y="63"/>
                  <a:pt x="221" y="63"/>
                </a:cubicBezTo>
                <a:cubicBezTo>
                  <a:pt x="216" y="65"/>
                  <a:pt x="222" y="64"/>
                  <a:pt x="217" y="66"/>
                </a:cubicBezTo>
                <a:cubicBezTo>
                  <a:pt x="217" y="65"/>
                  <a:pt x="218" y="65"/>
                  <a:pt x="218" y="64"/>
                </a:cubicBezTo>
                <a:cubicBezTo>
                  <a:pt x="213" y="68"/>
                  <a:pt x="214" y="68"/>
                  <a:pt x="210" y="70"/>
                </a:cubicBezTo>
                <a:cubicBezTo>
                  <a:pt x="209" y="69"/>
                  <a:pt x="209" y="69"/>
                  <a:pt x="209" y="69"/>
                </a:cubicBezTo>
                <a:cubicBezTo>
                  <a:pt x="209" y="69"/>
                  <a:pt x="207" y="71"/>
                  <a:pt x="205" y="72"/>
                </a:cubicBezTo>
                <a:cubicBezTo>
                  <a:pt x="205" y="72"/>
                  <a:pt x="207" y="72"/>
                  <a:pt x="204" y="74"/>
                </a:cubicBezTo>
                <a:cubicBezTo>
                  <a:pt x="204" y="73"/>
                  <a:pt x="205" y="72"/>
                  <a:pt x="203" y="73"/>
                </a:cubicBezTo>
                <a:cubicBezTo>
                  <a:pt x="201" y="75"/>
                  <a:pt x="199" y="76"/>
                  <a:pt x="198" y="77"/>
                </a:cubicBezTo>
                <a:cubicBezTo>
                  <a:pt x="199" y="76"/>
                  <a:pt x="202" y="75"/>
                  <a:pt x="198" y="78"/>
                </a:cubicBezTo>
                <a:cubicBezTo>
                  <a:pt x="199" y="78"/>
                  <a:pt x="201" y="77"/>
                  <a:pt x="203" y="75"/>
                </a:cubicBezTo>
                <a:cubicBezTo>
                  <a:pt x="203" y="76"/>
                  <a:pt x="196" y="80"/>
                  <a:pt x="194" y="81"/>
                </a:cubicBezTo>
                <a:cubicBezTo>
                  <a:pt x="197" y="79"/>
                  <a:pt x="196" y="79"/>
                  <a:pt x="197" y="77"/>
                </a:cubicBezTo>
                <a:cubicBezTo>
                  <a:pt x="194" y="79"/>
                  <a:pt x="195" y="78"/>
                  <a:pt x="192" y="80"/>
                </a:cubicBezTo>
                <a:cubicBezTo>
                  <a:pt x="191" y="80"/>
                  <a:pt x="192" y="80"/>
                  <a:pt x="192" y="81"/>
                </a:cubicBezTo>
                <a:cubicBezTo>
                  <a:pt x="187" y="83"/>
                  <a:pt x="184" y="85"/>
                  <a:pt x="179" y="89"/>
                </a:cubicBezTo>
                <a:cubicBezTo>
                  <a:pt x="179" y="89"/>
                  <a:pt x="180" y="89"/>
                  <a:pt x="180" y="89"/>
                </a:cubicBezTo>
                <a:cubicBezTo>
                  <a:pt x="181" y="88"/>
                  <a:pt x="181" y="88"/>
                  <a:pt x="183" y="87"/>
                </a:cubicBezTo>
                <a:cubicBezTo>
                  <a:pt x="182" y="88"/>
                  <a:pt x="182" y="89"/>
                  <a:pt x="182" y="90"/>
                </a:cubicBezTo>
                <a:cubicBezTo>
                  <a:pt x="179" y="91"/>
                  <a:pt x="178" y="93"/>
                  <a:pt x="177" y="92"/>
                </a:cubicBezTo>
                <a:cubicBezTo>
                  <a:pt x="176" y="94"/>
                  <a:pt x="174" y="95"/>
                  <a:pt x="172" y="96"/>
                </a:cubicBezTo>
                <a:cubicBezTo>
                  <a:pt x="171" y="96"/>
                  <a:pt x="173" y="94"/>
                  <a:pt x="173" y="94"/>
                </a:cubicBezTo>
                <a:cubicBezTo>
                  <a:pt x="169" y="96"/>
                  <a:pt x="172" y="96"/>
                  <a:pt x="171" y="97"/>
                </a:cubicBezTo>
                <a:cubicBezTo>
                  <a:pt x="171" y="97"/>
                  <a:pt x="172" y="96"/>
                  <a:pt x="173" y="95"/>
                </a:cubicBezTo>
                <a:cubicBezTo>
                  <a:pt x="173" y="96"/>
                  <a:pt x="169" y="100"/>
                  <a:pt x="173" y="97"/>
                </a:cubicBezTo>
                <a:cubicBezTo>
                  <a:pt x="171" y="99"/>
                  <a:pt x="166" y="102"/>
                  <a:pt x="166" y="101"/>
                </a:cubicBezTo>
                <a:cubicBezTo>
                  <a:pt x="169" y="98"/>
                  <a:pt x="167" y="98"/>
                  <a:pt x="169" y="97"/>
                </a:cubicBezTo>
                <a:cubicBezTo>
                  <a:pt x="168" y="96"/>
                  <a:pt x="165" y="99"/>
                  <a:pt x="163" y="101"/>
                </a:cubicBezTo>
                <a:cubicBezTo>
                  <a:pt x="163" y="101"/>
                  <a:pt x="162" y="101"/>
                  <a:pt x="162" y="101"/>
                </a:cubicBezTo>
                <a:cubicBezTo>
                  <a:pt x="162" y="101"/>
                  <a:pt x="163" y="100"/>
                  <a:pt x="163" y="100"/>
                </a:cubicBezTo>
                <a:cubicBezTo>
                  <a:pt x="163" y="100"/>
                  <a:pt x="162" y="100"/>
                  <a:pt x="161" y="101"/>
                </a:cubicBezTo>
                <a:cubicBezTo>
                  <a:pt x="162" y="102"/>
                  <a:pt x="162" y="102"/>
                  <a:pt x="158" y="102"/>
                </a:cubicBezTo>
                <a:cubicBezTo>
                  <a:pt x="157" y="104"/>
                  <a:pt x="161" y="102"/>
                  <a:pt x="157" y="105"/>
                </a:cubicBezTo>
                <a:cubicBezTo>
                  <a:pt x="157" y="104"/>
                  <a:pt x="155" y="105"/>
                  <a:pt x="154" y="106"/>
                </a:cubicBezTo>
                <a:cubicBezTo>
                  <a:pt x="157" y="105"/>
                  <a:pt x="154" y="107"/>
                  <a:pt x="154" y="107"/>
                </a:cubicBezTo>
                <a:cubicBezTo>
                  <a:pt x="152" y="109"/>
                  <a:pt x="153" y="108"/>
                  <a:pt x="151" y="109"/>
                </a:cubicBezTo>
                <a:cubicBezTo>
                  <a:pt x="151" y="109"/>
                  <a:pt x="153" y="108"/>
                  <a:pt x="152" y="108"/>
                </a:cubicBezTo>
                <a:cubicBezTo>
                  <a:pt x="152" y="108"/>
                  <a:pt x="152" y="108"/>
                  <a:pt x="151" y="108"/>
                </a:cubicBezTo>
                <a:cubicBezTo>
                  <a:pt x="150" y="109"/>
                  <a:pt x="151" y="109"/>
                  <a:pt x="150" y="110"/>
                </a:cubicBezTo>
                <a:cubicBezTo>
                  <a:pt x="150" y="111"/>
                  <a:pt x="153" y="108"/>
                  <a:pt x="150" y="111"/>
                </a:cubicBezTo>
                <a:cubicBezTo>
                  <a:pt x="151" y="111"/>
                  <a:pt x="154" y="109"/>
                  <a:pt x="154" y="108"/>
                </a:cubicBezTo>
                <a:cubicBezTo>
                  <a:pt x="154" y="109"/>
                  <a:pt x="156" y="108"/>
                  <a:pt x="156" y="108"/>
                </a:cubicBezTo>
                <a:cubicBezTo>
                  <a:pt x="154" y="110"/>
                  <a:pt x="154" y="109"/>
                  <a:pt x="153" y="110"/>
                </a:cubicBezTo>
                <a:cubicBezTo>
                  <a:pt x="152" y="111"/>
                  <a:pt x="149" y="113"/>
                  <a:pt x="149" y="114"/>
                </a:cubicBezTo>
                <a:cubicBezTo>
                  <a:pt x="150" y="113"/>
                  <a:pt x="153" y="110"/>
                  <a:pt x="154" y="111"/>
                </a:cubicBezTo>
                <a:cubicBezTo>
                  <a:pt x="151" y="113"/>
                  <a:pt x="152" y="113"/>
                  <a:pt x="153" y="113"/>
                </a:cubicBezTo>
                <a:cubicBezTo>
                  <a:pt x="153" y="113"/>
                  <a:pt x="152" y="113"/>
                  <a:pt x="152" y="113"/>
                </a:cubicBezTo>
                <a:cubicBezTo>
                  <a:pt x="152" y="113"/>
                  <a:pt x="152" y="114"/>
                  <a:pt x="152" y="114"/>
                </a:cubicBezTo>
                <a:cubicBezTo>
                  <a:pt x="150" y="114"/>
                  <a:pt x="153" y="111"/>
                  <a:pt x="149" y="114"/>
                </a:cubicBezTo>
                <a:cubicBezTo>
                  <a:pt x="149" y="116"/>
                  <a:pt x="146" y="119"/>
                  <a:pt x="150" y="117"/>
                </a:cubicBezTo>
                <a:cubicBezTo>
                  <a:pt x="149" y="118"/>
                  <a:pt x="149" y="118"/>
                  <a:pt x="149" y="118"/>
                </a:cubicBezTo>
                <a:cubicBezTo>
                  <a:pt x="147" y="120"/>
                  <a:pt x="146" y="119"/>
                  <a:pt x="147" y="118"/>
                </a:cubicBezTo>
                <a:cubicBezTo>
                  <a:pt x="144" y="118"/>
                  <a:pt x="140" y="124"/>
                  <a:pt x="138" y="124"/>
                </a:cubicBezTo>
                <a:cubicBezTo>
                  <a:pt x="139" y="124"/>
                  <a:pt x="136" y="126"/>
                  <a:pt x="136" y="127"/>
                </a:cubicBezTo>
                <a:cubicBezTo>
                  <a:pt x="137" y="127"/>
                  <a:pt x="140" y="125"/>
                  <a:pt x="143" y="122"/>
                </a:cubicBezTo>
                <a:cubicBezTo>
                  <a:pt x="143" y="122"/>
                  <a:pt x="143" y="122"/>
                  <a:pt x="143" y="122"/>
                </a:cubicBezTo>
                <a:cubicBezTo>
                  <a:pt x="144" y="121"/>
                  <a:pt x="142" y="123"/>
                  <a:pt x="144" y="123"/>
                </a:cubicBezTo>
                <a:cubicBezTo>
                  <a:pt x="142" y="122"/>
                  <a:pt x="139" y="127"/>
                  <a:pt x="138" y="126"/>
                </a:cubicBezTo>
                <a:cubicBezTo>
                  <a:pt x="135" y="128"/>
                  <a:pt x="135" y="129"/>
                  <a:pt x="134" y="130"/>
                </a:cubicBezTo>
                <a:cubicBezTo>
                  <a:pt x="137" y="129"/>
                  <a:pt x="137" y="128"/>
                  <a:pt x="139" y="127"/>
                </a:cubicBezTo>
                <a:cubicBezTo>
                  <a:pt x="139" y="128"/>
                  <a:pt x="140" y="127"/>
                  <a:pt x="139" y="128"/>
                </a:cubicBezTo>
                <a:cubicBezTo>
                  <a:pt x="140" y="128"/>
                  <a:pt x="141" y="127"/>
                  <a:pt x="141" y="127"/>
                </a:cubicBezTo>
                <a:cubicBezTo>
                  <a:pt x="142" y="126"/>
                  <a:pt x="142" y="126"/>
                  <a:pt x="142" y="126"/>
                </a:cubicBezTo>
                <a:cubicBezTo>
                  <a:pt x="143" y="125"/>
                  <a:pt x="144" y="125"/>
                  <a:pt x="146" y="123"/>
                </a:cubicBezTo>
                <a:cubicBezTo>
                  <a:pt x="147" y="121"/>
                  <a:pt x="151" y="120"/>
                  <a:pt x="154" y="116"/>
                </a:cubicBezTo>
                <a:cubicBezTo>
                  <a:pt x="159" y="114"/>
                  <a:pt x="160" y="110"/>
                  <a:pt x="162" y="111"/>
                </a:cubicBezTo>
                <a:cubicBezTo>
                  <a:pt x="165" y="107"/>
                  <a:pt x="169" y="106"/>
                  <a:pt x="173" y="103"/>
                </a:cubicBezTo>
                <a:cubicBezTo>
                  <a:pt x="175" y="101"/>
                  <a:pt x="172" y="103"/>
                  <a:pt x="174" y="102"/>
                </a:cubicBezTo>
                <a:cubicBezTo>
                  <a:pt x="175" y="101"/>
                  <a:pt x="176" y="101"/>
                  <a:pt x="178" y="100"/>
                </a:cubicBezTo>
                <a:cubicBezTo>
                  <a:pt x="174" y="104"/>
                  <a:pt x="169" y="106"/>
                  <a:pt x="163" y="111"/>
                </a:cubicBezTo>
                <a:cubicBezTo>
                  <a:pt x="166" y="111"/>
                  <a:pt x="178" y="99"/>
                  <a:pt x="183" y="98"/>
                </a:cubicBezTo>
                <a:cubicBezTo>
                  <a:pt x="183" y="98"/>
                  <a:pt x="180" y="101"/>
                  <a:pt x="183" y="99"/>
                </a:cubicBezTo>
                <a:cubicBezTo>
                  <a:pt x="183" y="100"/>
                  <a:pt x="177" y="103"/>
                  <a:pt x="177" y="104"/>
                </a:cubicBezTo>
                <a:cubicBezTo>
                  <a:pt x="173" y="106"/>
                  <a:pt x="172" y="108"/>
                  <a:pt x="168" y="110"/>
                </a:cubicBezTo>
                <a:cubicBezTo>
                  <a:pt x="168" y="111"/>
                  <a:pt x="168" y="111"/>
                  <a:pt x="168" y="111"/>
                </a:cubicBezTo>
                <a:cubicBezTo>
                  <a:pt x="170" y="109"/>
                  <a:pt x="173" y="108"/>
                  <a:pt x="176" y="106"/>
                </a:cubicBezTo>
                <a:cubicBezTo>
                  <a:pt x="175" y="107"/>
                  <a:pt x="175" y="107"/>
                  <a:pt x="176" y="107"/>
                </a:cubicBezTo>
                <a:cubicBezTo>
                  <a:pt x="173" y="109"/>
                  <a:pt x="173" y="109"/>
                  <a:pt x="169" y="112"/>
                </a:cubicBezTo>
                <a:cubicBezTo>
                  <a:pt x="168" y="112"/>
                  <a:pt x="168" y="112"/>
                  <a:pt x="168" y="112"/>
                </a:cubicBezTo>
                <a:cubicBezTo>
                  <a:pt x="166" y="114"/>
                  <a:pt x="163" y="116"/>
                  <a:pt x="159" y="119"/>
                </a:cubicBezTo>
                <a:cubicBezTo>
                  <a:pt x="160" y="120"/>
                  <a:pt x="165" y="115"/>
                  <a:pt x="166" y="114"/>
                </a:cubicBezTo>
                <a:cubicBezTo>
                  <a:pt x="167" y="114"/>
                  <a:pt x="166" y="114"/>
                  <a:pt x="166" y="114"/>
                </a:cubicBezTo>
                <a:cubicBezTo>
                  <a:pt x="164" y="116"/>
                  <a:pt x="168" y="113"/>
                  <a:pt x="168" y="114"/>
                </a:cubicBezTo>
                <a:cubicBezTo>
                  <a:pt x="169" y="112"/>
                  <a:pt x="172" y="111"/>
                  <a:pt x="175" y="108"/>
                </a:cubicBezTo>
                <a:cubicBezTo>
                  <a:pt x="175" y="109"/>
                  <a:pt x="174" y="110"/>
                  <a:pt x="174" y="110"/>
                </a:cubicBezTo>
                <a:cubicBezTo>
                  <a:pt x="176" y="108"/>
                  <a:pt x="181" y="104"/>
                  <a:pt x="183" y="104"/>
                </a:cubicBezTo>
                <a:cubicBezTo>
                  <a:pt x="185" y="102"/>
                  <a:pt x="189" y="100"/>
                  <a:pt x="190" y="98"/>
                </a:cubicBezTo>
                <a:cubicBezTo>
                  <a:pt x="191" y="98"/>
                  <a:pt x="196" y="95"/>
                  <a:pt x="199" y="93"/>
                </a:cubicBezTo>
                <a:cubicBezTo>
                  <a:pt x="199" y="93"/>
                  <a:pt x="198" y="94"/>
                  <a:pt x="198" y="94"/>
                </a:cubicBezTo>
                <a:cubicBezTo>
                  <a:pt x="203" y="90"/>
                  <a:pt x="208" y="88"/>
                  <a:pt x="215" y="83"/>
                </a:cubicBezTo>
                <a:cubicBezTo>
                  <a:pt x="214" y="84"/>
                  <a:pt x="214" y="85"/>
                  <a:pt x="215" y="84"/>
                </a:cubicBezTo>
                <a:cubicBezTo>
                  <a:pt x="218" y="83"/>
                  <a:pt x="214" y="85"/>
                  <a:pt x="215" y="85"/>
                </a:cubicBezTo>
                <a:cubicBezTo>
                  <a:pt x="212" y="86"/>
                  <a:pt x="211" y="87"/>
                  <a:pt x="208" y="88"/>
                </a:cubicBezTo>
                <a:cubicBezTo>
                  <a:pt x="206" y="89"/>
                  <a:pt x="209" y="88"/>
                  <a:pt x="209" y="89"/>
                </a:cubicBezTo>
                <a:cubicBezTo>
                  <a:pt x="204" y="91"/>
                  <a:pt x="202" y="93"/>
                  <a:pt x="200" y="95"/>
                </a:cubicBezTo>
                <a:cubicBezTo>
                  <a:pt x="198" y="95"/>
                  <a:pt x="196" y="97"/>
                  <a:pt x="194" y="98"/>
                </a:cubicBezTo>
                <a:cubicBezTo>
                  <a:pt x="193" y="99"/>
                  <a:pt x="193" y="99"/>
                  <a:pt x="193" y="99"/>
                </a:cubicBezTo>
                <a:cubicBezTo>
                  <a:pt x="190" y="100"/>
                  <a:pt x="188" y="102"/>
                  <a:pt x="184" y="105"/>
                </a:cubicBezTo>
                <a:cubicBezTo>
                  <a:pt x="184" y="104"/>
                  <a:pt x="184" y="104"/>
                  <a:pt x="184" y="104"/>
                </a:cubicBezTo>
                <a:cubicBezTo>
                  <a:pt x="183" y="105"/>
                  <a:pt x="182" y="106"/>
                  <a:pt x="182" y="106"/>
                </a:cubicBezTo>
                <a:cubicBezTo>
                  <a:pt x="182" y="106"/>
                  <a:pt x="175" y="111"/>
                  <a:pt x="170" y="115"/>
                </a:cubicBezTo>
                <a:cubicBezTo>
                  <a:pt x="170" y="115"/>
                  <a:pt x="170" y="115"/>
                  <a:pt x="170" y="115"/>
                </a:cubicBezTo>
                <a:cubicBezTo>
                  <a:pt x="164" y="119"/>
                  <a:pt x="167" y="119"/>
                  <a:pt x="161" y="123"/>
                </a:cubicBezTo>
                <a:cubicBezTo>
                  <a:pt x="162" y="123"/>
                  <a:pt x="161" y="124"/>
                  <a:pt x="162" y="123"/>
                </a:cubicBezTo>
                <a:cubicBezTo>
                  <a:pt x="161" y="124"/>
                  <a:pt x="156" y="128"/>
                  <a:pt x="156" y="128"/>
                </a:cubicBezTo>
                <a:cubicBezTo>
                  <a:pt x="155" y="128"/>
                  <a:pt x="156" y="129"/>
                  <a:pt x="155" y="130"/>
                </a:cubicBezTo>
                <a:cubicBezTo>
                  <a:pt x="152" y="130"/>
                  <a:pt x="154" y="128"/>
                  <a:pt x="154" y="127"/>
                </a:cubicBezTo>
                <a:cubicBezTo>
                  <a:pt x="151" y="129"/>
                  <a:pt x="154" y="128"/>
                  <a:pt x="151" y="131"/>
                </a:cubicBezTo>
                <a:cubicBezTo>
                  <a:pt x="151" y="131"/>
                  <a:pt x="152" y="130"/>
                  <a:pt x="152" y="131"/>
                </a:cubicBezTo>
                <a:cubicBezTo>
                  <a:pt x="149" y="133"/>
                  <a:pt x="150" y="133"/>
                  <a:pt x="148" y="135"/>
                </a:cubicBezTo>
                <a:cubicBezTo>
                  <a:pt x="146" y="136"/>
                  <a:pt x="146" y="137"/>
                  <a:pt x="145" y="138"/>
                </a:cubicBezTo>
                <a:cubicBezTo>
                  <a:pt x="145" y="137"/>
                  <a:pt x="145" y="137"/>
                  <a:pt x="142" y="139"/>
                </a:cubicBezTo>
                <a:cubicBezTo>
                  <a:pt x="140" y="141"/>
                  <a:pt x="144" y="138"/>
                  <a:pt x="143" y="139"/>
                </a:cubicBezTo>
                <a:cubicBezTo>
                  <a:pt x="142" y="140"/>
                  <a:pt x="139" y="142"/>
                  <a:pt x="141" y="141"/>
                </a:cubicBezTo>
                <a:cubicBezTo>
                  <a:pt x="141" y="141"/>
                  <a:pt x="139" y="143"/>
                  <a:pt x="139" y="142"/>
                </a:cubicBezTo>
                <a:cubicBezTo>
                  <a:pt x="138" y="144"/>
                  <a:pt x="137" y="145"/>
                  <a:pt x="135" y="148"/>
                </a:cubicBezTo>
                <a:cubicBezTo>
                  <a:pt x="139" y="145"/>
                  <a:pt x="143" y="141"/>
                  <a:pt x="147" y="137"/>
                </a:cubicBezTo>
                <a:cubicBezTo>
                  <a:pt x="149" y="137"/>
                  <a:pt x="147" y="138"/>
                  <a:pt x="149" y="137"/>
                </a:cubicBezTo>
                <a:cubicBezTo>
                  <a:pt x="151" y="135"/>
                  <a:pt x="151" y="135"/>
                  <a:pt x="151" y="134"/>
                </a:cubicBezTo>
                <a:cubicBezTo>
                  <a:pt x="154" y="132"/>
                  <a:pt x="152" y="134"/>
                  <a:pt x="151" y="135"/>
                </a:cubicBezTo>
                <a:cubicBezTo>
                  <a:pt x="152" y="135"/>
                  <a:pt x="154" y="133"/>
                  <a:pt x="156" y="132"/>
                </a:cubicBezTo>
                <a:cubicBezTo>
                  <a:pt x="153" y="132"/>
                  <a:pt x="159" y="128"/>
                  <a:pt x="161" y="127"/>
                </a:cubicBezTo>
                <a:cubicBezTo>
                  <a:pt x="163" y="125"/>
                  <a:pt x="159" y="129"/>
                  <a:pt x="157" y="130"/>
                </a:cubicBezTo>
                <a:cubicBezTo>
                  <a:pt x="159" y="130"/>
                  <a:pt x="156" y="132"/>
                  <a:pt x="156" y="133"/>
                </a:cubicBezTo>
                <a:cubicBezTo>
                  <a:pt x="155" y="134"/>
                  <a:pt x="150" y="138"/>
                  <a:pt x="150" y="139"/>
                </a:cubicBezTo>
                <a:cubicBezTo>
                  <a:pt x="148" y="140"/>
                  <a:pt x="146" y="141"/>
                  <a:pt x="145" y="143"/>
                </a:cubicBezTo>
                <a:cubicBezTo>
                  <a:pt x="144" y="143"/>
                  <a:pt x="145" y="143"/>
                  <a:pt x="145" y="142"/>
                </a:cubicBezTo>
                <a:cubicBezTo>
                  <a:pt x="144" y="145"/>
                  <a:pt x="143" y="144"/>
                  <a:pt x="141" y="145"/>
                </a:cubicBezTo>
                <a:cubicBezTo>
                  <a:pt x="139" y="147"/>
                  <a:pt x="142" y="145"/>
                  <a:pt x="142" y="146"/>
                </a:cubicBezTo>
                <a:cubicBezTo>
                  <a:pt x="140" y="147"/>
                  <a:pt x="141" y="147"/>
                  <a:pt x="139" y="148"/>
                </a:cubicBezTo>
                <a:cubicBezTo>
                  <a:pt x="138" y="148"/>
                  <a:pt x="138" y="147"/>
                  <a:pt x="140" y="145"/>
                </a:cubicBezTo>
                <a:cubicBezTo>
                  <a:pt x="140" y="145"/>
                  <a:pt x="139" y="145"/>
                  <a:pt x="139" y="145"/>
                </a:cubicBezTo>
                <a:cubicBezTo>
                  <a:pt x="137" y="148"/>
                  <a:pt x="135" y="150"/>
                  <a:pt x="136" y="151"/>
                </a:cubicBezTo>
                <a:cubicBezTo>
                  <a:pt x="134" y="153"/>
                  <a:pt x="135" y="151"/>
                  <a:pt x="133" y="152"/>
                </a:cubicBezTo>
                <a:cubicBezTo>
                  <a:pt x="133" y="153"/>
                  <a:pt x="134" y="153"/>
                  <a:pt x="131" y="156"/>
                </a:cubicBezTo>
                <a:cubicBezTo>
                  <a:pt x="131" y="155"/>
                  <a:pt x="131" y="155"/>
                  <a:pt x="130" y="155"/>
                </a:cubicBezTo>
                <a:cubicBezTo>
                  <a:pt x="130" y="156"/>
                  <a:pt x="129" y="157"/>
                  <a:pt x="129" y="158"/>
                </a:cubicBezTo>
                <a:cubicBezTo>
                  <a:pt x="125" y="161"/>
                  <a:pt x="122" y="164"/>
                  <a:pt x="119" y="167"/>
                </a:cubicBezTo>
                <a:cubicBezTo>
                  <a:pt x="118" y="168"/>
                  <a:pt x="118" y="168"/>
                  <a:pt x="118" y="168"/>
                </a:cubicBezTo>
                <a:cubicBezTo>
                  <a:pt x="116" y="169"/>
                  <a:pt x="117" y="169"/>
                  <a:pt x="115" y="171"/>
                </a:cubicBezTo>
                <a:cubicBezTo>
                  <a:pt x="113" y="171"/>
                  <a:pt x="111" y="174"/>
                  <a:pt x="109" y="175"/>
                </a:cubicBezTo>
                <a:cubicBezTo>
                  <a:pt x="110" y="174"/>
                  <a:pt x="110" y="174"/>
                  <a:pt x="110" y="173"/>
                </a:cubicBezTo>
                <a:cubicBezTo>
                  <a:pt x="114" y="170"/>
                  <a:pt x="118" y="163"/>
                  <a:pt x="121" y="162"/>
                </a:cubicBezTo>
                <a:cubicBezTo>
                  <a:pt x="125" y="157"/>
                  <a:pt x="129" y="153"/>
                  <a:pt x="133" y="151"/>
                </a:cubicBezTo>
                <a:cubicBezTo>
                  <a:pt x="134" y="150"/>
                  <a:pt x="134" y="149"/>
                  <a:pt x="134" y="149"/>
                </a:cubicBezTo>
                <a:cubicBezTo>
                  <a:pt x="134" y="148"/>
                  <a:pt x="130" y="152"/>
                  <a:pt x="130" y="150"/>
                </a:cubicBezTo>
                <a:cubicBezTo>
                  <a:pt x="131" y="150"/>
                  <a:pt x="131" y="150"/>
                  <a:pt x="131" y="150"/>
                </a:cubicBezTo>
                <a:cubicBezTo>
                  <a:pt x="133" y="149"/>
                  <a:pt x="133" y="148"/>
                  <a:pt x="135" y="147"/>
                </a:cubicBezTo>
                <a:cubicBezTo>
                  <a:pt x="126" y="153"/>
                  <a:pt x="125" y="155"/>
                  <a:pt x="119" y="161"/>
                </a:cubicBezTo>
                <a:cubicBezTo>
                  <a:pt x="118" y="160"/>
                  <a:pt x="122" y="157"/>
                  <a:pt x="123" y="155"/>
                </a:cubicBezTo>
                <a:cubicBezTo>
                  <a:pt x="121" y="157"/>
                  <a:pt x="123" y="155"/>
                  <a:pt x="121" y="156"/>
                </a:cubicBezTo>
                <a:cubicBezTo>
                  <a:pt x="121" y="155"/>
                  <a:pt x="123" y="153"/>
                  <a:pt x="123" y="153"/>
                </a:cubicBezTo>
                <a:cubicBezTo>
                  <a:pt x="125" y="151"/>
                  <a:pt x="125" y="153"/>
                  <a:pt x="123" y="155"/>
                </a:cubicBezTo>
                <a:cubicBezTo>
                  <a:pt x="123" y="155"/>
                  <a:pt x="127" y="151"/>
                  <a:pt x="125" y="153"/>
                </a:cubicBezTo>
                <a:cubicBezTo>
                  <a:pt x="128" y="151"/>
                  <a:pt x="128" y="151"/>
                  <a:pt x="131" y="148"/>
                </a:cubicBezTo>
                <a:cubicBezTo>
                  <a:pt x="132" y="145"/>
                  <a:pt x="130" y="145"/>
                  <a:pt x="125" y="149"/>
                </a:cubicBezTo>
                <a:cubicBezTo>
                  <a:pt x="120" y="156"/>
                  <a:pt x="111" y="162"/>
                  <a:pt x="106" y="170"/>
                </a:cubicBezTo>
                <a:cubicBezTo>
                  <a:pt x="104" y="170"/>
                  <a:pt x="103" y="171"/>
                  <a:pt x="102" y="172"/>
                </a:cubicBezTo>
                <a:cubicBezTo>
                  <a:pt x="101" y="173"/>
                  <a:pt x="100" y="174"/>
                  <a:pt x="100" y="174"/>
                </a:cubicBezTo>
                <a:cubicBezTo>
                  <a:pt x="100" y="175"/>
                  <a:pt x="100" y="175"/>
                  <a:pt x="99" y="176"/>
                </a:cubicBezTo>
                <a:cubicBezTo>
                  <a:pt x="100" y="176"/>
                  <a:pt x="100" y="176"/>
                  <a:pt x="100" y="175"/>
                </a:cubicBezTo>
                <a:cubicBezTo>
                  <a:pt x="101" y="176"/>
                  <a:pt x="99" y="176"/>
                  <a:pt x="100" y="177"/>
                </a:cubicBezTo>
                <a:cubicBezTo>
                  <a:pt x="99" y="176"/>
                  <a:pt x="98" y="175"/>
                  <a:pt x="97" y="175"/>
                </a:cubicBezTo>
                <a:cubicBezTo>
                  <a:pt x="97" y="175"/>
                  <a:pt x="97" y="176"/>
                  <a:pt x="97" y="176"/>
                </a:cubicBezTo>
                <a:cubicBezTo>
                  <a:pt x="97" y="175"/>
                  <a:pt x="96" y="177"/>
                  <a:pt x="96" y="176"/>
                </a:cubicBezTo>
                <a:cubicBezTo>
                  <a:pt x="97" y="175"/>
                  <a:pt x="97" y="174"/>
                  <a:pt x="98" y="175"/>
                </a:cubicBezTo>
                <a:cubicBezTo>
                  <a:pt x="98" y="174"/>
                  <a:pt x="97" y="174"/>
                  <a:pt x="98" y="174"/>
                </a:cubicBezTo>
                <a:cubicBezTo>
                  <a:pt x="97" y="173"/>
                  <a:pt x="96" y="175"/>
                  <a:pt x="95" y="176"/>
                </a:cubicBezTo>
                <a:cubicBezTo>
                  <a:pt x="95" y="176"/>
                  <a:pt x="95" y="177"/>
                  <a:pt x="94" y="177"/>
                </a:cubicBezTo>
                <a:cubicBezTo>
                  <a:pt x="95" y="178"/>
                  <a:pt x="95" y="177"/>
                  <a:pt x="96" y="177"/>
                </a:cubicBezTo>
                <a:cubicBezTo>
                  <a:pt x="95" y="178"/>
                  <a:pt x="95" y="178"/>
                  <a:pt x="94" y="178"/>
                </a:cubicBezTo>
                <a:cubicBezTo>
                  <a:pt x="94" y="179"/>
                  <a:pt x="95" y="179"/>
                  <a:pt x="95" y="179"/>
                </a:cubicBezTo>
                <a:cubicBezTo>
                  <a:pt x="94" y="179"/>
                  <a:pt x="92" y="179"/>
                  <a:pt x="92" y="180"/>
                </a:cubicBezTo>
                <a:cubicBezTo>
                  <a:pt x="92" y="180"/>
                  <a:pt x="92" y="180"/>
                  <a:pt x="93" y="180"/>
                </a:cubicBezTo>
                <a:cubicBezTo>
                  <a:pt x="93" y="180"/>
                  <a:pt x="93" y="181"/>
                  <a:pt x="93" y="181"/>
                </a:cubicBezTo>
                <a:cubicBezTo>
                  <a:pt x="92" y="181"/>
                  <a:pt x="92" y="180"/>
                  <a:pt x="92" y="181"/>
                </a:cubicBezTo>
                <a:cubicBezTo>
                  <a:pt x="91" y="181"/>
                  <a:pt x="92" y="181"/>
                  <a:pt x="92" y="181"/>
                </a:cubicBezTo>
                <a:cubicBezTo>
                  <a:pt x="92" y="182"/>
                  <a:pt x="91" y="181"/>
                  <a:pt x="91" y="182"/>
                </a:cubicBezTo>
                <a:cubicBezTo>
                  <a:pt x="90" y="182"/>
                  <a:pt x="90" y="183"/>
                  <a:pt x="89" y="183"/>
                </a:cubicBezTo>
                <a:cubicBezTo>
                  <a:pt x="89" y="183"/>
                  <a:pt x="90" y="182"/>
                  <a:pt x="90" y="183"/>
                </a:cubicBezTo>
                <a:cubicBezTo>
                  <a:pt x="89" y="183"/>
                  <a:pt x="89" y="183"/>
                  <a:pt x="88" y="183"/>
                </a:cubicBezTo>
                <a:cubicBezTo>
                  <a:pt x="87" y="184"/>
                  <a:pt x="88" y="184"/>
                  <a:pt x="88" y="184"/>
                </a:cubicBezTo>
                <a:cubicBezTo>
                  <a:pt x="87" y="184"/>
                  <a:pt x="87" y="186"/>
                  <a:pt x="86" y="186"/>
                </a:cubicBezTo>
                <a:cubicBezTo>
                  <a:pt x="86" y="186"/>
                  <a:pt x="86" y="186"/>
                  <a:pt x="86" y="186"/>
                </a:cubicBezTo>
                <a:cubicBezTo>
                  <a:pt x="86" y="186"/>
                  <a:pt x="86" y="186"/>
                  <a:pt x="85" y="186"/>
                </a:cubicBezTo>
                <a:cubicBezTo>
                  <a:pt x="85" y="186"/>
                  <a:pt x="86" y="186"/>
                  <a:pt x="86" y="186"/>
                </a:cubicBezTo>
                <a:cubicBezTo>
                  <a:pt x="84" y="188"/>
                  <a:pt x="83" y="190"/>
                  <a:pt x="81" y="192"/>
                </a:cubicBezTo>
                <a:cubicBezTo>
                  <a:pt x="81" y="192"/>
                  <a:pt x="81" y="192"/>
                  <a:pt x="81" y="192"/>
                </a:cubicBezTo>
                <a:cubicBezTo>
                  <a:pt x="81" y="193"/>
                  <a:pt x="82" y="192"/>
                  <a:pt x="81" y="193"/>
                </a:cubicBezTo>
                <a:cubicBezTo>
                  <a:pt x="81" y="193"/>
                  <a:pt x="81" y="193"/>
                  <a:pt x="81" y="193"/>
                </a:cubicBezTo>
                <a:cubicBezTo>
                  <a:pt x="80" y="193"/>
                  <a:pt x="80" y="194"/>
                  <a:pt x="80" y="193"/>
                </a:cubicBezTo>
                <a:cubicBezTo>
                  <a:pt x="79" y="193"/>
                  <a:pt x="81" y="192"/>
                  <a:pt x="80" y="192"/>
                </a:cubicBezTo>
                <a:cubicBezTo>
                  <a:pt x="80" y="191"/>
                  <a:pt x="80" y="192"/>
                  <a:pt x="80" y="192"/>
                </a:cubicBezTo>
                <a:cubicBezTo>
                  <a:pt x="79" y="191"/>
                  <a:pt x="80" y="191"/>
                  <a:pt x="81" y="190"/>
                </a:cubicBezTo>
                <a:cubicBezTo>
                  <a:pt x="81" y="191"/>
                  <a:pt x="80" y="191"/>
                  <a:pt x="81" y="191"/>
                </a:cubicBezTo>
                <a:cubicBezTo>
                  <a:pt x="81" y="191"/>
                  <a:pt x="82" y="191"/>
                  <a:pt x="82" y="190"/>
                </a:cubicBezTo>
                <a:cubicBezTo>
                  <a:pt x="82" y="190"/>
                  <a:pt x="81" y="191"/>
                  <a:pt x="81" y="190"/>
                </a:cubicBezTo>
                <a:cubicBezTo>
                  <a:pt x="81" y="189"/>
                  <a:pt x="82" y="190"/>
                  <a:pt x="82" y="190"/>
                </a:cubicBezTo>
                <a:cubicBezTo>
                  <a:pt x="83" y="189"/>
                  <a:pt x="82" y="189"/>
                  <a:pt x="81" y="189"/>
                </a:cubicBezTo>
                <a:cubicBezTo>
                  <a:pt x="81" y="189"/>
                  <a:pt x="81" y="190"/>
                  <a:pt x="81" y="190"/>
                </a:cubicBezTo>
                <a:cubicBezTo>
                  <a:pt x="80" y="190"/>
                  <a:pt x="82" y="188"/>
                  <a:pt x="82" y="188"/>
                </a:cubicBezTo>
                <a:cubicBezTo>
                  <a:pt x="83" y="188"/>
                  <a:pt x="82" y="189"/>
                  <a:pt x="82" y="189"/>
                </a:cubicBezTo>
                <a:cubicBezTo>
                  <a:pt x="83" y="189"/>
                  <a:pt x="83" y="188"/>
                  <a:pt x="83" y="189"/>
                </a:cubicBezTo>
                <a:cubicBezTo>
                  <a:pt x="83" y="188"/>
                  <a:pt x="83" y="188"/>
                  <a:pt x="83" y="187"/>
                </a:cubicBezTo>
                <a:cubicBezTo>
                  <a:pt x="86" y="183"/>
                  <a:pt x="86" y="183"/>
                  <a:pt x="86" y="183"/>
                </a:cubicBezTo>
                <a:cubicBezTo>
                  <a:pt x="86" y="184"/>
                  <a:pt x="86" y="183"/>
                  <a:pt x="87" y="184"/>
                </a:cubicBezTo>
                <a:cubicBezTo>
                  <a:pt x="87" y="183"/>
                  <a:pt x="87" y="183"/>
                  <a:pt x="86" y="183"/>
                </a:cubicBezTo>
                <a:cubicBezTo>
                  <a:pt x="87" y="183"/>
                  <a:pt x="86" y="182"/>
                  <a:pt x="87" y="182"/>
                </a:cubicBezTo>
                <a:cubicBezTo>
                  <a:pt x="87" y="182"/>
                  <a:pt x="87" y="182"/>
                  <a:pt x="87" y="183"/>
                </a:cubicBezTo>
                <a:cubicBezTo>
                  <a:pt x="88" y="182"/>
                  <a:pt x="87" y="182"/>
                  <a:pt x="87" y="182"/>
                </a:cubicBezTo>
                <a:cubicBezTo>
                  <a:pt x="89" y="179"/>
                  <a:pt x="92" y="175"/>
                  <a:pt x="95" y="172"/>
                </a:cubicBezTo>
                <a:cubicBezTo>
                  <a:pt x="95" y="172"/>
                  <a:pt x="95" y="172"/>
                  <a:pt x="95" y="172"/>
                </a:cubicBezTo>
                <a:cubicBezTo>
                  <a:pt x="95" y="172"/>
                  <a:pt x="95" y="171"/>
                  <a:pt x="95" y="171"/>
                </a:cubicBezTo>
                <a:cubicBezTo>
                  <a:pt x="95" y="170"/>
                  <a:pt x="95" y="171"/>
                  <a:pt x="95" y="171"/>
                </a:cubicBezTo>
                <a:cubicBezTo>
                  <a:pt x="95" y="171"/>
                  <a:pt x="95" y="171"/>
                  <a:pt x="95" y="170"/>
                </a:cubicBezTo>
                <a:cubicBezTo>
                  <a:pt x="94" y="170"/>
                  <a:pt x="94" y="170"/>
                  <a:pt x="94" y="171"/>
                </a:cubicBezTo>
                <a:cubicBezTo>
                  <a:pt x="93" y="170"/>
                  <a:pt x="94" y="169"/>
                  <a:pt x="95" y="169"/>
                </a:cubicBezTo>
                <a:cubicBezTo>
                  <a:pt x="95" y="169"/>
                  <a:pt x="94" y="169"/>
                  <a:pt x="95" y="170"/>
                </a:cubicBezTo>
                <a:cubicBezTo>
                  <a:pt x="95" y="170"/>
                  <a:pt x="95" y="169"/>
                  <a:pt x="95" y="169"/>
                </a:cubicBezTo>
                <a:cubicBezTo>
                  <a:pt x="96" y="170"/>
                  <a:pt x="95" y="170"/>
                  <a:pt x="95" y="170"/>
                </a:cubicBezTo>
                <a:cubicBezTo>
                  <a:pt x="96" y="170"/>
                  <a:pt x="96" y="170"/>
                  <a:pt x="96" y="170"/>
                </a:cubicBezTo>
                <a:cubicBezTo>
                  <a:pt x="96" y="168"/>
                  <a:pt x="103" y="164"/>
                  <a:pt x="102" y="163"/>
                </a:cubicBezTo>
                <a:cubicBezTo>
                  <a:pt x="105" y="161"/>
                  <a:pt x="102" y="163"/>
                  <a:pt x="105" y="161"/>
                </a:cubicBezTo>
                <a:cubicBezTo>
                  <a:pt x="107" y="157"/>
                  <a:pt x="113" y="152"/>
                  <a:pt x="118" y="147"/>
                </a:cubicBezTo>
                <a:cubicBezTo>
                  <a:pt x="116" y="151"/>
                  <a:pt x="121" y="145"/>
                  <a:pt x="123" y="143"/>
                </a:cubicBezTo>
                <a:cubicBezTo>
                  <a:pt x="123" y="143"/>
                  <a:pt x="123" y="143"/>
                  <a:pt x="123" y="143"/>
                </a:cubicBezTo>
                <a:cubicBezTo>
                  <a:pt x="124" y="142"/>
                  <a:pt x="124" y="143"/>
                  <a:pt x="126" y="141"/>
                </a:cubicBezTo>
                <a:cubicBezTo>
                  <a:pt x="124" y="141"/>
                  <a:pt x="130" y="137"/>
                  <a:pt x="128" y="138"/>
                </a:cubicBezTo>
                <a:cubicBezTo>
                  <a:pt x="129" y="136"/>
                  <a:pt x="131" y="136"/>
                  <a:pt x="131" y="136"/>
                </a:cubicBezTo>
                <a:cubicBezTo>
                  <a:pt x="132" y="135"/>
                  <a:pt x="131" y="135"/>
                  <a:pt x="131" y="135"/>
                </a:cubicBezTo>
                <a:cubicBezTo>
                  <a:pt x="133" y="134"/>
                  <a:pt x="133" y="133"/>
                  <a:pt x="136" y="131"/>
                </a:cubicBezTo>
                <a:cubicBezTo>
                  <a:pt x="135" y="132"/>
                  <a:pt x="136" y="132"/>
                  <a:pt x="137" y="131"/>
                </a:cubicBezTo>
                <a:cubicBezTo>
                  <a:pt x="141" y="128"/>
                  <a:pt x="136" y="130"/>
                  <a:pt x="139" y="128"/>
                </a:cubicBezTo>
                <a:cubicBezTo>
                  <a:pt x="138" y="128"/>
                  <a:pt x="136" y="130"/>
                  <a:pt x="135" y="130"/>
                </a:cubicBezTo>
                <a:cubicBezTo>
                  <a:pt x="134" y="131"/>
                  <a:pt x="134" y="132"/>
                  <a:pt x="134" y="132"/>
                </a:cubicBezTo>
                <a:cubicBezTo>
                  <a:pt x="130" y="134"/>
                  <a:pt x="128" y="137"/>
                  <a:pt x="123" y="141"/>
                </a:cubicBezTo>
                <a:cubicBezTo>
                  <a:pt x="122" y="141"/>
                  <a:pt x="121" y="143"/>
                  <a:pt x="122" y="141"/>
                </a:cubicBezTo>
                <a:cubicBezTo>
                  <a:pt x="121" y="142"/>
                  <a:pt x="120" y="143"/>
                  <a:pt x="117" y="145"/>
                </a:cubicBezTo>
                <a:cubicBezTo>
                  <a:pt x="121" y="141"/>
                  <a:pt x="127" y="135"/>
                  <a:pt x="130" y="134"/>
                </a:cubicBezTo>
                <a:cubicBezTo>
                  <a:pt x="131" y="133"/>
                  <a:pt x="130" y="132"/>
                  <a:pt x="131" y="132"/>
                </a:cubicBezTo>
                <a:cubicBezTo>
                  <a:pt x="129" y="133"/>
                  <a:pt x="130" y="133"/>
                  <a:pt x="128" y="135"/>
                </a:cubicBezTo>
                <a:cubicBezTo>
                  <a:pt x="131" y="131"/>
                  <a:pt x="126" y="134"/>
                  <a:pt x="127" y="132"/>
                </a:cubicBezTo>
                <a:cubicBezTo>
                  <a:pt x="125" y="133"/>
                  <a:pt x="125" y="133"/>
                  <a:pt x="125" y="133"/>
                </a:cubicBezTo>
                <a:cubicBezTo>
                  <a:pt x="124" y="134"/>
                  <a:pt x="127" y="133"/>
                  <a:pt x="125" y="135"/>
                </a:cubicBezTo>
                <a:cubicBezTo>
                  <a:pt x="126" y="134"/>
                  <a:pt x="126" y="134"/>
                  <a:pt x="126" y="134"/>
                </a:cubicBezTo>
                <a:cubicBezTo>
                  <a:pt x="113" y="146"/>
                  <a:pt x="113" y="146"/>
                  <a:pt x="113" y="146"/>
                </a:cubicBezTo>
                <a:cubicBezTo>
                  <a:pt x="112" y="146"/>
                  <a:pt x="112" y="146"/>
                  <a:pt x="113" y="145"/>
                </a:cubicBezTo>
                <a:cubicBezTo>
                  <a:pt x="111" y="147"/>
                  <a:pt x="111" y="147"/>
                  <a:pt x="111" y="147"/>
                </a:cubicBezTo>
                <a:cubicBezTo>
                  <a:pt x="111" y="148"/>
                  <a:pt x="112" y="146"/>
                  <a:pt x="113" y="146"/>
                </a:cubicBezTo>
                <a:cubicBezTo>
                  <a:pt x="113" y="147"/>
                  <a:pt x="111" y="147"/>
                  <a:pt x="110" y="148"/>
                </a:cubicBezTo>
                <a:cubicBezTo>
                  <a:pt x="106" y="153"/>
                  <a:pt x="106" y="153"/>
                  <a:pt x="106" y="153"/>
                </a:cubicBezTo>
                <a:cubicBezTo>
                  <a:pt x="106" y="150"/>
                  <a:pt x="103" y="155"/>
                  <a:pt x="100" y="157"/>
                </a:cubicBezTo>
                <a:cubicBezTo>
                  <a:pt x="101" y="156"/>
                  <a:pt x="104" y="154"/>
                  <a:pt x="104" y="152"/>
                </a:cubicBezTo>
                <a:cubicBezTo>
                  <a:pt x="108" y="149"/>
                  <a:pt x="109" y="148"/>
                  <a:pt x="111" y="145"/>
                </a:cubicBezTo>
                <a:cubicBezTo>
                  <a:pt x="110" y="145"/>
                  <a:pt x="109" y="147"/>
                  <a:pt x="108" y="148"/>
                </a:cubicBezTo>
                <a:cubicBezTo>
                  <a:pt x="108" y="145"/>
                  <a:pt x="106" y="148"/>
                  <a:pt x="103" y="152"/>
                </a:cubicBezTo>
                <a:cubicBezTo>
                  <a:pt x="105" y="150"/>
                  <a:pt x="103" y="150"/>
                  <a:pt x="101" y="151"/>
                </a:cubicBezTo>
                <a:cubicBezTo>
                  <a:pt x="103" y="149"/>
                  <a:pt x="103" y="149"/>
                  <a:pt x="104" y="149"/>
                </a:cubicBezTo>
                <a:cubicBezTo>
                  <a:pt x="105" y="148"/>
                  <a:pt x="105" y="147"/>
                  <a:pt x="107" y="145"/>
                </a:cubicBezTo>
                <a:cubicBezTo>
                  <a:pt x="108" y="144"/>
                  <a:pt x="108" y="146"/>
                  <a:pt x="109" y="144"/>
                </a:cubicBezTo>
                <a:cubicBezTo>
                  <a:pt x="111" y="142"/>
                  <a:pt x="109" y="141"/>
                  <a:pt x="113" y="139"/>
                </a:cubicBezTo>
                <a:cubicBezTo>
                  <a:pt x="113" y="139"/>
                  <a:pt x="111" y="141"/>
                  <a:pt x="111" y="141"/>
                </a:cubicBezTo>
                <a:cubicBezTo>
                  <a:pt x="114" y="139"/>
                  <a:pt x="114" y="138"/>
                  <a:pt x="113" y="138"/>
                </a:cubicBezTo>
                <a:cubicBezTo>
                  <a:pt x="115" y="136"/>
                  <a:pt x="115" y="137"/>
                  <a:pt x="115" y="137"/>
                </a:cubicBezTo>
                <a:cubicBezTo>
                  <a:pt x="115" y="136"/>
                  <a:pt x="118" y="134"/>
                  <a:pt x="118" y="133"/>
                </a:cubicBezTo>
                <a:cubicBezTo>
                  <a:pt x="118" y="133"/>
                  <a:pt x="116" y="134"/>
                  <a:pt x="115" y="135"/>
                </a:cubicBezTo>
                <a:cubicBezTo>
                  <a:pt x="116" y="134"/>
                  <a:pt x="116" y="134"/>
                  <a:pt x="117" y="132"/>
                </a:cubicBezTo>
                <a:cubicBezTo>
                  <a:pt x="115" y="134"/>
                  <a:pt x="115" y="134"/>
                  <a:pt x="116" y="132"/>
                </a:cubicBezTo>
                <a:cubicBezTo>
                  <a:pt x="115" y="132"/>
                  <a:pt x="115" y="132"/>
                  <a:pt x="115" y="132"/>
                </a:cubicBezTo>
                <a:cubicBezTo>
                  <a:pt x="114" y="133"/>
                  <a:pt x="113" y="134"/>
                  <a:pt x="112" y="135"/>
                </a:cubicBezTo>
                <a:cubicBezTo>
                  <a:pt x="111" y="136"/>
                  <a:pt x="112" y="134"/>
                  <a:pt x="109" y="137"/>
                </a:cubicBezTo>
                <a:cubicBezTo>
                  <a:pt x="111" y="135"/>
                  <a:pt x="109" y="136"/>
                  <a:pt x="110" y="134"/>
                </a:cubicBezTo>
                <a:cubicBezTo>
                  <a:pt x="112" y="133"/>
                  <a:pt x="110" y="133"/>
                  <a:pt x="111" y="133"/>
                </a:cubicBezTo>
                <a:cubicBezTo>
                  <a:pt x="112" y="131"/>
                  <a:pt x="115" y="128"/>
                  <a:pt x="116" y="127"/>
                </a:cubicBezTo>
                <a:cubicBezTo>
                  <a:pt x="118" y="126"/>
                  <a:pt x="119" y="125"/>
                  <a:pt x="120" y="126"/>
                </a:cubicBezTo>
                <a:cubicBezTo>
                  <a:pt x="121" y="125"/>
                  <a:pt x="121" y="124"/>
                  <a:pt x="121" y="124"/>
                </a:cubicBezTo>
                <a:cubicBezTo>
                  <a:pt x="121" y="124"/>
                  <a:pt x="119" y="125"/>
                  <a:pt x="119" y="124"/>
                </a:cubicBezTo>
                <a:cubicBezTo>
                  <a:pt x="122" y="121"/>
                  <a:pt x="125" y="119"/>
                  <a:pt x="126" y="117"/>
                </a:cubicBezTo>
                <a:cubicBezTo>
                  <a:pt x="127" y="116"/>
                  <a:pt x="127" y="116"/>
                  <a:pt x="128" y="116"/>
                </a:cubicBezTo>
                <a:cubicBezTo>
                  <a:pt x="142" y="104"/>
                  <a:pt x="148" y="99"/>
                  <a:pt x="162" y="88"/>
                </a:cubicBezTo>
                <a:cubicBezTo>
                  <a:pt x="163" y="89"/>
                  <a:pt x="163" y="89"/>
                  <a:pt x="164" y="88"/>
                </a:cubicBezTo>
                <a:cubicBezTo>
                  <a:pt x="166" y="86"/>
                  <a:pt x="163" y="88"/>
                  <a:pt x="163" y="88"/>
                </a:cubicBezTo>
                <a:cubicBezTo>
                  <a:pt x="175" y="79"/>
                  <a:pt x="184" y="73"/>
                  <a:pt x="197" y="65"/>
                </a:cubicBezTo>
                <a:cubicBezTo>
                  <a:pt x="197" y="65"/>
                  <a:pt x="196" y="65"/>
                  <a:pt x="195" y="66"/>
                </a:cubicBezTo>
                <a:cubicBezTo>
                  <a:pt x="196" y="65"/>
                  <a:pt x="197" y="65"/>
                  <a:pt x="199" y="63"/>
                </a:cubicBezTo>
                <a:cubicBezTo>
                  <a:pt x="199" y="64"/>
                  <a:pt x="199" y="64"/>
                  <a:pt x="201" y="63"/>
                </a:cubicBezTo>
                <a:cubicBezTo>
                  <a:pt x="202" y="63"/>
                  <a:pt x="201" y="62"/>
                  <a:pt x="201" y="62"/>
                </a:cubicBezTo>
                <a:cubicBezTo>
                  <a:pt x="203" y="61"/>
                  <a:pt x="203" y="61"/>
                  <a:pt x="203" y="62"/>
                </a:cubicBezTo>
                <a:cubicBezTo>
                  <a:pt x="207" y="60"/>
                  <a:pt x="211" y="58"/>
                  <a:pt x="214" y="56"/>
                </a:cubicBezTo>
                <a:cubicBezTo>
                  <a:pt x="213" y="56"/>
                  <a:pt x="212" y="57"/>
                  <a:pt x="210" y="57"/>
                </a:cubicBezTo>
                <a:cubicBezTo>
                  <a:pt x="214" y="54"/>
                  <a:pt x="214" y="57"/>
                  <a:pt x="222" y="53"/>
                </a:cubicBezTo>
                <a:cubicBezTo>
                  <a:pt x="222" y="52"/>
                  <a:pt x="218" y="54"/>
                  <a:pt x="217" y="54"/>
                </a:cubicBezTo>
                <a:cubicBezTo>
                  <a:pt x="219" y="52"/>
                  <a:pt x="216" y="54"/>
                  <a:pt x="216" y="53"/>
                </a:cubicBezTo>
                <a:cubicBezTo>
                  <a:pt x="215" y="53"/>
                  <a:pt x="214" y="54"/>
                  <a:pt x="214" y="54"/>
                </a:cubicBezTo>
                <a:cubicBezTo>
                  <a:pt x="212" y="54"/>
                  <a:pt x="215" y="53"/>
                  <a:pt x="210" y="56"/>
                </a:cubicBezTo>
                <a:cubicBezTo>
                  <a:pt x="211" y="54"/>
                  <a:pt x="217" y="52"/>
                  <a:pt x="219" y="50"/>
                </a:cubicBezTo>
                <a:cubicBezTo>
                  <a:pt x="220" y="50"/>
                  <a:pt x="219" y="51"/>
                  <a:pt x="221" y="50"/>
                </a:cubicBezTo>
                <a:cubicBezTo>
                  <a:pt x="227" y="46"/>
                  <a:pt x="237" y="41"/>
                  <a:pt x="245" y="39"/>
                </a:cubicBezTo>
                <a:cubicBezTo>
                  <a:pt x="246" y="40"/>
                  <a:pt x="242" y="40"/>
                  <a:pt x="241" y="41"/>
                </a:cubicBezTo>
                <a:cubicBezTo>
                  <a:pt x="242" y="41"/>
                  <a:pt x="244" y="40"/>
                  <a:pt x="245" y="40"/>
                </a:cubicBezTo>
                <a:cubicBezTo>
                  <a:pt x="247" y="39"/>
                  <a:pt x="249" y="39"/>
                  <a:pt x="254" y="37"/>
                </a:cubicBezTo>
                <a:cubicBezTo>
                  <a:pt x="252" y="37"/>
                  <a:pt x="247" y="38"/>
                  <a:pt x="253" y="36"/>
                </a:cubicBezTo>
                <a:cubicBezTo>
                  <a:pt x="252" y="36"/>
                  <a:pt x="250" y="37"/>
                  <a:pt x="251" y="36"/>
                </a:cubicBezTo>
                <a:cubicBezTo>
                  <a:pt x="252" y="36"/>
                  <a:pt x="254" y="35"/>
                  <a:pt x="255" y="35"/>
                </a:cubicBezTo>
                <a:cubicBezTo>
                  <a:pt x="257" y="35"/>
                  <a:pt x="255" y="34"/>
                  <a:pt x="258" y="33"/>
                </a:cubicBezTo>
                <a:cubicBezTo>
                  <a:pt x="259" y="34"/>
                  <a:pt x="259" y="34"/>
                  <a:pt x="259" y="34"/>
                </a:cubicBezTo>
                <a:cubicBezTo>
                  <a:pt x="263" y="32"/>
                  <a:pt x="265" y="32"/>
                  <a:pt x="267" y="31"/>
                </a:cubicBezTo>
                <a:cubicBezTo>
                  <a:pt x="273" y="28"/>
                  <a:pt x="273" y="30"/>
                  <a:pt x="279" y="27"/>
                </a:cubicBezTo>
                <a:cubicBezTo>
                  <a:pt x="280" y="27"/>
                  <a:pt x="279" y="27"/>
                  <a:pt x="279" y="28"/>
                </a:cubicBezTo>
                <a:cubicBezTo>
                  <a:pt x="282" y="27"/>
                  <a:pt x="285" y="26"/>
                  <a:pt x="285" y="25"/>
                </a:cubicBezTo>
                <a:cubicBezTo>
                  <a:pt x="288" y="26"/>
                  <a:pt x="294" y="23"/>
                  <a:pt x="301" y="22"/>
                </a:cubicBezTo>
                <a:cubicBezTo>
                  <a:pt x="301" y="21"/>
                  <a:pt x="301" y="21"/>
                  <a:pt x="301" y="21"/>
                </a:cubicBezTo>
                <a:cubicBezTo>
                  <a:pt x="301" y="21"/>
                  <a:pt x="297" y="22"/>
                  <a:pt x="296" y="22"/>
                </a:cubicBezTo>
                <a:cubicBezTo>
                  <a:pt x="298" y="21"/>
                  <a:pt x="297" y="22"/>
                  <a:pt x="298" y="21"/>
                </a:cubicBezTo>
                <a:cubicBezTo>
                  <a:pt x="301" y="20"/>
                  <a:pt x="301" y="20"/>
                  <a:pt x="301" y="20"/>
                </a:cubicBezTo>
                <a:cubicBezTo>
                  <a:pt x="301" y="20"/>
                  <a:pt x="297" y="21"/>
                  <a:pt x="297" y="21"/>
                </a:cubicBezTo>
                <a:cubicBezTo>
                  <a:pt x="300" y="19"/>
                  <a:pt x="301" y="19"/>
                  <a:pt x="305" y="18"/>
                </a:cubicBezTo>
                <a:cubicBezTo>
                  <a:pt x="305" y="19"/>
                  <a:pt x="307" y="18"/>
                  <a:pt x="306" y="19"/>
                </a:cubicBezTo>
                <a:cubicBezTo>
                  <a:pt x="308" y="18"/>
                  <a:pt x="309" y="17"/>
                  <a:pt x="309" y="18"/>
                </a:cubicBezTo>
                <a:cubicBezTo>
                  <a:pt x="316" y="16"/>
                  <a:pt x="316" y="16"/>
                  <a:pt x="322" y="15"/>
                </a:cubicBezTo>
                <a:cubicBezTo>
                  <a:pt x="325" y="15"/>
                  <a:pt x="325" y="14"/>
                  <a:pt x="327" y="13"/>
                </a:cubicBezTo>
                <a:cubicBezTo>
                  <a:pt x="329" y="12"/>
                  <a:pt x="329" y="13"/>
                  <a:pt x="330" y="13"/>
                </a:cubicBezTo>
                <a:cubicBezTo>
                  <a:pt x="332" y="13"/>
                  <a:pt x="332" y="12"/>
                  <a:pt x="334" y="12"/>
                </a:cubicBezTo>
                <a:cubicBezTo>
                  <a:pt x="336" y="12"/>
                  <a:pt x="338" y="11"/>
                  <a:pt x="338" y="12"/>
                </a:cubicBezTo>
                <a:cubicBezTo>
                  <a:pt x="337" y="12"/>
                  <a:pt x="338" y="12"/>
                  <a:pt x="337" y="12"/>
                </a:cubicBezTo>
                <a:cubicBezTo>
                  <a:pt x="337" y="12"/>
                  <a:pt x="336" y="12"/>
                  <a:pt x="336" y="12"/>
                </a:cubicBezTo>
                <a:cubicBezTo>
                  <a:pt x="336" y="13"/>
                  <a:pt x="340" y="11"/>
                  <a:pt x="341" y="12"/>
                </a:cubicBezTo>
                <a:cubicBezTo>
                  <a:pt x="343" y="12"/>
                  <a:pt x="337" y="12"/>
                  <a:pt x="340" y="11"/>
                </a:cubicBezTo>
                <a:cubicBezTo>
                  <a:pt x="342" y="11"/>
                  <a:pt x="342" y="11"/>
                  <a:pt x="342" y="11"/>
                </a:cubicBezTo>
                <a:cubicBezTo>
                  <a:pt x="344" y="11"/>
                  <a:pt x="344" y="11"/>
                  <a:pt x="345" y="11"/>
                </a:cubicBezTo>
                <a:cubicBezTo>
                  <a:pt x="346" y="10"/>
                  <a:pt x="340" y="11"/>
                  <a:pt x="342" y="10"/>
                </a:cubicBezTo>
                <a:cubicBezTo>
                  <a:pt x="347" y="10"/>
                  <a:pt x="347" y="10"/>
                  <a:pt x="347" y="10"/>
                </a:cubicBezTo>
                <a:cubicBezTo>
                  <a:pt x="347" y="9"/>
                  <a:pt x="347" y="9"/>
                  <a:pt x="345" y="9"/>
                </a:cubicBezTo>
                <a:cubicBezTo>
                  <a:pt x="349" y="8"/>
                  <a:pt x="350" y="10"/>
                  <a:pt x="354" y="10"/>
                </a:cubicBezTo>
                <a:cubicBezTo>
                  <a:pt x="356" y="10"/>
                  <a:pt x="358" y="9"/>
                  <a:pt x="360" y="9"/>
                </a:cubicBezTo>
                <a:cubicBezTo>
                  <a:pt x="361" y="9"/>
                  <a:pt x="359" y="9"/>
                  <a:pt x="361" y="9"/>
                </a:cubicBezTo>
                <a:cubicBezTo>
                  <a:pt x="360" y="9"/>
                  <a:pt x="359" y="9"/>
                  <a:pt x="358" y="9"/>
                </a:cubicBezTo>
                <a:cubicBezTo>
                  <a:pt x="355" y="8"/>
                  <a:pt x="363" y="8"/>
                  <a:pt x="360" y="8"/>
                </a:cubicBezTo>
                <a:cubicBezTo>
                  <a:pt x="361" y="7"/>
                  <a:pt x="362" y="9"/>
                  <a:pt x="364" y="8"/>
                </a:cubicBezTo>
                <a:cubicBezTo>
                  <a:pt x="367" y="8"/>
                  <a:pt x="362" y="8"/>
                  <a:pt x="363" y="7"/>
                </a:cubicBezTo>
                <a:cubicBezTo>
                  <a:pt x="364" y="7"/>
                  <a:pt x="365" y="7"/>
                  <a:pt x="365" y="7"/>
                </a:cubicBezTo>
                <a:cubicBezTo>
                  <a:pt x="366" y="7"/>
                  <a:pt x="367" y="8"/>
                  <a:pt x="367" y="8"/>
                </a:cubicBezTo>
                <a:cubicBezTo>
                  <a:pt x="367" y="9"/>
                  <a:pt x="370" y="8"/>
                  <a:pt x="371" y="9"/>
                </a:cubicBezTo>
                <a:cubicBezTo>
                  <a:pt x="374" y="8"/>
                  <a:pt x="371" y="8"/>
                  <a:pt x="372" y="8"/>
                </a:cubicBezTo>
                <a:cubicBezTo>
                  <a:pt x="372" y="7"/>
                  <a:pt x="371" y="8"/>
                  <a:pt x="371" y="8"/>
                </a:cubicBezTo>
                <a:cubicBezTo>
                  <a:pt x="371" y="7"/>
                  <a:pt x="379" y="9"/>
                  <a:pt x="381" y="7"/>
                </a:cubicBezTo>
                <a:cubicBezTo>
                  <a:pt x="384" y="7"/>
                  <a:pt x="386" y="8"/>
                  <a:pt x="390" y="7"/>
                </a:cubicBezTo>
                <a:cubicBezTo>
                  <a:pt x="390" y="7"/>
                  <a:pt x="389" y="7"/>
                  <a:pt x="390" y="7"/>
                </a:cubicBezTo>
                <a:cubicBezTo>
                  <a:pt x="387" y="6"/>
                  <a:pt x="389" y="6"/>
                  <a:pt x="386" y="5"/>
                </a:cubicBezTo>
                <a:cubicBezTo>
                  <a:pt x="388" y="6"/>
                  <a:pt x="389" y="7"/>
                  <a:pt x="391" y="6"/>
                </a:cubicBezTo>
                <a:cubicBezTo>
                  <a:pt x="392" y="6"/>
                  <a:pt x="392" y="7"/>
                  <a:pt x="394" y="7"/>
                </a:cubicBezTo>
                <a:cubicBezTo>
                  <a:pt x="395" y="7"/>
                  <a:pt x="395" y="6"/>
                  <a:pt x="395" y="6"/>
                </a:cubicBezTo>
                <a:cubicBezTo>
                  <a:pt x="396" y="6"/>
                  <a:pt x="399" y="6"/>
                  <a:pt x="397" y="6"/>
                </a:cubicBezTo>
                <a:cubicBezTo>
                  <a:pt x="401" y="5"/>
                  <a:pt x="402" y="7"/>
                  <a:pt x="401" y="7"/>
                </a:cubicBezTo>
                <a:cubicBezTo>
                  <a:pt x="408" y="7"/>
                  <a:pt x="400" y="5"/>
                  <a:pt x="400" y="4"/>
                </a:cubicBezTo>
                <a:cubicBezTo>
                  <a:pt x="402" y="5"/>
                  <a:pt x="404" y="4"/>
                  <a:pt x="401" y="4"/>
                </a:cubicBezTo>
                <a:cubicBezTo>
                  <a:pt x="406" y="3"/>
                  <a:pt x="402" y="5"/>
                  <a:pt x="407" y="5"/>
                </a:cubicBezTo>
                <a:cubicBezTo>
                  <a:pt x="411" y="4"/>
                  <a:pt x="406" y="3"/>
                  <a:pt x="410" y="3"/>
                </a:cubicBezTo>
                <a:cubicBezTo>
                  <a:pt x="408" y="2"/>
                  <a:pt x="400" y="3"/>
                  <a:pt x="399" y="2"/>
                </a:cubicBezTo>
                <a:cubicBezTo>
                  <a:pt x="400" y="1"/>
                  <a:pt x="404" y="2"/>
                  <a:pt x="404" y="2"/>
                </a:cubicBezTo>
                <a:cubicBezTo>
                  <a:pt x="407" y="2"/>
                  <a:pt x="407" y="1"/>
                  <a:pt x="412" y="2"/>
                </a:cubicBezTo>
                <a:cubicBezTo>
                  <a:pt x="411" y="2"/>
                  <a:pt x="413" y="2"/>
                  <a:pt x="412" y="3"/>
                </a:cubicBezTo>
                <a:cubicBezTo>
                  <a:pt x="415" y="3"/>
                  <a:pt x="415" y="1"/>
                  <a:pt x="419" y="1"/>
                </a:cubicBezTo>
                <a:cubicBezTo>
                  <a:pt x="417" y="2"/>
                  <a:pt x="416" y="2"/>
                  <a:pt x="421" y="2"/>
                </a:cubicBezTo>
                <a:cubicBezTo>
                  <a:pt x="420" y="3"/>
                  <a:pt x="417" y="3"/>
                  <a:pt x="417" y="2"/>
                </a:cubicBezTo>
                <a:cubicBezTo>
                  <a:pt x="416" y="2"/>
                  <a:pt x="416" y="3"/>
                  <a:pt x="415" y="3"/>
                </a:cubicBezTo>
                <a:cubicBezTo>
                  <a:pt x="414" y="3"/>
                  <a:pt x="417" y="3"/>
                  <a:pt x="417" y="4"/>
                </a:cubicBezTo>
                <a:cubicBezTo>
                  <a:pt x="419" y="4"/>
                  <a:pt x="418" y="3"/>
                  <a:pt x="416" y="3"/>
                </a:cubicBezTo>
                <a:cubicBezTo>
                  <a:pt x="417" y="3"/>
                  <a:pt x="421" y="3"/>
                  <a:pt x="421" y="4"/>
                </a:cubicBezTo>
                <a:cubicBezTo>
                  <a:pt x="418" y="4"/>
                  <a:pt x="427" y="5"/>
                  <a:pt x="424" y="5"/>
                </a:cubicBezTo>
                <a:cubicBezTo>
                  <a:pt x="427" y="5"/>
                  <a:pt x="427" y="6"/>
                  <a:pt x="430" y="6"/>
                </a:cubicBezTo>
                <a:cubicBezTo>
                  <a:pt x="426" y="5"/>
                  <a:pt x="427" y="5"/>
                  <a:pt x="425" y="4"/>
                </a:cubicBezTo>
                <a:cubicBezTo>
                  <a:pt x="426" y="4"/>
                  <a:pt x="428" y="4"/>
                  <a:pt x="430" y="4"/>
                </a:cubicBezTo>
                <a:cubicBezTo>
                  <a:pt x="427" y="4"/>
                  <a:pt x="430" y="4"/>
                  <a:pt x="428" y="4"/>
                </a:cubicBezTo>
                <a:cubicBezTo>
                  <a:pt x="429" y="5"/>
                  <a:pt x="432" y="5"/>
                  <a:pt x="433" y="5"/>
                </a:cubicBezTo>
                <a:cubicBezTo>
                  <a:pt x="434" y="5"/>
                  <a:pt x="431" y="5"/>
                  <a:pt x="431" y="4"/>
                </a:cubicBezTo>
                <a:cubicBezTo>
                  <a:pt x="432" y="4"/>
                  <a:pt x="438" y="5"/>
                  <a:pt x="438" y="5"/>
                </a:cubicBezTo>
                <a:cubicBezTo>
                  <a:pt x="442" y="6"/>
                  <a:pt x="445" y="6"/>
                  <a:pt x="453" y="7"/>
                </a:cubicBezTo>
                <a:cubicBezTo>
                  <a:pt x="453" y="7"/>
                  <a:pt x="452" y="7"/>
                  <a:pt x="451" y="7"/>
                </a:cubicBezTo>
                <a:cubicBezTo>
                  <a:pt x="451" y="7"/>
                  <a:pt x="453" y="7"/>
                  <a:pt x="453" y="7"/>
                </a:cubicBezTo>
                <a:cubicBezTo>
                  <a:pt x="452" y="8"/>
                  <a:pt x="450" y="7"/>
                  <a:pt x="447" y="6"/>
                </a:cubicBezTo>
                <a:cubicBezTo>
                  <a:pt x="447" y="7"/>
                  <a:pt x="447" y="7"/>
                  <a:pt x="447" y="7"/>
                </a:cubicBezTo>
                <a:cubicBezTo>
                  <a:pt x="448" y="7"/>
                  <a:pt x="453" y="8"/>
                  <a:pt x="453" y="9"/>
                </a:cubicBezTo>
                <a:cubicBezTo>
                  <a:pt x="454" y="8"/>
                  <a:pt x="456" y="7"/>
                  <a:pt x="453" y="6"/>
                </a:cubicBezTo>
                <a:cubicBezTo>
                  <a:pt x="454" y="6"/>
                  <a:pt x="457" y="7"/>
                  <a:pt x="455" y="6"/>
                </a:cubicBezTo>
                <a:cubicBezTo>
                  <a:pt x="456" y="6"/>
                  <a:pt x="458" y="7"/>
                  <a:pt x="460" y="7"/>
                </a:cubicBezTo>
                <a:cubicBezTo>
                  <a:pt x="460" y="7"/>
                  <a:pt x="459" y="7"/>
                  <a:pt x="458" y="6"/>
                </a:cubicBezTo>
                <a:cubicBezTo>
                  <a:pt x="460" y="6"/>
                  <a:pt x="465" y="7"/>
                  <a:pt x="465" y="6"/>
                </a:cubicBezTo>
                <a:cubicBezTo>
                  <a:pt x="466" y="7"/>
                  <a:pt x="466" y="7"/>
                  <a:pt x="465" y="7"/>
                </a:cubicBezTo>
                <a:cubicBezTo>
                  <a:pt x="466" y="7"/>
                  <a:pt x="469" y="8"/>
                  <a:pt x="468" y="8"/>
                </a:cubicBezTo>
                <a:cubicBezTo>
                  <a:pt x="466" y="8"/>
                  <a:pt x="466" y="8"/>
                  <a:pt x="463" y="7"/>
                </a:cubicBezTo>
                <a:cubicBezTo>
                  <a:pt x="463" y="8"/>
                  <a:pt x="464" y="8"/>
                  <a:pt x="464" y="8"/>
                </a:cubicBezTo>
                <a:cubicBezTo>
                  <a:pt x="468" y="9"/>
                  <a:pt x="467" y="8"/>
                  <a:pt x="470" y="9"/>
                </a:cubicBezTo>
                <a:cubicBezTo>
                  <a:pt x="470" y="8"/>
                  <a:pt x="473" y="8"/>
                  <a:pt x="477" y="9"/>
                </a:cubicBezTo>
                <a:cubicBezTo>
                  <a:pt x="476" y="10"/>
                  <a:pt x="474" y="9"/>
                  <a:pt x="471" y="9"/>
                </a:cubicBezTo>
                <a:cubicBezTo>
                  <a:pt x="472" y="9"/>
                  <a:pt x="472" y="10"/>
                  <a:pt x="472" y="10"/>
                </a:cubicBezTo>
                <a:cubicBezTo>
                  <a:pt x="473" y="10"/>
                  <a:pt x="475" y="10"/>
                  <a:pt x="476" y="10"/>
                </a:cubicBezTo>
                <a:cubicBezTo>
                  <a:pt x="478" y="10"/>
                  <a:pt x="478" y="11"/>
                  <a:pt x="478" y="11"/>
                </a:cubicBezTo>
                <a:cubicBezTo>
                  <a:pt x="479" y="11"/>
                  <a:pt x="481" y="11"/>
                  <a:pt x="483" y="12"/>
                </a:cubicBezTo>
                <a:cubicBezTo>
                  <a:pt x="483" y="11"/>
                  <a:pt x="484" y="11"/>
                  <a:pt x="482" y="11"/>
                </a:cubicBezTo>
                <a:cubicBezTo>
                  <a:pt x="483" y="10"/>
                  <a:pt x="485" y="11"/>
                  <a:pt x="484" y="12"/>
                </a:cubicBezTo>
                <a:cubicBezTo>
                  <a:pt x="485" y="12"/>
                  <a:pt x="486" y="11"/>
                  <a:pt x="487" y="12"/>
                </a:cubicBezTo>
                <a:cubicBezTo>
                  <a:pt x="487" y="12"/>
                  <a:pt x="485" y="10"/>
                  <a:pt x="490" y="11"/>
                </a:cubicBezTo>
                <a:cubicBezTo>
                  <a:pt x="490" y="10"/>
                  <a:pt x="485" y="10"/>
                  <a:pt x="484" y="9"/>
                </a:cubicBezTo>
                <a:cubicBezTo>
                  <a:pt x="482" y="9"/>
                  <a:pt x="481" y="9"/>
                  <a:pt x="482" y="9"/>
                </a:cubicBezTo>
                <a:cubicBezTo>
                  <a:pt x="480" y="9"/>
                  <a:pt x="481" y="9"/>
                  <a:pt x="478" y="8"/>
                </a:cubicBezTo>
                <a:cubicBezTo>
                  <a:pt x="478" y="8"/>
                  <a:pt x="482" y="9"/>
                  <a:pt x="481" y="7"/>
                </a:cubicBezTo>
                <a:cubicBezTo>
                  <a:pt x="484" y="8"/>
                  <a:pt x="482" y="8"/>
                  <a:pt x="482" y="8"/>
                </a:cubicBezTo>
                <a:cubicBezTo>
                  <a:pt x="486" y="9"/>
                  <a:pt x="486" y="9"/>
                  <a:pt x="489" y="9"/>
                </a:cubicBezTo>
                <a:cubicBezTo>
                  <a:pt x="489" y="9"/>
                  <a:pt x="487" y="9"/>
                  <a:pt x="487" y="8"/>
                </a:cubicBezTo>
                <a:cubicBezTo>
                  <a:pt x="491" y="9"/>
                  <a:pt x="493" y="10"/>
                  <a:pt x="496" y="11"/>
                </a:cubicBezTo>
                <a:cubicBezTo>
                  <a:pt x="495" y="11"/>
                  <a:pt x="495" y="10"/>
                  <a:pt x="495" y="11"/>
                </a:cubicBezTo>
                <a:cubicBezTo>
                  <a:pt x="496" y="11"/>
                  <a:pt x="499" y="12"/>
                  <a:pt x="499" y="11"/>
                </a:cubicBezTo>
                <a:cubicBezTo>
                  <a:pt x="500" y="12"/>
                  <a:pt x="500" y="12"/>
                  <a:pt x="501" y="13"/>
                </a:cubicBezTo>
                <a:cubicBezTo>
                  <a:pt x="505" y="13"/>
                  <a:pt x="510" y="15"/>
                  <a:pt x="512" y="16"/>
                </a:cubicBezTo>
                <a:cubicBezTo>
                  <a:pt x="514" y="17"/>
                  <a:pt x="512" y="15"/>
                  <a:pt x="510" y="14"/>
                </a:cubicBezTo>
                <a:cubicBezTo>
                  <a:pt x="510" y="14"/>
                  <a:pt x="516" y="16"/>
                  <a:pt x="514" y="16"/>
                </a:cubicBezTo>
                <a:cubicBezTo>
                  <a:pt x="516" y="17"/>
                  <a:pt x="519" y="18"/>
                  <a:pt x="520" y="18"/>
                </a:cubicBezTo>
                <a:cubicBezTo>
                  <a:pt x="519" y="17"/>
                  <a:pt x="518" y="17"/>
                  <a:pt x="517" y="17"/>
                </a:cubicBezTo>
                <a:cubicBezTo>
                  <a:pt x="520" y="17"/>
                  <a:pt x="527" y="19"/>
                  <a:pt x="532" y="21"/>
                </a:cubicBezTo>
                <a:cubicBezTo>
                  <a:pt x="529" y="19"/>
                  <a:pt x="537" y="22"/>
                  <a:pt x="537" y="22"/>
                </a:cubicBezTo>
                <a:cubicBezTo>
                  <a:pt x="539" y="22"/>
                  <a:pt x="538" y="23"/>
                  <a:pt x="540" y="23"/>
                </a:cubicBezTo>
                <a:cubicBezTo>
                  <a:pt x="539" y="23"/>
                  <a:pt x="538" y="23"/>
                  <a:pt x="536" y="22"/>
                </a:cubicBezTo>
                <a:cubicBezTo>
                  <a:pt x="536" y="23"/>
                  <a:pt x="543" y="25"/>
                  <a:pt x="545" y="25"/>
                </a:cubicBezTo>
                <a:cubicBezTo>
                  <a:pt x="545" y="25"/>
                  <a:pt x="542" y="25"/>
                  <a:pt x="540" y="24"/>
                </a:cubicBezTo>
                <a:cubicBezTo>
                  <a:pt x="543" y="24"/>
                  <a:pt x="547" y="25"/>
                  <a:pt x="551" y="27"/>
                </a:cubicBezTo>
                <a:cubicBezTo>
                  <a:pt x="551" y="27"/>
                  <a:pt x="550" y="27"/>
                  <a:pt x="552" y="28"/>
                </a:cubicBezTo>
                <a:cubicBezTo>
                  <a:pt x="551" y="28"/>
                  <a:pt x="549" y="26"/>
                  <a:pt x="549" y="27"/>
                </a:cubicBezTo>
                <a:cubicBezTo>
                  <a:pt x="550" y="28"/>
                  <a:pt x="552" y="28"/>
                  <a:pt x="552" y="29"/>
                </a:cubicBezTo>
                <a:cubicBezTo>
                  <a:pt x="554" y="30"/>
                  <a:pt x="550" y="28"/>
                  <a:pt x="551" y="29"/>
                </a:cubicBezTo>
                <a:cubicBezTo>
                  <a:pt x="555" y="29"/>
                  <a:pt x="555" y="30"/>
                  <a:pt x="558" y="30"/>
                </a:cubicBezTo>
                <a:cubicBezTo>
                  <a:pt x="562" y="32"/>
                  <a:pt x="569" y="34"/>
                  <a:pt x="569" y="35"/>
                </a:cubicBezTo>
                <a:cubicBezTo>
                  <a:pt x="571" y="36"/>
                  <a:pt x="570" y="35"/>
                  <a:pt x="571" y="35"/>
                </a:cubicBezTo>
                <a:cubicBezTo>
                  <a:pt x="572" y="36"/>
                  <a:pt x="575" y="37"/>
                  <a:pt x="573" y="37"/>
                </a:cubicBezTo>
                <a:cubicBezTo>
                  <a:pt x="575" y="38"/>
                  <a:pt x="575" y="38"/>
                  <a:pt x="577" y="39"/>
                </a:cubicBezTo>
                <a:cubicBezTo>
                  <a:pt x="577" y="39"/>
                  <a:pt x="575" y="39"/>
                  <a:pt x="576" y="39"/>
                </a:cubicBezTo>
                <a:cubicBezTo>
                  <a:pt x="578" y="40"/>
                  <a:pt x="578" y="39"/>
                  <a:pt x="579" y="39"/>
                </a:cubicBezTo>
                <a:cubicBezTo>
                  <a:pt x="579" y="38"/>
                  <a:pt x="576" y="38"/>
                  <a:pt x="576" y="38"/>
                </a:cubicBezTo>
                <a:cubicBezTo>
                  <a:pt x="576" y="37"/>
                  <a:pt x="580" y="39"/>
                  <a:pt x="579" y="39"/>
                </a:cubicBezTo>
                <a:cubicBezTo>
                  <a:pt x="581" y="40"/>
                  <a:pt x="581" y="40"/>
                  <a:pt x="583" y="40"/>
                </a:cubicBezTo>
                <a:cubicBezTo>
                  <a:pt x="586" y="42"/>
                  <a:pt x="586" y="42"/>
                  <a:pt x="589" y="44"/>
                </a:cubicBezTo>
                <a:cubicBezTo>
                  <a:pt x="587" y="43"/>
                  <a:pt x="587" y="42"/>
                  <a:pt x="586" y="42"/>
                </a:cubicBezTo>
                <a:cubicBezTo>
                  <a:pt x="585" y="40"/>
                  <a:pt x="593" y="44"/>
                  <a:pt x="594" y="45"/>
                </a:cubicBezTo>
                <a:cubicBezTo>
                  <a:pt x="594" y="45"/>
                  <a:pt x="591" y="43"/>
                  <a:pt x="590" y="43"/>
                </a:cubicBezTo>
                <a:cubicBezTo>
                  <a:pt x="592" y="45"/>
                  <a:pt x="596" y="46"/>
                  <a:pt x="598" y="48"/>
                </a:cubicBezTo>
                <a:cubicBezTo>
                  <a:pt x="600" y="49"/>
                  <a:pt x="597" y="46"/>
                  <a:pt x="599" y="47"/>
                </a:cubicBezTo>
                <a:cubicBezTo>
                  <a:pt x="600" y="48"/>
                  <a:pt x="601" y="49"/>
                  <a:pt x="603" y="50"/>
                </a:cubicBezTo>
                <a:cubicBezTo>
                  <a:pt x="603" y="50"/>
                  <a:pt x="606" y="52"/>
                  <a:pt x="606" y="51"/>
                </a:cubicBezTo>
                <a:cubicBezTo>
                  <a:pt x="612" y="54"/>
                  <a:pt x="615" y="56"/>
                  <a:pt x="620" y="59"/>
                </a:cubicBezTo>
                <a:cubicBezTo>
                  <a:pt x="619" y="58"/>
                  <a:pt x="619" y="59"/>
                  <a:pt x="619" y="59"/>
                </a:cubicBezTo>
                <a:cubicBezTo>
                  <a:pt x="624" y="60"/>
                  <a:pt x="634" y="67"/>
                  <a:pt x="640" y="71"/>
                </a:cubicBezTo>
                <a:cubicBezTo>
                  <a:pt x="642" y="72"/>
                  <a:pt x="641" y="71"/>
                  <a:pt x="643" y="73"/>
                </a:cubicBezTo>
                <a:cubicBezTo>
                  <a:pt x="643" y="73"/>
                  <a:pt x="643" y="73"/>
                  <a:pt x="644" y="73"/>
                </a:cubicBezTo>
                <a:cubicBezTo>
                  <a:pt x="644" y="73"/>
                  <a:pt x="643" y="72"/>
                  <a:pt x="642" y="72"/>
                </a:cubicBezTo>
                <a:cubicBezTo>
                  <a:pt x="645" y="73"/>
                  <a:pt x="651" y="78"/>
                  <a:pt x="653" y="78"/>
                </a:cubicBezTo>
                <a:cubicBezTo>
                  <a:pt x="655" y="80"/>
                  <a:pt x="658" y="83"/>
                  <a:pt x="661" y="84"/>
                </a:cubicBezTo>
                <a:cubicBezTo>
                  <a:pt x="665" y="87"/>
                  <a:pt x="675" y="94"/>
                  <a:pt x="680" y="98"/>
                </a:cubicBezTo>
                <a:cubicBezTo>
                  <a:pt x="680" y="98"/>
                  <a:pt x="679" y="97"/>
                  <a:pt x="679" y="98"/>
                </a:cubicBezTo>
                <a:cubicBezTo>
                  <a:pt x="681" y="99"/>
                  <a:pt x="682" y="100"/>
                  <a:pt x="684" y="102"/>
                </a:cubicBezTo>
                <a:cubicBezTo>
                  <a:pt x="685" y="102"/>
                  <a:pt x="683" y="101"/>
                  <a:pt x="684" y="101"/>
                </a:cubicBezTo>
                <a:cubicBezTo>
                  <a:pt x="688" y="104"/>
                  <a:pt x="693" y="109"/>
                  <a:pt x="699" y="114"/>
                </a:cubicBezTo>
                <a:cubicBezTo>
                  <a:pt x="698" y="114"/>
                  <a:pt x="698" y="114"/>
                  <a:pt x="699" y="115"/>
                </a:cubicBezTo>
                <a:cubicBezTo>
                  <a:pt x="701" y="117"/>
                  <a:pt x="702" y="118"/>
                  <a:pt x="703" y="118"/>
                </a:cubicBezTo>
                <a:cubicBezTo>
                  <a:pt x="705" y="120"/>
                  <a:pt x="704" y="119"/>
                  <a:pt x="705" y="120"/>
                </a:cubicBezTo>
                <a:cubicBezTo>
                  <a:pt x="707" y="122"/>
                  <a:pt x="704" y="119"/>
                  <a:pt x="705" y="119"/>
                </a:cubicBezTo>
                <a:cubicBezTo>
                  <a:pt x="707" y="121"/>
                  <a:pt x="707" y="121"/>
                  <a:pt x="709" y="123"/>
                </a:cubicBezTo>
                <a:cubicBezTo>
                  <a:pt x="705" y="121"/>
                  <a:pt x="715" y="129"/>
                  <a:pt x="718" y="132"/>
                </a:cubicBezTo>
                <a:cubicBezTo>
                  <a:pt x="716" y="131"/>
                  <a:pt x="717" y="131"/>
                  <a:pt x="716" y="129"/>
                </a:cubicBezTo>
                <a:cubicBezTo>
                  <a:pt x="716" y="129"/>
                  <a:pt x="717" y="130"/>
                  <a:pt x="717" y="130"/>
                </a:cubicBezTo>
                <a:cubicBezTo>
                  <a:pt x="722" y="135"/>
                  <a:pt x="722" y="134"/>
                  <a:pt x="723" y="137"/>
                </a:cubicBezTo>
                <a:cubicBezTo>
                  <a:pt x="724" y="138"/>
                  <a:pt x="723" y="136"/>
                  <a:pt x="724" y="136"/>
                </a:cubicBezTo>
                <a:cubicBezTo>
                  <a:pt x="727" y="139"/>
                  <a:pt x="727" y="140"/>
                  <a:pt x="728" y="141"/>
                </a:cubicBezTo>
                <a:cubicBezTo>
                  <a:pt x="729" y="142"/>
                  <a:pt x="732" y="144"/>
                  <a:pt x="732" y="145"/>
                </a:cubicBezTo>
                <a:cubicBezTo>
                  <a:pt x="732" y="146"/>
                  <a:pt x="735" y="148"/>
                  <a:pt x="734" y="148"/>
                </a:cubicBezTo>
                <a:cubicBezTo>
                  <a:pt x="736" y="149"/>
                  <a:pt x="736" y="149"/>
                  <a:pt x="737" y="150"/>
                </a:cubicBezTo>
                <a:cubicBezTo>
                  <a:pt x="738" y="150"/>
                  <a:pt x="735" y="148"/>
                  <a:pt x="734" y="147"/>
                </a:cubicBezTo>
                <a:cubicBezTo>
                  <a:pt x="736" y="147"/>
                  <a:pt x="734" y="144"/>
                  <a:pt x="736" y="144"/>
                </a:cubicBezTo>
                <a:cubicBezTo>
                  <a:pt x="739" y="150"/>
                  <a:pt x="741" y="155"/>
                  <a:pt x="745" y="161"/>
                </a:cubicBezTo>
                <a:cubicBezTo>
                  <a:pt x="747" y="163"/>
                  <a:pt x="742" y="157"/>
                  <a:pt x="747" y="162"/>
                </a:cubicBezTo>
                <a:cubicBezTo>
                  <a:pt x="747" y="161"/>
                  <a:pt x="745" y="159"/>
                  <a:pt x="746" y="160"/>
                </a:cubicBezTo>
                <a:cubicBezTo>
                  <a:pt x="744" y="157"/>
                  <a:pt x="744" y="158"/>
                  <a:pt x="743" y="156"/>
                </a:cubicBezTo>
                <a:cubicBezTo>
                  <a:pt x="743" y="156"/>
                  <a:pt x="745" y="158"/>
                  <a:pt x="746" y="159"/>
                </a:cubicBezTo>
                <a:cubicBezTo>
                  <a:pt x="746" y="159"/>
                  <a:pt x="745" y="156"/>
                  <a:pt x="747" y="158"/>
                </a:cubicBezTo>
                <a:cubicBezTo>
                  <a:pt x="746" y="156"/>
                  <a:pt x="744" y="153"/>
                  <a:pt x="745" y="154"/>
                </a:cubicBezTo>
                <a:cubicBezTo>
                  <a:pt x="747" y="156"/>
                  <a:pt x="748" y="158"/>
                  <a:pt x="749" y="159"/>
                </a:cubicBezTo>
                <a:cubicBezTo>
                  <a:pt x="749" y="160"/>
                  <a:pt x="752" y="165"/>
                  <a:pt x="750" y="164"/>
                </a:cubicBezTo>
                <a:cubicBezTo>
                  <a:pt x="752" y="166"/>
                  <a:pt x="751" y="167"/>
                  <a:pt x="751" y="167"/>
                </a:cubicBezTo>
                <a:cubicBezTo>
                  <a:pt x="753" y="170"/>
                  <a:pt x="756" y="173"/>
                  <a:pt x="757" y="174"/>
                </a:cubicBezTo>
                <a:cubicBezTo>
                  <a:pt x="757" y="173"/>
                  <a:pt x="755" y="172"/>
                  <a:pt x="754" y="170"/>
                </a:cubicBezTo>
                <a:cubicBezTo>
                  <a:pt x="754" y="168"/>
                  <a:pt x="759" y="172"/>
                  <a:pt x="756" y="168"/>
                </a:cubicBezTo>
                <a:cubicBezTo>
                  <a:pt x="757" y="169"/>
                  <a:pt x="757" y="170"/>
                  <a:pt x="759" y="173"/>
                </a:cubicBezTo>
                <a:cubicBezTo>
                  <a:pt x="759" y="174"/>
                  <a:pt x="757" y="173"/>
                  <a:pt x="760" y="177"/>
                </a:cubicBezTo>
                <a:cubicBezTo>
                  <a:pt x="759" y="176"/>
                  <a:pt x="759" y="175"/>
                  <a:pt x="758" y="175"/>
                </a:cubicBezTo>
                <a:cubicBezTo>
                  <a:pt x="760" y="177"/>
                  <a:pt x="760" y="179"/>
                  <a:pt x="762" y="181"/>
                </a:cubicBezTo>
                <a:cubicBezTo>
                  <a:pt x="762" y="182"/>
                  <a:pt x="762" y="181"/>
                  <a:pt x="764" y="182"/>
                </a:cubicBezTo>
                <a:cubicBezTo>
                  <a:pt x="765" y="184"/>
                  <a:pt x="766" y="187"/>
                  <a:pt x="767" y="186"/>
                </a:cubicBezTo>
                <a:cubicBezTo>
                  <a:pt x="768" y="186"/>
                  <a:pt x="765" y="183"/>
                  <a:pt x="764" y="182"/>
                </a:cubicBezTo>
                <a:cubicBezTo>
                  <a:pt x="762" y="178"/>
                  <a:pt x="767" y="183"/>
                  <a:pt x="764" y="178"/>
                </a:cubicBezTo>
                <a:cubicBezTo>
                  <a:pt x="766" y="180"/>
                  <a:pt x="766" y="181"/>
                  <a:pt x="766" y="179"/>
                </a:cubicBezTo>
                <a:cubicBezTo>
                  <a:pt x="767" y="180"/>
                  <a:pt x="768" y="181"/>
                  <a:pt x="768" y="181"/>
                </a:cubicBezTo>
                <a:cubicBezTo>
                  <a:pt x="770" y="185"/>
                  <a:pt x="768" y="190"/>
                  <a:pt x="774" y="194"/>
                </a:cubicBezTo>
                <a:cubicBezTo>
                  <a:pt x="773" y="192"/>
                  <a:pt x="774" y="192"/>
                  <a:pt x="776" y="194"/>
                </a:cubicBezTo>
                <a:cubicBezTo>
                  <a:pt x="775" y="192"/>
                  <a:pt x="774" y="188"/>
                  <a:pt x="776" y="190"/>
                </a:cubicBezTo>
                <a:cubicBezTo>
                  <a:pt x="782" y="200"/>
                  <a:pt x="774" y="198"/>
                  <a:pt x="781" y="209"/>
                </a:cubicBezTo>
                <a:cubicBezTo>
                  <a:pt x="782" y="211"/>
                  <a:pt x="782" y="210"/>
                  <a:pt x="784" y="211"/>
                </a:cubicBezTo>
                <a:cubicBezTo>
                  <a:pt x="782" y="207"/>
                  <a:pt x="785" y="207"/>
                  <a:pt x="785" y="203"/>
                </a:cubicBezTo>
                <a:cubicBezTo>
                  <a:pt x="789" y="210"/>
                  <a:pt x="784" y="206"/>
                  <a:pt x="788" y="212"/>
                </a:cubicBezTo>
                <a:cubicBezTo>
                  <a:pt x="786" y="212"/>
                  <a:pt x="788" y="216"/>
                  <a:pt x="786" y="217"/>
                </a:cubicBezTo>
                <a:cubicBezTo>
                  <a:pt x="787" y="218"/>
                  <a:pt x="788" y="218"/>
                  <a:pt x="789" y="220"/>
                </a:cubicBezTo>
                <a:cubicBezTo>
                  <a:pt x="788" y="220"/>
                  <a:pt x="787" y="218"/>
                  <a:pt x="787" y="219"/>
                </a:cubicBezTo>
                <a:cubicBezTo>
                  <a:pt x="788" y="221"/>
                  <a:pt x="789" y="223"/>
                  <a:pt x="791" y="226"/>
                </a:cubicBezTo>
                <a:cubicBezTo>
                  <a:pt x="793" y="227"/>
                  <a:pt x="790" y="222"/>
                  <a:pt x="793" y="224"/>
                </a:cubicBezTo>
                <a:cubicBezTo>
                  <a:pt x="792" y="220"/>
                  <a:pt x="793" y="220"/>
                  <a:pt x="795" y="221"/>
                </a:cubicBezTo>
                <a:cubicBezTo>
                  <a:pt x="798" y="227"/>
                  <a:pt x="796" y="231"/>
                  <a:pt x="795" y="230"/>
                </a:cubicBezTo>
                <a:cubicBezTo>
                  <a:pt x="795" y="231"/>
                  <a:pt x="796" y="233"/>
                  <a:pt x="796" y="234"/>
                </a:cubicBezTo>
                <a:cubicBezTo>
                  <a:pt x="793" y="231"/>
                  <a:pt x="796" y="239"/>
                  <a:pt x="792" y="235"/>
                </a:cubicBezTo>
                <a:cubicBezTo>
                  <a:pt x="794" y="238"/>
                  <a:pt x="793" y="237"/>
                  <a:pt x="792" y="236"/>
                </a:cubicBezTo>
                <a:cubicBezTo>
                  <a:pt x="794" y="240"/>
                  <a:pt x="794" y="243"/>
                  <a:pt x="797" y="248"/>
                </a:cubicBezTo>
                <a:cubicBezTo>
                  <a:pt x="797" y="246"/>
                  <a:pt x="797" y="245"/>
                  <a:pt x="799" y="248"/>
                </a:cubicBezTo>
                <a:cubicBezTo>
                  <a:pt x="799" y="247"/>
                  <a:pt x="798" y="246"/>
                  <a:pt x="798" y="245"/>
                </a:cubicBezTo>
                <a:cubicBezTo>
                  <a:pt x="798" y="244"/>
                  <a:pt x="799" y="247"/>
                  <a:pt x="800" y="247"/>
                </a:cubicBezTo>
                <a:cubicBezTo>
                  <a:pt x="800" y="246"/>
                  <a:pt x="799" y="246"/>
                  <a:pt x="798" y="244"/>
                </a:cubicBezTo>
                <a:cubicBezTo>
                  <a:pt x="799" y="244"/>
                  <a:pt x="800" y="246"/>
                  <a:pt x="800" y="246"/>
                </a:cubicBezTo>
                <a:cubicBezTo>
                  <a:pt x="802" y="250"/>
                  <a:pt x="800" y="249"/>
                  <a:pt x="801" y="252"/>
                </a:cubicBezTo>
                <a:cubicBezTo>
                  <a:pt x="799" y="250"/>
                  <a:pt x="800" y="252"/>
                  <a:pt x="799" y="251"/>
                </a:cubicBezTo>
                <a:cubicBezTo>
                  <a:pt x="800" y="252"/>
                  <a:pt x="801" y="254"/>
                  <a:pt x="802" y="256"/>
                </a:cubicBezTo>
                <a:cubicBezTo>
                  <a:pt x="800" y="254"/>
                  <a:pt x="800" y="256"/>
                  <a:pt x="799" y="255"/>
                </a:cubicBezTo>
                <a:cubicBezTo>
                  <a:pt x="799" y="256"/>
                  <a:pt x="800" y="257"/>
                  <a:pt x="800" y="258"/>
                </a:cubicBezTo>
                <a:cubicBezTo>
                  <a:pt x="798" y="257"/>
                  <a:pt x="797" y="261"/>
                  <a:pt x="794" y="257"/>
                </a:cubicBezTo>
                <a:cubicBezTo>
                  <a:pt x="794" y="258"/>
                  <a:pt x="795" y="260"/>
                  <a:pt x="794" y="260"/>
                </a:cubicBezTo>
                <a:cubicBezTo>
                  <a:pt x="792" y="255"/>
                  <a:pt x="791" y="256"/>
                  <a:pt x="790" y="256"/>
                </a:cubicBezTo>
                <a:cubicBezTo>
                  <a:pt x="792" y="259"/>
                  <a:pt x="794" y="261"/>
                  <a:pt x="795" y="265"/>
                </a:cubicBezTo>
                <a:cubicBezTo>
                  <a:pt x="793" y="262"/>
                  <a:pt x="795" y="266"/>
                  <a:pt x="793" y="262"/>
                </a:cubicBezTo>
                <a:cubicBezTo>
                  <a:pt x="792" y="267"/>
                  <a:pt x="790" y="268"/>
                  <a:pt x="787" y="266"/>
                </a:cubicBezTo>
                <a:cubicBezTo>
                  <a:pt x="786" y="263"/>
                  <a:pt x="784" y="260"/>
                  <a:pt x="784" y="259"/>
                </a:cubicBezTo>
                <a:cubicBezTo>
                  <a:pt x="784" y="258"/>
                  <a:pt x="783" y="258"/>
                  <a:pt x="783" y="257"/>
                </a:cubicBezTo>
                <a:cubicBezTo>
                  <a:pt x="783" y="257"/>
                  <a:pt x="783" y="258"/>
                  <a:pt x="784" y="259"/>
                </a:cubicBezTo>
                <a:cubicBezTo>
                  <a:pt x="783" y="258"/>
                  <a:pt x="782" y="256"/>
                  <a:pt x="782" y="255"/>
                </a:cubicBezTo>
                <a:close/>
                <a:moveTo>
                  <a:pt x="340" y="50"/>
                </a:moveTo>
                <a:cubicBezTo>
                  <a:pt x="338" y="51"/>
                  <a:pt x="336" y="51"/>
                  <a:pt x="336" y="51"/>
                </a:cubicBezTo>
                <a:cubicBezTo>
                  <a:pt x="338" y="51"/>
                  <a:pt x="340" y="51"/>
                  <a:pt x="340" y="50"/>
                </a:cubicBezTo>
                <a:close/>
                <a:moveTo>
                  <a:pt x="236" y="74"/>
                </a:moveTo>
                <a:cubicBezTo>
                  <a:pt x="236" y="74"/>
                  <a:pt x="235" y="75"/>
                  <a:pt x="235" y="74"/>
                </a:cubicBezTo>
                <a:cubicBezTo>
                  <a:pt x="234" y="75"/>
                  <a:pt x="233" y="75"/>
                  <a:pt x="233" y="76"/>
                </a:cubicBezTo>
                <a:cubicBezTo>
                  <a:pt x="236" y="75"/>
                  <a:pt x="230" y="77"/>
                  <a:pt x="232" y="77"/>
                </a:cubicBezTo>
                <a:cubicBezTo>
                  <a:pt x="234" y="76"/>
                  <a:pt x="235" y="75"/>
                  <a:pt x="236" y="74"/>
                </a:cubicBezTo>
                <a:close/>
                <a:moveTo>
                  <a:pt x="231" y="76"/>
                </a:moveTo>
                <a:cubicBezTo>
                  <a:pt x="232" y="75"/>
                  <a:pt x="233" y="76"/>
                  <a:pt x="234" y="74"/>
                </a:cubicBezTo>
                <a:cubicBezTo>
                  <a:pt x="234" y="75"/>
                  <a:pt x="236" y="72"/>
                  <a:pt x="237" y="71"/>
                </a:cubicBezTo>
                <a:cubicBezTo>
                  <a:pt x="233" y="73"/>
                  <a:pt x="233" y="74"/>
                  <a:pt x="231" y="76"/>
                </a:cubicBezTo>
                <a:close/>
                <a:moveTo>
                  <a:pt x="162" y="116"/>
                </a:moveTo>
                <a:cubicBezTo>
                  <a:pt x="164" y="115"/>
                  <a:pt x="164" y="115"/>
                  <a:pt x="164" y="115"/>
                </a:cubicBezTo>
                <a:cubicBezTo>
                  <a:pt x="162" y="115"/>
                  <a:pt x="165" y="114"/>
                  <a:pt x="167" y="112"/>
                </a:cubicBezTo>
                <a:cubicBezTo>
                  <a:pt x="165" y="113"/>
                  <a:pt x="164" y="114"/>
                  <a:pt x="164" y="114"/>
                </a:cubicBezTo>
                <a:cubicBezTo>
                  <a:pt x="167" y="111"/>
                  <a:pt x="164" y="113"/>
                  <a:pt x="165" y="111"/>
                </a:cubicBezTo>
                <a:cubicBezTo>
                  <a:pt x="164" y="112"/>
                  <a:pt x="162" y="113"/>
                  <a:pt x="162" y="114"/>
                </a:cubicBezTo>
                <a:cubicBezTo>
                  <a:pt x="168" y="110"/>
                  <a:pt x="160" y="115"/>
                  <a:pt x="162" y="114"/>
                </a:cubicBezTo>
                <a:cubicBezTo>
                  <a:pt x="166" y="112"/>
                  <a:pt x="161" y="116"/>
                  <a:pt x="162" y="116"/>
                </a:cubicBezTo>
                <a:close/>
                <a:moveTo>
                  <a:pt x="132" y="113"/>
                </a:moveTo>
                <a:cubicBezTo>
                  <a:pt x="134" y="112"/>
                  <a:pt x="135" y="111"/>
                  <a:pt x="134" y="111"/>
                </a:cubicBezTo>
                <a:cubicBezTo>
                  <a:pt x="132" y="113"/>
                  <a:pt x="132" y="113"/>
                  <a:pt x="132" y="113"/>
                </a:cubicBezTo>
                <a:close/>
                <a:moveTo>
                  <a:pt x="788" y="254"/>
                </a:moveTo>
                <a:cubicBezTo>
                  <a:pt x="788" y="256"/>
                  <a:pt x="790" y="259"/>
                  <a:pt x="791" y="260"/>
                </a:cubicBezTo>
                <a:cubicBezTo>
                  <a:pt x="790" y="258"/>
                  <a:pt x="789" y="255"/>
                  <a:pt x="788" y="254"/>
                </a:cubicBezTo>
                <a:close/>
                <a:moveTo>
                  <a:pt x="792" y="242"/>
                </a:moveTo>
                <a:cubicBezTo>
                  <a:pt x="793" y="245"/>
                  <a:pt x="794" y="247"/>
                  <a:pt x="796" y="250"/>
                </a:cubicBezTo>
                <a:cubicBezTo>
                  <a:pt x="797" y="249"/>
                  <a:pt x="792" y="240"/>
                  <a:pt x="790" y="237"/>
                </a:cubicBezTo>
                <a:cubicBezTo>
                  <a:pt x="790" y="239"/>
                  <a:pt x="794" y="244"/>
                  <a:pt x="795" y="246"/>
                </a:cubicBezTo>
                <a:cubicBezTo>
                  <a:pt x="794" y="246"/>
                  <a:pt x="793" y="243"/>
                  <a:pt x="792" y="242"/>
                </a:cubicBezTo>
                <a:close/>
                <a:moveTo>
                  <a:pt x="787" y="245"/>
                </a:moveTo>
                <a:cubicBezTo>
                  <a:pt x="787" y="245"/>
                  <a:pt x="787" y="247"/>
                  <a:pt x="786" y="246"/>
                </a:cubicBezTo>
                <a:cubicBezTo>
                  <a:pt x="788" y="248"/>
                  <a:pt x="789" y="252"/>
                  <a:pt x="790" y="253"/>
                </a:cubicBezTo>
                <a:cubicBezTo>
                  <a:pt x="789" y="250"/>
                  <a:pt x="788" y="247"/>
                  <a:pt x="787" y="245"/>
                </a:cubicBezTo>
                <a:close/>
                <a:moveTo>
                  <a:pt x="779" y="256"/>
                </a:moveTo>
                <a:cubicBezTo>
                  <a:pt x="779" y="256"/>
                  <a:pt x="776" y="252"/>
                  <a:pt x="777" y="255"/>
                </a:cubicBezTo>
                <a:cubicBezTo>
                  <a:pt x="778" y="255"/>
                  <a:pt x="778" y="255"/>
                  <a:pt x="779" y="257"/>
                </a:cubicBezTo>
                <a:cubicBezTo>
                  <a:pt x="779" y="258"/>
                  <a:pt x="779" y="258"/>
                  <a:pt x="779" y="258"/>
                </a:cubicBezTo>
                <a:cubicBezTo>
                  <a:pt x="780" y="258"/>
                  <a:pt x="780" y="258"/>
                  <a:pt x="779" y="256"/>
                </a:cubicBezTo>
                <a:close/>
                <a:moveTo>
                  <a:pt x="785" y="244"/>
                </a:moveTo>
                <a:cubicBezTo>
                  <a:pt x="787" y="249"/>
                  <a:pt x="783" y="241"/>
                  <a:pt x="784" y="244"/>
                </a:cubicBezTo>
                <a:cubicBezTo>
                  <a:pt x="786" y="246"/>
                  <a:pt x="784" y="246"/>
                  <a:pt x="785" y="247"/>
                </a:cubicBezTo>
                <a:cubicBezTo>
                  <a:pt x="785" y="246"/>
                  <a:pt x="787" y="249"/>
                  <a:pt x="787" y="249"/>
                </a:cubicBezTo>
                <a:cubicBezTo>
                  <a:pt x="786" y="247"/>
                  <a:pt x="786" y="245"/>
                  <a:pt x="785" y="244"/>
                </a:cubicBezTo>
                <a:close/>
                <a:moveTo>
                  <a:pt x="789" y="230"/>
                </a:moveTo>
                <a:cubicBezTo>
                  <a:pt x="790" y="231"/>
                  <a:pt x="791" y="232"/>
                  <a:pt x="792" y="233"/>
                </a:cubicBezTo>
                <a:cubicBezTo>
                  <a:pt x="790" y="230"/>
                  <a:pt x="789" y="228"/>
                  <a:pt x="790" y="229"/>
                </a:cubicBezTo>
                <a:cubicBezTo>
                  <a:pt x="788" y="225"/>
                  <a:pt x="789" y="224"/>
                  <a:pt x="787" y="222"/>
                </a:cubicBezTo>
                <a:cubicBezTo>
                  <a:pt x="787" y="222"/>
                  <a:pt x="787" y="224"/>
                  <a:pt x="786" y="224"/>
                </a:cubicBezTo>
                <a:cubicBezTo>
                  <a:pt x="788" y="225"/>
                  <a:pt x="788" y="226"/>
                  <a:pt x="789" y="227"/>
                </a:cubicBezTo>
                <a:cubicBezTo>
                  <a:pt x="789" y="228"/>
                  <a:pt x="789" y="229"/>
                  <a:pt x="789" y="229"/>
                </a:cubicBezTo>
                <a:cubicBezTo>
                  <a:pt x="788" y="226"/>
                  <a:pt x="787" y="226"/>
                  <a:pt x="785" y="224"/>
                </a:cubicBezTo>
                <a:cubicBezTo>
                  <a:pt x="787" y="227"/>
                  <a:pt x="786" y="227"/>
                  <a:pt x="785" y="226"/>
                </a:cubicBezTo>
                <a:cubicBezTo>
                  <a:pt x="787" y="230"/>
                  <a:pt x="786" y="228"/>
                  <a:pt x="787" y="231"/>
                </a:cubicBezTo>
                <a:cubicBezTo>
                  <a:pt x="788" y="231"/>
                  <a:pt x="789" y="234"/>
                  <a:pt x="790" y="235"/>
                </a:cubicBezTo>
                <a:cubicBezTo>
                  <a:pt x="790" y="235"/>
                  <a:pt x="792" y="237"/>
                  <a:pt x="791" y="235"/>
                </a:cubicBezTo>
                <a:cubicBezTo>
                  <a:pt x="790" y="235"/>
                  <a:pt x="790" y="233"/>
                  <a:pt x="789" y="232"/>
                </a:cubicBezTo>
                <a:cubicBezTo>
                  <a:pt x="789" y="232"/>
                  <a:pt x="790" y="235"/>
                  <a:pt x="789" y="233"/>
                </a:cubicBezTo>
                <a:cubicBezTo>
                  <a:pt x="789" y="233"/>
                  <a:pt x="787" y="230"/>
                  <a:pt x="788" y="230"/>
                </a:cubicBezTo>
                <a:cubicBezTo>
                  <a:pt x="789" y="232"/>
                  <a:pt x="790" y="234"/>
                  <a:pt x="792" y="235"/>
                </a:cubicBezTo>
                <a:cubicBezTo>
                  <a:pt x="791" y="234"/>
                  <a:pt x="789" y="231"/>
                  <a:pt x="789" y="230"/>
                </a:cubicBezTo>
                <a:close/>
                <a:moveTo>
                  <a:pt x="788" y="235"/>
                </a:moveTo>
                <a:cubicBezTo>
                  <a:pt x="788" y="233"/>
                  <a:pt x="786" y="229"/>
                  <a:pt x="785" y="229"/>
                </a:cubicBezTo>
                <a:cubicBezTo>
                  <a:pt x="787" y="231"/>
                  <a:pt x="787" y="234"/>
                  <a:pt x="788" y="235"/>
                </a:cubicBezTo>
                <a:close/>
                <a:moveTo>
                  <a:pt x="756" y="236"/>
                </a:moveTo>
                <a:cubicBezTo>
                  <a:pt x="755" y="236"/>
                  <a:pt x="757" y="239"/>
                  <a:pt x="758" y="240"/>
                </a:cubicBezTo>
                <a:cubicBezTo>
                  <a:pt x="760" y="241"/>
                  <a:pt x="759" y="242"/>
                  <a:pt x="760" y="244"/>
                </a:cubicBezTo>
                <a:cubicBezTo>
                  <a:pt x="760" y="243"/>
                  <a:pt x="762" y="245"/>
                  <a:pt x="761" y="242"/>
                </a:cubicBezTo>
                <a:cubicBezTo>
                  <a:pt x="759" y="241"/>
                  <a:pt x="759" y="241"/>
                  <a:pt x="756" y="236"/>
                </a:cubicBezTo>
                <a:close/>
                <a:moveTo>
                  <a:pt x="780" y="220"/>
                </a:moveTo>
                <a:cubicBezTo>
                  <a:pt x="781" y="222"/>
                  <a:pt x="781" y="223"/>
                  <a:pt x="782" y="225"/>
                </a:cubicBezTo>
                <a:cubicBezTo>
                  <a:pt x="783" y="226"/>
                  <a:pt x="784" y="227"/>
                  <a:pt x="785" y="228"/>
                </a:cubicBezTo>
                <a:cubicBezTo>
                  <a:pt x="783" y="225"/>
                  <a:pt x="782" y="222"/>
                  <a:pt x="780" y="220"/>
                </a:cubicBezTo>
                <a:close/>
                <a:moveTo>
                  <a:pt x="787" y="219"/>
                </a:moveTo>
                <a:cubicBezTo>
                  <a:pt x="786" y="219"/>
                  <a:pt x="786" y="220"/>
                  <a:pt x="787" y="221"/>
                </a:cubicBezTo>
                <a:cubicBezTo>
                  <a:pt x="787" y="221"/>
                  <a:pt x="789" y="225"/>
                  <a:pt x="789" y="223"/>
                </a:cubicBezTo>
                <a:cubicBezTo>
                  <a:pt x="787" y="221"/>
                  <a:pt x="787" y="220"/>
                  <a:pt x="787" y="219"/>
                </a:cubicBezTo>
                <a:close/>
                <a:moveTo>
                  <a:pt x="781" y="226"/>
                </a:moveTo>
                <a:cubicBezTo>
                  <a:pt x="781" y="227"/>
                  <a:pt x="780" y="223"/>
                  <a:pt x="779" y="224"/>
                </a:cubicBezTo>
                <a:cubicBezTo>
                  <a:pt x="780" y="224"/>
                  <a:pt x="780" y="225"/>
                  <a:pt x="779" y="225"/>
                </a:cubicBezTo>
                <a:cubicBezTo>
                  <a:pt x="781" y="228"/>
                  <a:pt x="783" y="228"/>
                  <a:pt x="781" y="226"/>
                </a:cubicBezTo>
                <a:close/>
                <a:moveTo>
                  <a:pt x="760" y="233"/>
                </a:moveTo>
                <a:cubicBezTo>
                  <a:pt x="761" y="237"/>
                  <a:pt x="756" y="230"/>
                  <a:pt x="756" y="233"/>
                </a:cubicBezTo>
                <a:cubicBezTo>
                  <a:pt x="758" y="234"/>
                  <a:pt x="760" y="235"/>
                  <a:pt x="762" y="237"/>
                </a:cubicBezTo>
                <a:cubicBezTo>
                  <a:pt x="761" y="235"/>
                  <a:pt x="761" y="233"/>
                  <a:pt x="760" y="233"/>
                </a:cubicBezTo>
                <a:close/>
                <a:moveTo>
                  <a:pt x="754" y="232"/>
                </a:moveTo>
                <a:cubicBezTo>
                  <a:pt x="755" y="231"/>
                  <a:pt x="756" y="235"/>
                  <a:pt x="757" y="236"/>
                </a:cubicBezTo>
                <a:cubicBezTo>
                  <a:pt x="757" y="234"/>
                  <a:pt x="753" y="229"/>
                  <a:pt x="754" y="232"/>
                </a:cubicBezTo>
                <a:close/>
                <a:moveTo>
                  <a:pt x="747" y="236"/>
                </a:moveTo>
                <a:cubicBezTo>
                  <a:pt x="746" y="236"/>
                  <a:pt x="748" y="238"/>
                  <a:pt x="748" y="239"/>
                </a:cubicBezTo>
                <a:cubicBezTo>
                  <a:pt x="749" y="239"/>
                  <a:pt x="749" y="240"/>
                  <a:pt x="749" y="239"/>
                </a:cubicBezTo>
                <a:cubicBezTo>
                  <a:pt x="748" y="239"/>
                  <a:pt x="748" y="237"/>
                  <a:pt x="747" y="236"/>
                </a:cubicBezTo>
                <a:close/>
                <a:moveTo>
                  <a:pt x="753" y="170"/>
                </a:moveTo>
                <a:cubicBezTo>
                  <a:pt x="752" y="170"/>
                  <a:pt x="752" y="170"/>
                  <a:pt x="753" y="172"/>
                </a:cubicBezTo>
                <a:cubicBezTo>
                  <a:pt x="754" y="172"/>
                  <a:pt x="755" y="172"/>
                  <a:pt x="756" y="173"/>
                </a:cubicBezTo>
                <a:cubicBezTo>
                  <a:pt x="754" y="172"/>
                  <a:pt x="753" y="171"/>
                  <a:pt x="753" y="170"/>
                </a:cubicBezTo>
                <a:close/>
                <a:moveTo>
                  <a:pt x="747" y="163"/>
                </a:moveTo>
                <a:cubicBezTo>
                  <a:pt x="746" y="162"/>
                  <a:pt x="745" y="163"/>
                  <a:pt x="746" y="165"/>
                </a:cubicBezTo>
                <a:cubicBezTo>
                  <a:pt x="746" y="164"/>
                  <a:pt x="749" y="168"/>
                  <a:pt x="749" y="167"/>
                </a:cubicBezTo>
                <a:cubicBezTo>
                  <a:pt x="746" y="163"/>
                  <a:pt x="748" y="165"/>
                  <a:pt x="747" y="163"/>
                </a:cubicBezTo>
                <a:close/>
                <a:moveTo>
                  <a:pt x="726" y="156"/>
                </a:moveTo>
                <a:cubicBezTo>
                  <a:pt x="725" y="156"/>
                  <a:pt x="728" y="159"/>
                  <a:pt x="729" y="160"/>
                </a:cubicBezTo>
                <a:cubicBezTo>
                  <a:pt x="730" y="160"/>
                  <a:pt x="728" y="158"/>
                  <a:pt x="726" y="156"/>
                </a:cubicBezTo>
                <a:close/>
                <a:moveTo>
                  <a:pt x="723" y="152"/>
                </a:moveTo>
                <a:cubicBezTo>
                  <a:pt x="722" y="152"/>
                  <a:pt x="721" y="151"/>
                  <a:pt x="721" y="150"/>
                </a:cubicBezTo>
                <a:cubicBezTo>
                  <a:pt x="720" y="150"/>
                  <a:pt x="720" y="151"/>
                  <a:pt x="721" y="152"/>
                </a:cubicBezTo>
                <a:cubicBezTo>
                  <a:pt x="722" y="151"/>
                  <a:pt x="725" y="155"/>
                  <a:pt x="724" y="153"/>
                </a:cubicBezTo>
                <a:cubicBezTo>
                  <a:pt x="723" y="153"/>
                  <a:pt x="723" y="153"/>
                  <a:pt x="723" y="152"/>
                </a:cubicBezTo>
                <a:close/>
                <a:moveTo>
                  <a:pt x="726" y="146"/>
                </a:moveTo>
                <a:cubicBezTo>
                  <a:pt x="727" y="147"/>
                  <a:pt x="726" y="147"/>
                  <a:pt x="728" y="149"/>
                </a:cubicBezTo>
                <a:cubicBezTo>
                  <a:pt x="729" y="150"/>
                  <a:pt x="727" y="147"/>
                  <a:pt x="726" y="146"/>
                </a:cubicBezTo>
                <a:close/>
                <a:moveTo>
                  <a:pt x="717" y="154"/>
                </a:moveTo>
                <a:cubicBezTo>
                  <a:pt x="718" y="156"/>
                  <a:pt x="715" y="152"/>
                  <a:pt x="714" y="152"/>
                </a:cubicBezTo>
                <a:cubicBezTo>
                  <a:pt x="714" y="153"/>
                  <a:pt x="716" y="154"/>
                  <a:pt x="717" y="156"/>
                </a:cubicBezTo>
                <a:cubicBezTo>
                  <a:pt x="718" y="156"/>
                  <a:pt x="718" y="155"/>
                  <a:pt x="717" y="154"/>
                </a:cubicBezTo>
                <a:close/>
                <a:moveTo>
                  <a:pt x="723" y="138"/>
                </a:moveTo>
                <a:cubicBezTo>
                  <a:pt x="726" y="140"/>
                  <a:pt x="727" y="142"/>
                  <a:pt x="728" y="143"/>
                </a:cubicBezTo>
                <a:cubicBezTo>
                  <a:pt x="727" y="141"/>
                  <a:pt x="725" y="139"/>
                  <a:pt x="723" y="138"/>
                </a:cubicBezTo>
                <a:close/>
                <a:moveTo>
                  <a:pt x="723" y="139"/>
                </a:moveTo>
                <a:cubicBezTo>
                  <a:pt x="723" y="138"/>
                  <a:pt x="722" y="137"/>
                  <a:pt x="721" y="137"/>
                </a:cubicBezTo>
                <a:cubicBezTo>
                  <a:pt x="720" y="136"/>
                  <a:pt x="720" y="136"/>
                  <a:pt x="720" y="137"/>
                </a:cubicBezTo>
                <a:cubicBezTo>
                  <a:pt x="721" y="139"/>
                  <a:pt x="722" y="140"/>
                  <a:pt x="723" y="141"/>
                </a:cubicBezTo>
                <a:cubicBezTo>
                  <a:pt x="722" y="139"/>
                  <a:pt x="720" y="138"/>
                  <a:pt x="721" y="137"/>
                </a:cubicBezTo>
                <a:cubicBezTo>
                  <a:pt x="723" y="139"/>
                  <a:pt x="724" y="140"/>
                  <a:pt x="725" y="140"/>
                </a:cubicBezTo>
                <a:cubicBezTo>
                  <a:pt x="724" y="139"/>
                  <a:pt x="724" y="139"/>
                  <a:pt x="723" y="139"/>
                </a:cubicBezTo>
                <a:close/>
                <a:moveTo>
                  <a:pt x="722" y="140"/>
                </a:moveTo>
                <a:cubicBezTo>
                  <a:pt x="719" y="137"/>
                  <a:pt x="719" y="137"/>
                  <a:pt x="719" y="137"/>
                </a:cubicBezTo>
                <a:cubicBezTo>
                  <a:pt x="718" y="137"/>
                  <a:pt x="720" y="140"/>
                  <a:pt x="721" y="141"/>
                </a:cubicBezTo>
                <a:cubicBezTo>
                  <a:pt x="722" y="141"/>
                  <a:pt x="722" y="141"/>
                  <a:pt x="722" y="140"/>
                </a:cubicBezTo>
                <a:close/>
                <a:moveTo>
                  <a:pt x="721" y="134"/>
                </a:moveTo>
                <a:cubicBezTo>
                  <a:pt x="720" y="134"/>
                  <a:pt x="719" y="134"/>
                  <a:pt x="719" y="134"/>
                </a:cubicBezTo>
                <a:cubicBezTo>
                  <a:pt x="723" y="138"/>
                  <a:pt x="724" y="137"/>
                  <a:pt x="721" y="134"/>
                </a:cubicBezTo>
                <a:close/>
                <a:moveTo>
                  <a:pt x="714" y="136"/>
                </a:moveTo>
                <a:cubicBezTo>
                  <a:pt x="715" y="135"/>
                  <a:pt x="715" y="135"/>
                  <a:pt x="714" y="134"/>
                </a:cubicBezTo>
                <a:cubicBezTo>
                  <a:pt x="713" y="133"/>
                  <a:pt x="712" y="134"/>
                  <a:pt x="714" y="136"/>
                </a:cubicBezTo>
                <a:close/>
                <a:moveTo>
                  <a:pt x="697" y="113"/>
                </a:moveTo>
                <a:cubicBezTo>
                  <a:pt x="698" y="114"/>
                  <a:pt x="698" y="113"/>
                  <a:pt x="697" y="113"/>
                </a:cubicBezTo>
                <a:cubicBezTo>
                  <a:pt x="696" y="113"/>
                  <a:pt x="694" y="110"/>
                  <a:pt x="693" y="110"/>
                </a:cubicBezTo>
                <a:cubicBezTo>
                  <a:pt x="695" y="112"/>
                  <a:pt x="698" y="116"/>
                  <a:pt x="700" y="117"/>
                </a:cubicBezTo>
                <a:cubicBezTo>
                  <a:pt x="699" y="116"/>
                  <a:pt x="696" y="113"/>
                  <a:pt x="697" y="113"/>
                </a:cubicBezTo>
                <a:close/>
                <a:moveTo>
                  <a:pt x="662" y="153"/>
                </a:moveTo>
                <a:cubicBezTo>
                  <a:pt x="663" y="154"/>
                  <a:pt x="665" y="156"/>
                  <a:pt x="666" y="156"/>
                </a:cubicBezTo>
                <a:cubicBezTo>
                  <a:pt x="665" y="155"/>
                  <a:pt x="663" y="152"/>
                  <a:pt x="662" y="153"/>
                </a:cubicBezTo>
                <a:close/>
                <a:moveTo>
                  <a:pt x="685" y="103"/>
                </a:moveTo>
                <a:cubicBezTo>
                  <a:pt x="687" y="104"/>
                  <a:pt x="686" y="104"/>
                  <a:pt x="687" y="105"/>
                </a:cubicBezTo>
                <a:cubicBezTo>
                  <a:pt x="688" y="106"/>
                  <a:pt x="689" y="106"/>
                  <a:pt x="689" y="106"/>
                </a:cubicBezTo>
                <a:cubicBezTo>
                  <a:pt x="688" y="105"/>
                  <a:pt x="687" y="103"/>
                  <a:pt x="685" y="103"/>
                </a:cubicBezTo>
                <a:close/>
                <a:moveTo>
                  <a:pt x="599" y="49"/>
                </a:moveTo>
                <a:cubicBezTo>
                  <a:pt x="600" y="50"/>
                  <a:pt x="603" y="51"/>
                  <a:pt x="603" y="50"/>
                </a:cubicBezTo>
                <a:cubicBezTo>
                  <a:pt x="600" y="49"/>
                  <a:pt x="601" y="50"/>
                  <a:pt x="599" y="49"/>
                </a:cubicBezTo>
                <a:close/>
                <a:moveTo>
                  <a:pt x="579" y="43"/>
                </a:moveTo>
                <a:cubicBezTo>
                  <a:pt x="579" y="42"/>
                  <a:pt x="584" y="44"/>
                  <a:pt x="581" y="43"/>
                </a:cubicBezTo>
                <a:cubicBezTo>
                  <a:pt x="581" y="43"/>
                  <a:pt x="576" y="41"/>
                  <a:pt x="579" y="43"/>
                </a:cubicBezTo>
                <a:close/>
                <a:moveTo>
                  <a:pt x="568" y="37"/>
                </a:moveTo>
                <a:cubicBezTo>
                  <a:pt x="568" y="36"/>
                  <a:pt x="570" y="37"/>
                  <a:pt x="571" y="38"/>
                </a:cubicBezTo>
                <a:cubicBezTo>
                  <a:pt x="573" y="38"/>
                  <a:pt x="568" y="36"/>
                  <a:pt x="567" y="36"/>
                </a:cubicBezTo>
                <a:cubicBezTo>
                  <a:pt x="570" y="37"/>
                  <a:pt x="565" y="36"/>
                  <a:pt x="568" y="37"/>
                </a:cubicBezTo>
                <a:close/>
                <a:moveTo>
                  <a:pt x="562" y="33"/>
                </a:moveTo>
                <a:cubicBezTo>
                  <a:pt x="563" y="34"/>
                  <a:pt x="563" y="33"/>
                  <a:pt x="565" y="33"/>
                </a:cubicBezTo>
                <a:cubicBezTo>
                  <a:pt x="567" y="35"/>
                  <a:pt x="567" y="35"/>
                  <a:pt x="567" y="35"/>
                </a:cubicBezTo>
                <a:cubicBezTo>
                  <a:pt x="570" y="35"/>
                  <a:pt x="558" y="30"/>
                  <a:pt x="562" y="33"/>
                </a:cubicBezTo>
                <a:close/>
                <a:moveTo>
                  <a:pt x="533" y="22"/>
                </a:moveTo>
                <a:cubicBezTo>
                  <a:pt x="531" y="22"/>
                  <a:pt x="527" y="19"/>
                  <a:pt x="523" y="19"/>
                </a:cubicBezTo>
                <a:cubicBezTo>
                  <a:pt x="524" y="20"/>
                  <a:pt x="519" y="18"/>
                  <a:pt x="519" y="19"/>
                </a:cubicBezTo>
                <a:cubicBezTo>
                  <a:pt x="522" y="20"/>
                  <a:pt x="520" y="20"/>
                  <a:pt x="524" y="21"/>
                </a:cubicBezTo>
                <a:cubicBezTo>
                  <a:pt x="522" y="19"/>
                  <a:pt x="526" y="20"/>
                  <a:pt x="528" y="20"/>
                </a:cubicBezTo>
                <a:cubicBezTo>
                  <a:pt x="529" y="21"/>
                  <a:pt x="532" y="22"/>
                  <a:pt x="535" y="23"/>
                </a:cubicBezTo>
                <a:cubicBezTo>
                  <a:pt x="534" y="23"/>
                  <a:pt x="535" y="22"/>
                  <a:pt x="533" y="22"/>
                </a:cubicBezTo>
                <a:close/>
                <a:moveTo>
                  <a:pt x="513" y="21"/>
                </a:moveTo>
                <a:cubicBezTo>
                  <a:pt x="515" y="21"/>
                  <a:pt x="520" y="24"/>
                  <a:pt x="520" y="23"/>
                </a:cubicBezTo>
                <a:cubicBezTo>
                  <a:pt x="516" y="22"/>
                  <a:pt x="514" y="21"/>
                  <a:pt x="513" y="21"/>
                </a:cubicBezTo>
                <a:close/>
                <a:moveTo>
                  <a:pt x="499" y="13"/>
                </a:moveTo>
                <a:cubicBezTo>
                  <a:pt x="501" y="14"/>
                  <a:pt x="499" y="14"/>
                  <a:pt x="502" y="15"/>
                </a:cubicBezTo>
                <a:cubicBezTo>
                  <a:pt x="501" y="14"/>
                  <a:pt x="504" y="14"/>
                  <a:pt x="502" y="14"/>
                </a:cubicBezTo>
                <a:cubicBezTo>
                  <a:pt x="502" y="14"/>
                  <a:pt x="499" y="13"/>
                  <a:pt x="499" y="13"/>
                </a:cubicBezTo>
                <a:close/>
                <a:moveTo>
                  <a:pt x="497" y="13"/>
                </a:moveTo>
                <a:cubicBezTo>
                  <a:pt x="502" y="15"/>
                  <a:pt x="497" y="14"/>
                  <a:pt x="497" y="15"/>
                </a:cubicBezTo>
                <a:cubicBezTo>
                  <a:pt x="499" y="15"/>
                  <a:pt x="500" y="16"/>
                  <a:pt x="501" y="16"/>
                </a:cubicBezTo>
                <a:cubicBezTo>
                  <a:pt x="500" y="15"/>
                  <a:pt x="499" y="13"/>
                  <a:pt x="497" y="13"/>
                </a:cubicBezTo>
                <a:close/>
                <a:moveTo>
                  <a:pt x="494" y="15"/>
                </a:moveTo>
                <a:cubicBezTo>
                  <a:pt x="494" y="14"/>
                  <a:pt x="496" y="15"/>
                  <a:pt x="496" y="14"/>
                </a:cubicBezTo>
                <a:cubicBezTo>
                  <a:pt x="492" y="13"/>
                  <a:pt x="493" y="14"/>
                  <a:pt x="494" y="15"/>
                </a:cubicBezTo>
                <a:close/>
                <a:moveTo>
                  <a:pt x="441" y="7"/>
                </a:moveTo>
                <a:cubicBezTo>
                  <a:pt x="441" y="7"/>
                  <a:pt x="443" y="7"/>
                  <a:pt x="445" y="7"/>
                </a:cubicBezTo>
                <a:cubicBezTo>
                  <a:pt x="444" y="7"/>
                  <a:pt x="445" y="7"/>
                  <a:pt x="444" y="7"/>
                </a:cubicBezTo>
                <a:cubicBezTo>
                  <a:pt x="444" y="7"/>
                  <a:pt x="439" y="7"/>
                  <a:pt x="441" y="7"/>
                </a:cubicBezTo>
                <a:close/>
                <a:moveTo>
                  <a:pt x="436" y="6"/>
                </a:moveTo>
                <a:cubicBezTo>
                  <a:pt x="433" y="6"/>
                  <a:pt x="434" y="5"/>
                  <a:pt x="431" y="6"/>
                </a:cubicBezTo>
                <a:cubicBezTo>
                  <a:pt x="431" y="6"/>
                  <a:pt x="433" y="6"/>
                  <a:pt x="432" y="7"/>
                </a:cubicBezTo>
                <a:cubicBezTo>
                  <a:pt x="434" y="7"/>
                  <a:pt x="436" y="8"/>
                  <a:pt x="437" y="7"/>
                </a:cubicBezTo>
                <a:cubicBezTo>
                  <a:pt x="432" y="7"/>
                  <a:pt x="433" y="6"/>
                  <a:pt x="436" y="6"/>
                </a:cubicBezTo>
                <a:close/>
                <a:moveTo>
                  <a:pt x="424" y="8"/>
                </a:moveTo>
                <a:cubicBezTo>
                  <a:pt x="420" y="7"/>
                  <a:pt x="426" y="6"/>
                  <a:pt x="421" y="7"/>
                </a:cubicBezTo>
                <a:cubicBezTo>
                  <a:pt x="423" y="7"/>
                  <a:pt x="420" y="8"/>
                  <a:pt x="424" y="8"/>
                </a:cubicBezTo>
                <a:close/>
                <a:moveTo>
                  <a:pt x="415" y="4"/>
                </a:moveTo>
                <a:cubicBezTo>
                  <a:pt x="415" y="4"/>
                  <a:pt x="414" y="4"/>
                  <a:pt x="413" y="4"/>
                </a:cubicBezTo>
                <a:cubicBezTo>
                  <a:pt x="415" y="4"/>
                  <a:pt x="417" y="5"/>
                  <a:pt x="420" y="5"/>
                </a:cubicBezTo>
                <a:cubicBezTo>
                  <a:pt x="420" y="4"/>
                  <a:pt x="417" y="4"/>
                  <a:pt x="415" y="4"/>
                </a:cubicBezTo>
                <a:close/>
                <a:moveTo>
                  <a:pt x="417" y="5"/>
                </a:moveTo>
                <a:cubicBezTo>
                  <a:pt x="417" y="6"/>
                  <a:pt x="414" y="6"/>
                  <a:pt x="412" y="5"/>
                </a:cubicBezTo>
                <a:cubicBezTo>
                  <a:pt x="412" y="6"/>
                  <a:pt x="415" y="6"/>
                  <a:pt x="416" y="7"/>
                </a:cubicBezTo>
                <a:cubicBezTo>
                  <a:pt x="416" y="7"/>
                  <a:pt x="417" y="7"/>
                  <a:pt x="418" y="7"/>
                </a:cubicBezTo>
                <a:cubicBezTo>
                  <a:pt x="413" y="6"/>
                  <a:pt x="418" y="6"/>
                  <a:pt x="419" y="6"/>
                </a:cubicBezTo>
                <a:cubicBezTo>
                  <a:pt x="419" y="6"/>
                  <a:pt x="419" y="5"/>
                  <a:pt x="417" y="5"/>
                </a:cubicBezTo>
                <a:close/>
                <a:moveTo>
                  <a:pt x="412" y="4"/>
                </a:moveTo>
                <a:cubicBezTo>
                  <a:pt x="409" y="4"/>
                  <a:pt x="409" y="5"/>
                  <a:pt x="410" y="5"/>
                </a:cubicBezTo>
                <a:cubicBezTo>
                  <a:pt x="409" y="4"/>
                  <a:pt x="414" y="5"/>
                  <a:pt x="413" y="5"/>
                </a:cubicBezTo>
                <a:cubicBezTo>
                  <a:pt x="410" y="4"/>
                  <a:pt x="413" y="4"/>
                  <a:pt x="412" y="4"/>
                </a:cubicBezTo>
                <a:close/>
                <a:moveTo>
                  <a:pt x="409" y="5"/>
                </a:moveTo>
                <a:cubicBezTo>
                  <a:pt x="405" y="5"/>
                  <a:pt x="405" y="5"/>
                  <a:pt x="405" y="5"/>
                </a:cubicBezTo>
                <a:cubicBezTo>
                  <a:pt x="404" y="6"/>
                  <a:pt x="408" y="6"/>
                  <a:pt x="407" y="7"/>
                </a:cubicBezTo>
                <a:cubicBezTo>
                  <a:pt x="409" y="7"/>
                  <a:pt x="409" y="7"/>
                  <a:pt x="412" y="8"/>
                </a:cubicBezTo>
                <a:cubicBezTo>
                  <a:pt x="411" y="7"/>
                  <a:pt x="404" y="6"/>
                  <a:pt x="409" y="5"/>
                </a:cubicBezTo>
                <a:close/>
                <a:moveTo>
                  <a:pt x="391" y="7"/>
                </a:moveTo>
                <a:cubicBezTo>
                  <a:pt x="393" y="7"/>
                  <a:pt x="395" y="7"/>
                  <a:pt x="397" y="7"/>
                </a:cubicBezTo>
                <a:cubicBezTo>
                  <a:pt x="397" y="7"/>
                  <a:pt x="397" y="7"/>
                  <a:pt x="397" y="7"/>
                </a:cubicBezTo>
                <a:cubicBezTo>
                  <a:pt x="395" y="7"/>
                  <a:pt x="393" y="7"/>
                  <a:pt x="391" y="7"/>
                </a:cubicBezTo>
                <a:close/>
                <a:moveTo>
                  <a:pt x="376" y="46"/>
                </a:moveTo>
                <a:cubicBezTo>
                  <a:pt x="376" y="47"/>
                  <a:pt x="379" y="47"/>
                  <a:pt x="380" y="47"/>
                </a:cubicBezTo>
                <a:cubicBezTo>
                  <a:pt x="378" y="47"/>
                  <a:pt x="378" y="46"/>
                  <a:pt x="376" y="46"/>
                </a:cubicBezTo>
                <a:close/>
                <a:moveTo>
                  <a:pt x="354" y="47"/>
                </a:moveTo>
                <a:cubicBezTo>
                  <a:pt x="353" y="48"/>
                  <a:pt x="359" y="47"/>
                  <a:pt x="359" y="47"/>
                </a:cubicBezTo>
                <a:cubicBezTo>
                  <a:pt x="357" y="47"/>
                  <a:pt x="357" y="46"/>
                  <a:pt x="354" y="47"/>
                </a:cubicBezTo>
                <a:close/>
                <a:moveTo>
                  <a:pt x="323" y="15"/>
                </a:moveTo>
                <a:cubicBezTo>
                  <a:pt x="323" y="16"/>
                  <a:pt x="322" y="16"/>
                  <a:pt x="324" y="16"/>
                </a:cubicBezTo>
                <a:cubicBezTo>
                  <a:pt x="326" y="16"/>
                  <a:pt x="326" y="15"/>
                  <a:pt x="323" y="15"/>
                </a:cubicBezTo>
                <a:close/>
                <a:moveTo>
                  <a:pt x="325" y="47"/>
                </a:moveTo>
                <a:cubicBezTo>
                  <a:pt x="324" y="48"/>
                  <a:pt x="328" y="47"/>
                  <a:pt x="329" y="46"/>
                </a:cubicBezTo>
                <a:cubicBezTo>
                  <a:pt x="327" y="47"/>
                  <a:pt x="327" y="46"/>
                  <a:pt x="325" y="47"/>
                </a:cubicBezTo>
                <a:close/>
                <a:moveTo>
                  <a:pt x="321" y="51"/>
                </a:moveTo>
                <a:cubicBezTo>
                  <a:pt x="324" y="50"/>
                  <a:pt x="323" y="50"/>
                  <a:pt x="321" y="51"/>
                </a:cubicBezTo>
                <a:cubicBezTo>
                  <a:pt x="323" y="51"/>
                  <a:pt x="325" y="50"/>
                  <a:pt x="327" y="50"/>
                </a:cubicBezTo>
                <a:cubicBezTo>
                  <a:pt x="328" y="50"/>
                  <a:pt x="328" y="49"/>
                  <a:pt x="328" y="49"/>
                </a:cubicBezTo>
                <a:cubicBezTo>
                  <a:pt x="325" y="50"/>
                  <a:pt x="321" y="49"/>
                  <a:pt x="321" y="51"/>
                </a:cubicBezTo>
                <a:close/>
                <a:moveTo>
                  <a:pt x="316" y="18"/>
                </a:moveTo>
                <a:cubicBezTo>
                  <a:pt x="319" y="17"/>
                  <a:pt x="317" y="18"/>
                  <a:pt x="320" y="18"/>
                </a:cubicBezTo>
                <a:cubicBezTo>
                  <a:pt x="319" y="17"/>
                  <a:pt x="321" y="17"/>
                  <a:pt x="321" y="16"/>
                </a:cubicBezTo>
                <a:cubicBezTo>
                  <a:pt x="318" y="17"/>
                  <a:pt x="319" y="17"/>
                  <a:pt x="317" y="17"/>
                </a:cubicBezTo>
                <a:cubicBezTo>
                  <a:pt x="317" y="17"/>
                  <a:pt x="317" y="17"/>
                  <a:pt x="316" y="18"/>
                </a:cubicBezTo>
                <a:close/>
                <a:moveTo>
                  <a:pt x="311" y="35"/>
                </a:moveTo>
                <a:cubicBezTo>
                  <a:pt x="312" y="34"/>
                  <a:pt x="316" y="34"/>
                  <a:pt x="315" y="34"/>
                </a:cubicBezTo>
                <a:cubicBezTo>
                  <a:pt x="314" y="34"/>
                  <a:pt x="308" y="35"/>
                  <a:pt x="311" y="35"/>
                </a:cubicBezTo>
                <a:close/>
                <a:moveTo>
                  <a:pt x="314" y="49"/>
                </a:moveTo>
                <a:cubicBezTo>
                  <a:pt x="314" y="50"/>
                  <a:pt x="318" y="49"/>
                  <a:pt x="318" y="49"/>
                </a:cubicBezTo>
                <a:lnTo>
                  <a:pt x="314" y="49"/>
                </a:lnTo>
                <a:close/>
                <a:moveTo>
                  <a:pt x="308" y="47"/>
                </a:moveTo>
                <a:cubicBezTo>
                  <a:pt x="308" y="48"/>
                  <a:pt x="314" y="46"/>
                  <a:pt x="315" y="46"/>
                </a:cubicBezTo>
                <a:cubicBezTo>
                  <a:pt x="315" y="46"/>
                  <a:pt x="315" y="45"/>
                  <a:pt x="316" y="45"/>
                </a:cubicBezTo>
                <a:cubicBezTo>
                  <a:pt x="313" y="46"/>
                  <a:pt x="309" y="47"/>
                  <a:pt x="308" y="47"/>
                </a:cubicBezTo>
                <a:close/>
                <a:moveTo>
                  <a:pt x="302" y="21"/>
                </a:moveTo>
                <a:cubicBezTo>
                  <a:pt x="305" y="21"/>
                  <a:pt x="305" y="20"/>
                  <a:pt x="306" y="20"/>
                </a:cubicBezTo>
                <a:cubicBezTo>
                  <a:pt x="306" y="19"/>
                  <a:pt x="307" y="19"/>
                  <a:pt x="307" y="19"/>
                </a:cubicBezTo>
                <a:cubicBezTo>
                  <a:pt x="304" y="20"/>
                  <a:pt x="303" y="20"/>
                  <a:pt x="302" y="21"/>
                </a:cubicBezTo>
                <a:close/>
                <a:moveTo>
                  <a:pt x="314" y="52"/>
                </a:moveTo>
                <a:cubicBezTo>
                  <a:pt x="313" y="52"/>
                  <a:pt x="311" y="53"/>
                  <a:pt x="311" y="53"/>
                </a:cubicBezTo>
                <a:cubicBezTo>
                  <a:pt x="314" y="52"/>
                  <a:pt x="313" y="53"/>
                  <a:pt x="315" y="52"/>
                </a:cubicBezTo>
                <a:cubicBezTo>
                  <a:pt x="315" y="52"/>
                  <a:pt x="315" y="52"/>
                  <a:pt x="314" y="52"/>
                </a:cubicBezTo>
                <a:close/>
                <a:moveTo>
                  <a:pt x="309" y="42"/>
                </a:moveTo>
                <a:cubicBezTo>
                  <a:pt x="307" y="43"/>
                  <a:pt x="305" y="43"/>
                  <a:pt x="304" y="44"/>
                </a:cubicBezTo>
                <a:cubicBezTo>
                  <a:pt x="306" y="44"/>
                  <a:pt x="309" y="43"/>
                  <a:pt x="310" y="42"/>
                </a:cubicBezTo>
                <a:cubicBezTo>
                  <a:pt x="310" y="42"/>
                  <a:pt x="310" y="41"/>
                  <a:pt x="309" y="41"/>
                </a:cubicBezTo>
                <a:lnTo>
                  <a:pt x="309" y="42"/>
                </a:lnTo>
                <a:close/>
                <a:moveTo>
                  <a:pt x="306" y="49"/>
                </a:moveTo>
                <a:cubicBezTo>
                  <a:pt x="308" y="49"/>
                  <a:pt x="309" y="49"/>
                  <a:pt x="310" y="49"/>
                </a:cubicBezTo>
                <a:cubicBezTo>
                  <a:pt x="310" y="48"/>
                  <a:pt x="310" y="48"/>
                  <a:pt x="311" y="48"/>
                </a:cubicBezTo>
                <a:cubicBezTo>
                  <a:pt x="311" y="48"/>
                  <a:pt x="311" y="48"/>
                  <a:pt x="311" y="48"/>
                </a:cubicBezTo>
                <a:cubicBezTo>
                  <a:pt x="308" y="49"/>
                  <a:pt x="307" y="48"/>
                  <a:pt x="306" y="49"/>
                </a:cubicBezTo>
                <a:close/>
                <a:moveTo>
                  <a:pt x="306" y="51"/>
                </a:moveTo>
                <a:cubicBezTo>
                  <a:pt x="307" y="51"/>
                  <a:pt x="308" y="50"/>
                  <a:pt x="309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10" y="50"/>
                  <a:pt x="310" y="50"/>
                  <a:pt x="310" y="50"/>
                </a:cubicBezTo>
                <a:cubicBezTo>
                  <a:pt x="307" y="50"/>
                  <a:pt x="304" y="51"/>
                  <a:pt x="306" y="51"/>
                </a:cubicBezTo>
                <a:close/>
                <a:moveTo>
                  <a:pt x="307" y="53"/>
                </a:moveTo>
                <a:cubicBezTo>
                  <a:pt x="309" y="53"/>
                  <a:pt x="306" y="54"/>
                  <a:pt x="306" y="54"/>
                </a:cubicBezTo>
                <a:cubicBezTo>
                  <a:pt x="309" y="54"/>
                  <a:pt x="310" y="53"/>
                  <a:pt x="311" y="52"/>
                </a:cubicBezTo>
                <a:cubicBezTo>
                  <a:pt x="310" y="52"/>
                  <a:pt x="308" y="53"/>
                  <a:pt x="307" y="53"/>
                </a:cubicBezTo>
                <a:close/>
                <a:moveTo>
                  <a:pt x="308" y="54"/>
                </a:moveTo>
                <a:cubicBezTo>
                  <a:pt x="305" y="55"/>
                  <a:pt x="306" y="55"/>
                  <a:pt x="305" y="56"/>
                </a:cubicBezTo>
                <a:cubicBezTo>
                  <a:pt x="308" y="55"/>
                  <a:pt x="309" y="56"/>
                  <a:pt x="310" y="55"/>
                </a:cubicBezTo>
                <a:cubicBezTo>
                  <a:pt x="308" y="55"/>
                  <a:pt x="308" y="55"/>
                  <a:pt x="308" y="54"/>
                </a:cubicBezTo>
                <a:close/>
                <a:moveTo>
                  <a:pt x="302" y="38"/>
                </a:moveTo>
                <a:cubicBezTo>
                  <a:pt x="300" y="39"/>
                  <a:pt x="300" y="39"/>
                  <a:pt x="300" y="40"/>
                </a:cubicBezTo>
                <a:cubicBezTo>
                  <a:pt x="303" y="39"/>
                  <a:pt x="303" y="39"/>
                  <a:pt x="302" y="38"/>
                </a:cubicBezTo>
                <a:close/>
                <a:moveTo>
                  <a:pt x="301" y="46"/>
                </a:moveTo>
                <a:cubicBezTo>
                  <a:pt x="300" y="47"/>
                  <a:pt x="300" y="47"/>
                  <a:pt x="299" y="47"/>
                </a:cubicBezTo>
                <a:cubicBezTo>
                  <a:pt x="299" y="47"/>
                  <a:pt x="297" y="48"/>
                  <a:pt x="299" y="48"/>
                </a:cubicBezTo>
                <a:cubicBezTo>
                  <a:pt x="300" y="47"/>
                  <a:pt x="305" y="45"/>
                  <a:pt x="302" y="46"/>
                </a:cubicBezTo>
                <a:cubicBezTo>
                  <a:pt x="302" y="46"/>
                  <a:pt x="301" y="46"/>
                  <a:pt x="301" y="46"/>
                </a:cubicBezTo>
                <a:close/>
                <a:moveTo>
                  <a:pt x="300" y="51"/>
                </a:moveTo>
                <a:cubicBezTo>
                  <a:pt x="300" y="51"/>
                  <a:pt x="303" y="50"/>
                  <a:pt x="303" y="50"/>
                </a:cubicBezTo>
                <a:cubicBezTo>
                  <a:pt x="301" y="50"/>
                  <a:pt x="297" y="52"/>
                  <a:pt x="300" y="51"/>
                </a:cubicBezTo>
                <a:close/>
                <a:moveTo>
                  <a:pt x="296" y="41"/>
                </a:moveTo>
                <a:cubicBezTo>
                  <a:pt x="296" y="40"/>
                  <a:pt x="297" y="40"/>
                  <a:pt x="297" y="40"/>
                </a:cubicBezTo>
                <a:cubicBezTo>
                  <a:pt x="294" y="40"/>
                  <a:pt x="293" y="42"/>
                  <a:pt x="296" y="41"/>
                </a:cubicBezTo>
                <a:close/>
                <a:moveTo>
                  <a:pt x="295" y="49"/>
                </a:moveTo>
                <a:cubicBezTo>
                  <a:pt x="293" y="50"/>
                  <a:pt x="294" y="51"/>
                  <a:pt x="297" y="51"/>
                </a:cubicBezTo>
                <a:cubicBezTo>
                  <a:pt x="298" y="50"/>
                  <a:pt x="294" y="50"/>
                  <a:pt x="297" y="49"/>
                </a:cubicBezTo>
                <a:cubicBezTo>
                  <a:pt x="296" y="49"/>
                  <a:pt x="296" y="49"/>
                  <a:pt x="295" y="49"/>
                </a:cubicBezTo>
                <a:close/>
                <a:moveTo>
                  <a:pt x="296" y="54"/>
                </a:moveTo>
                <a:cubicBezTo>
                  <a:pt x="296" y="55"/>
                  <a:pt x="294" y="55"/>
                  <a:pt x="294" y="55"/>
                </a:cubicBezTo>
                <a:cubicBezTo>
                  <a:pt x="294" y="56"/>
                  <a:pt x="294" y="56"/>
                  <a:pt x="295" y="57"/>
                </a:cubicBezTo>
                <a:cubicBezTo>
                  <a:pt x="293" y="57"/>
                  <a:pt x="293" y="57"/>
                  <a:pt x="293" y="57"/>
                </a:cubicBezTo>
                <a:cubicBezTo>
                  <a:pt x="293" y="58"/>
                  <a:pt x="293" y="58"/>
                  <a:pt x="292" y="58"/>
                </a:cubicBezTo>
                <a:cubicBezTo>
                  <a:pt x="294" y="58"/>
                  <a:pt x="294" y="58"/>
                  <a:pt x="295" y="58"/>
                </a:cubicBezTo>
                <a:cubicBezTo>
                  <a:pt x="293" y="58"/>
                  <a:pt x="293" y="57"/>
                  <a:pt x="297" y="57"/>
                </a:cubicBezTo>
                <a:cubicBezTo>
                  <a:pt x="297" y="56"/>
                  <a:pt x="295" y="56"/>
                  <a:pt x="295" y="56"/>
                </a:cubicBezTo>
                <a:cubicBezTo>
                  <a:pt x="295" y="55"/>
                  <a:pt x="299" y="54"/>
                  <a:pt x="298" y="54"/>
                </a:cubicBezTo>
                <a:cubicBezTo>
                  <a:pt x="297" y="55"/>
                  <a:pt x="297" y="54"/>
                  <a:pt x="296" y="54"/>
                </a:cubicBezTo>
                <a:close/>
                <a:moveTo>
                  <a:pt x="286" y="51"/>
                </a:moveTo>
                <a:cubicBezTo>
                  <a:pt x="286" y="52"/>
                  <a:pt x="282" y="52"/>
                  <a:pt x="282" y="53"/>
                </a:cubicBezTo>
                <a:cubicBezTo>
                  <a:pt x="285" y="52"/>
                  <a:pt x="292" y="51"/>
                  <a:pt x="293" y="49"/>
                </a:cubicBezTo>
                <a:cubicBezTo>
                  <a:pt x="289" y="50"/>
                  <a:pt x="289" y="51"/>
                  <a:pt x="286" y="51"/>
                </a:cubicBezTo>
                <a:close/>
                <a:moveTo>
                  <a:pt x="287" y="58"/>
                </a:moveTo>
                <a:cubicBezTo>
                  <a:pt x="291" y="56"/>
                  <a:pt x="292" y="55"/>
                  <a:pt x="293" y="54"/>
                </a:cubicBezTo>
                <a:cubicBezTo>
                  <a:pt x="288" y="56"/>
                  <a:pt x="290" y="56"/>
                  <a:pt x="287" y="58"/>
                </a:cubicBezTo>
                <a:close/>
                <a:moveTo>
                  <a:pt x="286" y="51"/>
                </a:moveTo>
                <a:cubicBezTo>
                  <a:pt x="288" y="50"/>
                  <a:pt x="291" y="49"/>
                  <a:pt x="291" y="48"/>
                </a:cubicBezTo>
                <a:cubicBezTo>
                  <a:pt x="289" y="49"/>
                  <a:pt x="285" y="51"/>
                  <a:pt x="286" y="51"/>
                </a:cubicBezTo>
                <a:close/>
                <a:moveTo>
                  <a:pt x="288" y="60"/>
                </a:moveTo>
                <a:cubicBezTo>
                  <a:pt x="289" y="60"/>
                  <a:pt x="294" y="59"/>
                  <a:pt x="294" y="59"/>
                </a:cubicBezTo>
                <a:cubicBezTo>
                  <a:pt x="293" y="59"/>
                  <a:pt x="289" y="59"/>
                  <a:pt x="288" y="60"/>
                </a:cubicBezTo>
                <a:close/>
                <a:moveTo>
                  <a:pt x="283" y="27"/>
                </a:moveTo>
                <a:cubicBezTo>
                  <a:pt x="276" y="29"/>
                  <a:pt x="276" y="29"/>
                  <a:pt x="276" y="29"/>
                </a:cubicBezTo>
                <a:cubicBezTo>
                  <a:pt x="277" y="30"/>
                  <a:pt x="274" y="30"/>
                  <a:pt x="274" y="31"/>
                </a:cubicBezTo>
                <a:cubicBezTo>
                  <a:pt x="278" y="29"/>
                  <a:pt x="276" y="29"/>
                  <a:pt x="281" y="28"/>
                </a:cubicBezTo>
                <a:cubicBezTo>
                  <a:pt x="281" y="28"/>
                  <a:pt x="279" y="29"/>
                  <a:pt x="280" y="29"/>
                </a:cubicBezTo>
                <a:cubicBezTo>
                  <a:pt x="282" y="28"/>
                  <a:pt x="282" y="29"/>
                  <a:pt x="284" y="28"/>
                </a:cubicBezTo>
                <a:cubicBezTo>
                  <a:pt x="285" y="27"/>
                  <a:pt x="281" y="28"/>
                  <a:pt x="283" y="27"/>
                </a:cubicBezTo>
                <a:close/>
                <a:moveTo>
                  <a:pt x="291" y="52"/>
                </a:moveTo>
                <a:cubicBezTo>
                  <a:pt x="291" y="51"/>
                  <a:pt x="289" y="52"/>
                  <a:pt x="291" y="51"/>
                </a:cubicBezTo>
                <a:cubicBezTo>
                  <a:pt x="285" y="53"/>
                  <a:pt x="289" y="53"/>
                  <a:pt x="291" y="52"/>
                </a:cubicBezTo>
                <a:close/>
                <a:moveTo>
                  <a:pt x="282" y="46"/>
                </a:moveTo>
                <a:cubicBezTo>
                  <a:pt x="282" y="46"/>
                  <a:pt x="281" y="46"/>
                  <a:pt x="281" y="47"/>
                </a:cubicBezTo>
                <a:cubicBezTo>
                  <a:pt x="283" y="46"/>
                  <a:pt x="285" y="46"/>
                  <a:pt x="286" y="45"/>
                </a:cubicBezTo>
                <a:cubicBezTo>
                  <a:pt x="284" y="45"/>
                  <a:pt x="284" y="45"/>
                  <a:pt x="282" y="46"/>
                </a:cubicBezTo>
                <a:close/>
                <a:moveTo>
                  <a:pt x="275" y="46"/>
                </a:moveTo>
                <a:cubicBezTo>
                  <a:pt x="277" y="46"/>
                  <a:pt x="280" y="44"/>
                  <a:pt x="281" y="44"/>
                </a:cubicBezTo>
                <a:cubicBezTo>
                  <a:pt x="282" y="44"/>
                  <a:pt x="286" y="42"/>
                  <a:pt x="284" y="42"/>
                </a:cubicBezTo>
                <a:cubicBezTo>
                  <a:pt x="283" y="43"/>
                  <a:pt x="276" y="45"/>
                  <a:pt x="275" y="46"/>
                </a:cubicBezTo>
                <a:close/>
                <a:moveTo>
                  <a:pt x="284" y="57"/>
                </a:moveTo>
                <a:cubicBezTo>
                  <a:pt x="285" y="56"/>
                  <a:pt x="283" y="55"/>
                  <a:pt x="287" y="54"/>
                </a:cubicBezTo>
                <a:cubicBezTo>
                  <a:pt x="288" y="53"/>
                  <a:pt x="286" y="54"/>
                  <a:pt x="285" y="54"/>
                </a:cubicBezTo>
                <a:cubicBezTo>
                  <a:pt x="284" y="55"/>
                  <a:pt x="285" y="55"/>
                  <a:pt x="283" y="56"/>
                </a:cubicBezTo>
                <a:cubicBezTo>
                  <a:pt x="282" y="56"/>
                  <a:pt x="285" y="56"/>
                  <a:pt x="281" y="57"/>
                </a:cubicBezTo>
                <a:cubicBezTo>
                  <a:pt x="281" y="58"/>
                  <a:pt x="283" y="57"/>
                  <a:pt x="284" y="57"/>
                </a:cubicBezTo>
                <a:cubicBezTo>
                  <a:pt x="283" y="57"/>
                  <a:pt x="283" y="57"/>
                  <a:pt x="284" y="57"/>
                </a:cubicBezTo>
                <a:close/>
                <a:moveTo>
                  <a:pt x="279" y="43"/>
                </a:moveTo>
                <a:cubicBezTo>
                  <a:pt x="279" y="43"/>
                  <a:pt x="279" y="43"/>
                  <a:pt x="280" y="43"/>
                </a:cubicBezTo>
                <a:cubicBezTo>
                  <a:pt x="280" y="43"/>
                  <a:pt x="283" y="42"/>
                  <a:pt x="283" y="42"/>
                </a:cubicBezTo>
                <a:cubicBezTo>
                  <a:pt x="281" y="42"/>
                  <a:pt x="281" y="42"/>
                  <a:pt x="279" y="43"/>
                </a:cubicBezTo>
                <a:close/>
                <a:moveTo>
                  <a:pt x="273" y="49"/>
                </a:moveTo>
                <a:cubicBezTo>
                  <a:pt x="277" y="47"/>
                  <a:pt x="276" y="49"/>
                  <a:pt x="277" y="48"/>
                </a:cubicBezTo>
                <a:cubicBezTo>
                  <a:pt x="278" y="48"/>
                  <a:pt x="278" y="48"/>
                  <a:pt x="278" y="47"/>
                </a:cubicBezTo>
                <a:cubicBezTo>
                  <a:pt x="276" y="48"/>
                  <a:pt x="274" y="48"/>
                  <a:pt x="273" y="49"/>
                </a:cubicBezTo>
                <a:close/>
                <a:moveTo>
                  <a:pt x="274" y="62"/>
                </a:moveTo>
                <a:cubicBezTo>
                  <a:pt x="273" y="62"/>
                  <a:pt x="272" y="63"/>
                  <a:pt x="272" y="63"/>
                </a:cubicBezTo>
                <a:cubicBezTo>
                  <a:pt x="273" y="62"/>
                  <a:pt x="274" y="63"/>
                  <a:pt x="275" y="62"/>
                </a:cubicBezTo>
                <a:cubicBezTo>
                  <a:pt x="274" y="62"/>
                  <a:pt x="281" y="60"/>
                  <a:pt x="282" y="59"/>
                </a:cubicBezTo>
                <a:cubicBezTo>
                  <a:pt x="281" y="60"/>
                  <a:pt x="280" y="60"/>
                  <a:pt x="280" y="60"/>
                </a:cubicBezTo>
                <a:cubicBezTo>
                  <a:pt x="279" y="60"/>
                  <a:pt x="280" y="59"/>
                  <a:pt x="278" y="59"/>
                </a:cubicBezTo>
                <a:cubicBezTo>
                  <a:pt x="279" y="60"/>
                  <a:pt x="277" y="60"/>
                  <a:pt x="275" y="61"/>
                </a:cubicBezTo>
                <a:cubicBezTo>
                  <a:pt x="276" y="61"/>
                  <a:pt x="275" y="61"/>
                  <a:pt x="274" y="62"/>
                </a:cubicBezTo>
                <a:close/>
                <a:moveTo>
                  <a:pt x="270" y="48"/>
                </a:moveTo>
                <a:cubicBezTo>
                  <a:pt x="270" y="49"/>
                  <a:pt x="273" y="48"/>
                  <a:pt x="276" y="47"/>
                </a:cubicBezTo>
                <a:cubicBezTo>
                  <a:pt x="273" y="47"/>
                  <a:pt x="273" y="46"/>
                  <a:pt x="271" y="47"/>
                </a:cubicBezTo>
                <a:cubicBezTo>
                  <a:pt x="272" y="47"/>
                  <a:pt x="274" y="47"/>
                  <a:pt x="270" y="48"/>
                </a:cubicBezTo>
                <a:close/>
                <a:moveTo>
                  <a:pt x="276" y="60"/>
                </a:moveTo>
                <a:cubicBezTo>
                  <a:pt x="276" y="60"/>
                  <a:pt x="277" y="59"/>
                  <a:pt x="276" y="59"/>
                </a:cubicBezTo>
                <a:cubicBezTo>
                  <a:pt x="270" y="61"/>
                  <a:pt x="269" y="62"/>
                  <a:pt x="276" y="60"/>
                </a:cubicBezTo>
                <a:close/>
                <a:moveTo>
                  <a:pt x="264" y="34"/>
                </a:moveTo>
                <a:cubicBezTo>
                  <a:pt x="262" y="34"/>
                  <a:pt x="261" y="35"/>
                  <a:pt x="261" y="35"/>
                </a:cubicBezTo>
                <a:cubicBezTo>
                  <a:pt x="263" y="35"/>
                  <a:pt x="265" y="34"/>
                  <a:pt x="265" y="34"/>
                </a:cubicBezTo>
                <a:cubicBezTo>
                  <a:pt x="264" y="34"/>
                  <a:pt x="264" y="34"/>
                  <a:pt x="264" y="34"/>
                </a:cubicBezTo>
                <a:close/>
                <a:moveTo>
                  <a:pt x="248" y="40"/>
                </a:moveTo>
                <a:cubicBezTo>
                  <a:pt x="250" y="40"/>
                  <a:pt x="247" y="41"/>
                  <a:pt x="248" y="41"/>
                </a:cubicBezTo>
                <a:cubicBezTo>
                  <a:pt x="251" y="40"/>
                  <a:pt x="250" y="40"/>
                  <a:pt x="252" y="39"/>
                </a:cubicBezTo>
                <a:cubicBezTo>
                  <a:pt x="252" y="39"/>
                  <a:pt x="252" y="40"/>
                  <a:pt x="253" y="39"/>
                </a:cubicBezTo>
                <a:cubicBezTo>
                  <a:pt x="254" y="39"/>
                  <a:pt x="253" y="39"/>
                  <a:pt x="254" y="38"/>
                </a:cubicBezTo>
                <a:cubicBezTo>
                  <a:pt x="257" y="37"/>
                  <a:pt x="256" y="38"/>
                  <a:pt x="259" y="36"/>
                </a:cubicBezTo>
                <a:cubicBezTo>
                  <a:pt x="260" y="36"/>
                  <a:pt x="260" y="36"/>
                  <a:pt x="260" y="35"/>
                </a:cubicBezTo>
                <a:cubicBezTo>
                  <a:pt x="258" y="36"/>
                  <a:pt x="258" y="36"/>
                  <a:pt x="256" y="36"/>
                </a:cubicBezTo>
                <a:cubicBezTo>
                  <a:pt x="258" y="36"/>
                  <a:pt x="253" y="38"/>
                  <a:pt x="254" y="37"/>
                </a:cubicBezTo>
                <a:cubicBezTo>
                  <a:pt x="251" y="38"/>
                  <a:pt x="252" y="39"/>
                  <a:pt x="250" y="40"/>
                </a:cubicBezTo>
                <a:cubicBezTo>
                  <a:pt x="250" y="39"/>
                  <a:pt x="251" y="39"/>
                  <a:pt x="250" y="39"/>
                </a:cubicBezTo>
                <a:cubicBezTo>
                  <a:pt x="245" y="41"/>
                  <a:pt x="242" y="42"/>
                  <a:pt x="238" y="44"/>
                </a:cubicBezTo>
                <a:cubicBezTo>
                  <a:pt x="237" y="45"/>
                  <a:pt x="241" y="44"/>
                  <a:pt x="239" y="45"/>
                </a:cubicBezTo>
                <a:cubicBezTo>
                  <a:pt x="235" y="46"/>
                  <a:pt x="238" y="43"/>
                  <a:pt x="235" y="45"/>
                </a:cubicBezTo>
                <a:cubicBezTo>
                  <a:pt x="236" y="45"/>
                  <a:pt x="236" y="46"/>
                  <a:pt x="238" y="45"/>
                </a:cubicBezTo>
                <a:cubicBezTo>
                  <a:pt x="239" y="44"/>
                  <a:pt x="241" y="44"/>
                  <a:pt x="242" y="44"/>
                </a:cubicBezTo>
                <a:cubicBezTo>
                  <a:pt x="243" y="43"/>
                  <a:pt x="241" y="44"/>
                  <a:pt x="242" y="43"/>
                </a:cubicBezTo>
                <a:cubicBezTo>
                  <a:pt x="245" y="42"/>
                  <a:pt x="246" y="41"/>
                  <a:pt x="248" y="40"/>
                </a:cubicBezTo>
                <a:close/>
                <a:moveTo>
                  <a:pt x="253" y="56"/>
                </a:moveTo>
                <a:cubicBezTo>
                  <a:pt x="253" y="57"/>
                  <a:pt x="253" y="57"/>
                  <a:pt x="254" y="57"/>
                </a:cubicBezTo>
                <a:cubicBezTo>
                  <a:pt x="257" y="55"/>
                  <a:pt x="256" y="56"/>
                  <a:pt x="258" y="55"/>
                </a:cubicBezTo>
                <a:cubicBezTo>
                  <a:pt x="258" y="55"/>
                  <a:pt x="263" y="53"/>
                  <a:pt x="264" y="52"/>
                </a:cubicBezTo>
                <a:cubicBezTo>
                  <a:pt x="260" y="53"/>
                  <a:pt x="255" y="56"/>
                  <a:pt x="253" y="56"/>
                </a:cubicBezTo>
                <a:close/>
                <a:moveTo>
                  <a:pt x="264" y="64"/>
                </a:moveTo>
                <a:cubicBezTo>
                  <a:pt x="267" y="64"/>
                  <a:pt x="264" y="65"/>
                  <a:pt x="263" y="65"/>
                </a:cubicBezTo>
                <a:cubicBezTo>
                  <a:pt x="263" y="66"/>
                  <a:pt x="263" y="66"/>
                  <a:pt x="264" y="66"/>
                </a:cubicBezTo>
                <a:cubicBezTo>
                  <a:pt x="264" y="65"/>
                  <a:pt x="265" y="66"/>
                  <a:pt x="267" y="65"/>
                </a:cubicBezTo>
                <a:cubicBezTo>
                  <a:pt x="268" y="64"/>
                  <a:pt x="268" y="64"/>
                  <a:pt x="268" y="63"/>
                </a:cubicBezTo>
                <a:cubicBezTo>
                  <a:pt x="267" y="64"/>
                  <a:pt x="265" y="63"/>
                  <a:pt x="264" y="64"/>
                </a:cubicBezTo>
                <a:close/>
                <a:moveTo>
                  <a:pt x="261" y="65"/>
                </a:moveTo>
                <a:cubicBezTo>
                  <a:pt x="261" y="65"/>
                  <a:pt x="261" y="65"/>
                  <a:pt x="261" y="65"/>
                </a:cubicBezTo>
                <a:cubicBezTo>
                  <a:pt x="263" y="65"/>
                  <a:pt x="266" y="63"/>
                  <a:pt x="264" y="63"/>
                </a:cubicBezTo>
                <a:cubicBezTo>
                  <a:pt x="264" y="64"/>
                  <a:pt x="263" y="64"/>
                  <a:pt x="261" y="65"/>
                </a:cubicBezTo>
                <a:close/>
                <a:moveTo>
                  <a:pt x="253" y="68"/>
                </a:moveTo>
                <a:cubicBezTo>
                  <a:pt x="255" y="68"/>
                  <a:pt x="258" y="67"/>
                  <a:pt x="259" y="67"/>
                </a:cubicBezTo>
                <a:cubicBezTo>
                  <a:pt x="258" y="67"/>
                  <a:pt x="261" y="66"/>
                  <a:pt x="260" y="66"/>
                </a:cubicBezTo>
                <a:cubicBezTo>
                  <a:pt x="257" y="67"/>
                  <a:pt x="256" y="67"/>
                  <a:pt x="253" y="68"/>
                </a:cubicBezTo>
                <a:close/>
                <a:moveTo>
                  <a:pt x="256" y="64"/>
                </a:moveTo>
                <a:cubicBezTo>
                  <a:pt x="258" y="64"/>
                  <a:pt x="255" y="65"/>
                  <a:pt x="257" y="65"/>
                </a:cubicBezTo>
                <a:cubicBezTo>
                  <a:pt x="258" y="64"/>
                  <a:pt x="257" y="64"/>
                  <a:pt x="258" y="63"/>
                </a:cubicBezTo>
                <a:lnTo>
                  <a:pt x="256" y="64"/>
                </a:lnTo>
                <a:close/>
                <a:moveTo>
                  <a:pt x="249" y="75"/>
                </a:moveTo>
                <a:cubicBezTo>
                  <a:pt x="249" y="75"/>
                  <a:pt x="249" y="75"/>
                  <a:pt x="248" y="75"/>
                </a:cubicBezTo>
                <a:cubicBezTo>
                  <a:pt x="247" y="75"/>
                  <a:pt x="250" y="73"/>
                  <a:pt x="247" y="74"/>
                </a:cubicBezTo>
                <a:cubicBezTo>
                  <a:pt x="250" y="74"/>
                  <a:pt x="243" y="77"/>
                  <a:pt x="246" y="77"/>
                </a:cubicBezTo>
                <a:cubicBezTo>
                  <a:pt x="246" y="77"/>
                  <a:pt x="247" y="76"/>
                  <a:pt x="247" y="76"/>
                </a:cubicBezTo>
                <a:cubicBezTo>
                  <a:pt x="246" y="77"/>
                  <a:pt x="246" y="77"/>
                  <a:pt x="247" y="77"/>
                </a:cubicBezTo>
                <a:cubicBezTo>
                  <a:pt x="249" y="75"/>
                  <a:pt x="255" y="74"/>
                  <a:pt x="257" y="72"/>
                </a:cubicBezTo>
                <a:cubicBezTo>
                  <a:pt x="255" y="72"/>
                  <a:pt x="252" y="74"/>
                  <a:pt x="249" y="75"/>
                </a:cubicBezTo>
                <a:close/>
                <a:moveTo>
                  <a:pt x="248" y="62"/>
                </a:moveTo>
                <a:cubicBezTo>
                  <a:pt x="250" y="61"/>
                  <a:pt x="251" y="61"/>
                  <a:pt x="251" y="60"/>
                </a:cubicBezTo>
                <a:cubicBezTo>
                  <a:pt x="249" y="61"/>
                  <a:pt x="248" y="62"/>
                  <a:pt x="248" y="62"/>
                </a:cubicBezTo>
                <a:close/>
                <a:moveTo>
                  <a:pt x="246" y="67"/>
                </a:moveTo>
                <a:cubicBezTo>
                  <a:pt x="243" y="68"/>
                  <a:pt x="245" y="69"/>
                  <a:pt x="248" y="68"/>
                </a:cubicBezTo>
                <a:cubicBezTo>
                  <a:pt x="248" y="67"/>
                  <a:pt x="246" y="68"/>
                  <a:pt x="246" y="67"/>
                </a:cubicBezTo>
                <a:close/>
                <a:moveTo>
                  <a:pt x="244" y="65"/>
                </a:moveTo>
                <a:cubicBezTo>
                  <a:pt x="243" y="65"/>
                  <a:pt x="245" y="64"/>
                  <a:pt x="245" y="63"/>
                </a:cubicBezTo>
                <a:cubicBezTo>
                  <a:pt x="242" y="64"/>
                  <a:pt x="242" y="66"/>
                  <a:pt x="244" y="65"/>
                </a:cubicBezTo>
                <a:close/>
                <a:moveTo>
                  <a:pt x="241" y="72"/>
                </a:moveTo>
                <a:cubicBezTo>
                  <a:pt x="241" y="72"/>
                  <a:pt x="241" y="71"/>
                  <a:pt x="240" y="71"/>
                </a:cubicBezTo>
                <a:cubicBezTo>
                  <a:pt x="240" y="72"/>
                  <a:pt x="239" y="72"/>
                  <a:pt x="239" y="72"/>
                </a:cubicBezTo>
                <a:cubicBezTo>
                  <a:pt x="239" y="72"/>
                  <a:pt x="238" y="73"/>
                  <a:pt x="238" y="73"/>
                </a:cubicBezTo>
                <a:cubicBezTo>
                  <a:pt x="242" y="71"/>
                  <a:pt x="237" y="74"/>
                  <a:pt x="239" y="74"/>
                </a:cubicBezTo>
                <a:cubicBezTo>
                  <a:pt x="243" y="71"/>
                  <a:pt x="246" y="72"/>
                  <a:pt x="248" y="70"/>
                </a:cubicBezTo>
                <a:cubicBezTo>
                  <a:pt x="245" y="70"/>
                  <a:pt x="241" y="73"/>
                  <a:pt x="239" y="73"/>
                </a:cubicBezTo>
                <a:cubicBezTo>
                  <a:pt x="239" y="73"/>
                  <a:pt x="240" y="72"/>
                  <a:pt x="241" y="72"/>
                </a:cubicBezTo>
                <a:close/>
                <a:moveTo>
                  <a:pt x="239" y="71"/>
                </a:moveTo>
                <a:cubicBezTo>
                  <a:pt x="236" y="72"/>
                  <a:pt x="237" y="73"/>
                  <a:pt x="236" y="74"/>
                </a:cubicBezTo>
                <a:cubicBezTo>
                  <a:pt x="238" y="73"/>
                  <a:pt x="239" y="72"/>
                  <a:pt x="239" y="71"/>
                </a:cubicBezTo>
                <a:close/>
                <a:moveTo>
                  <a:pt x="226" y="49"/>
                </a:moveTo>
                <a:cubicBezTo>
                  <a:pt x="226" y="48"/>
                  <a:pt x="225" y="49"/>
                  <a:pt x="227" y="47"/>
                </a:cubicBezTo>
                <a:cubicBezTo>
                  <a:pt x="225" y="49"/>
                  <a:pt x="222" y="49"/>
                  <a:pt x="221" y="51"/>
                </a:cubicBezTo>
                <a:cubicBezTo>
                  <a:pt x="225" y="49"/>
                  <a:pt x="224" y="50"/>
                  <a:pt x="226" y="50"/>
                </a:cubicBezTo>
                <a:cubicBezTo>
                  <a:pt x="224" y="51"/>
                  <a:pt x="224" y="51"/>
                  <a:pt x="222" y="51"/>
                </a:cubicBezTo>
                <a:cubicBezTo>
                  <a:pt x="223" y="52"/>
                  <a:pt x="227" y="50"/>
                  <a:pt x="230" y="49"/>
                </a:cubicBezTo>
                <a:cubicBezTo>
                  <a:pt x="230" y="48"/>
                  <a:pt x="230" y="48"/>
                  <a:pt x="231" y="47"/>
                </a:cubicBezTo>
                <a:cubicBezTo>
                  <a:pt x="231" y="47"/>
                  <a:pt x="231" y="48"/>
                  <a:pt x="233" y="47"/>
                </a:cubicBezTo>
                <a:cubicBezTo>
                  <a:pt x="233" y="46"/>
                  <a:pt x="233" y="46"/>
                  <a:pt x="233" y="46"/>
                </a:cubicBezTo>
                <a:cubicBezTo>
                  <a:pt x="229" y="48"/>
                  <a:pt x="228" y="48"/>
                  <a:pt x="226" y="49"/>
                </a:cubicBezTo>
                <a:close/>
                <a:moveTo>
                  <a:pt x="235" y="57"/>
                </a:moveTo>
                <a:cubicBezTo>
                  <a:pt x="233" y="58"/>
                  <a:pt x="231" y="59"/>
                  <a:pt x="230" y="59"/>
                </a:cubicBezTo>
                <a:cubicBezTo>
                  <a:pt x="228" y="60"/>
                  <a:pt x="231" y="59"/>
                  <a:pt x="232" y="59"/>
                </a:cubicBezTo>
                <a:cubicBezTo>
                  <a:pt x="232" y="59"/>
                  <a:pt x="231" y="59"/>
                  <a:pt x="233" y="58"/>
                </a:cubicBezTo>
                <a:cubicBezTo>
                  <a:pt x="233" y="58"/>
                  <a:pt x="233" y="59"/>
                  <a:pt x="232" y="59"/>
                </a:cubicBezTo>
                <a:cubicBezTo>
                  <a:pt x="234" y="58"/>
                  <a:pt x="236" y="58"/>
                  <a:pt x="236" y="57"/>
                </a:cubicBezTo>
                <a:cubicBezTo>
                  <a:pt x="235" y="57"/>
                  <a:pt x="235" y="57"/>
                  <a:pt x="235" y="57"/>
                </a:cubicBezTo>
                <a:close/>
                <a:moveTo>
                  <a:pt x="235" y="64"/>
                </a:moveTo>
                <a:cubicBezTo>
                  <a:pt x="237" y="63"/>
                  <a:pt x="235" y="65"/>
                  <a:pt x="235" y="65"/>
                </a:cubicBezTo>
                <a:cubicBezTo>
                  <a:pt x="238" y="64"/>
                  <a:pt x="238" y="64"/>
                  <a:pt x="238" y="63"/>
                </a:cubicBezTo>
                <a:cubicBezTo>
                  <a:pt x="237" y="64"/>
                  <a:pt x="235" y="64"/>
                  <a:pt x="235" y="64"/>
                </a:cubicBezTo>
                <a:close/>
                <a:moveTo>
                  <a:pt x="230" y="61"/>
                </a:moveTo>
                <a:cubicBezTo>
                  <a:pt x="230" y="61"/>
                  <a:pt x="228" y="63"/>
                  <a:pt x="231" y="62"/>
                </a:cubicBezTo>
                <a:cubicBezTo>
                  <a:pt x="230" y="62"/>
                  <a:pt x="232" y="60"/>
                  <a:pt x="232" y="60"/>
                </a:cubicBezTo>
                <a:cubicBezTo>
                  <a:pt x="231" y="60"/>
                  <a:pt x="230" y="61"/>
                  <a:pt x="230" y="61"/>
                </a:cubicBezTo>
                <a:close/>
                <a:moveTo>
                  <a:pt x="227" y="61"/>
                </a:moveTo>
                <a:cubicBezTo>
                  <a:pt x="227" y="62"/>
                  <a:pt x="227" y="62"/>
                  <a:pt x="227" y="62"/>
                </a:cubicBezTo>
                <a:cubicBezTo>
                  <a:pt x="228" y="61"/>
                  <a:pt x="229" y="60"/>
                  <a:pt x="230" y="60"/>
                </a:cubicBezTo>
                <a:cubicBezTo>
                  <a:pt x="230" y="60"/>
                  <a:pt x="229" y="60"/>
                  <a:pt x="227" y="61"/>
                </a:cubicBezTo>
                <a:close/>
                <a:moveTo>
                  <a:pt x="225" y="71"/>
                </a:moveTo>
                <a:cubicBezTo>
                  <a:pt x="228" y="69"/>
                  <a:pt x="229" y="68"/>
                  <a:pt x="232" y="66"/>
                </a:cubicBezTo>
                <a:cubicBezTo>
                  <a:pt x="230" y="67"/>
                  <a:pt x="232" y="66"/>
                  <a:pt x="232" y="65"/>
                </a:cubicBezTo>
                <a:cubicBezTo>
                  <a:pt x="230" y="67"/>
                  <a:pt x="226" y="67"/>
                  <a:pt x="226" y="68"/>
                </a:cubicBezTo>
                <a:cubicBezTo>
                  <a:pt x="227" y="69"/>
                  <a:pt x="228" y="67"/>
                  <a:pt x="230" y="67"/>
                </a:cubicBezTo>
                <a:cubicBezTo>
                  <a:pt x="230" y="67"/>
                  <a:pt x="231" y="67"/>
                  <a:pt x="231" y="67"/>
                </a:cubicBezTo>
                <a:cubicBezTo>
                  <a:pt x="228" y="69"/>
                  <a:pt x="225" y="70"/>
                  <a:pt x="225" y="71"/>
                </a:cubicBezTo>
                <a:close/>
                <a:moveTo>
                  <a:pt x="228" y="73"/>
                </a:moveTo>
                <a:cubicBezTo>
                  <a:pt x="228" y="73"/>
                  <a:pt x="228" y="72"/>
                  <a:pt x="226" y="73"/>
                </a:cubicBezTo>
                <a:cubicBezTo>
                  <a:pt x="227" y="74"/>
                  <a:pt x="227" y="74"/>
                  <a:pt x="227" y="74"/>
                </a:cubicBezTo>
                <a:cubicBezTo>
                  <a:pt x="228" y="73"/>
                  <a:pt x="231" y="72"/>
                  <a:pt x="230" y="72"/>
                </a:cubicBezTo>
                <a:lnTo>
                  <a:pt x="228" y="73"/>
                </a:lnTo>
                <a:close/>
                <a:moveTo>
                  <a:pt x="221" y="77"/>
                </a:moveTo>
                <a:cubicBezTo>
                  <a:pt x="221" y="77"/>
                  <a:pt x="224" y="76"/>
                  <a:pt x="225" y="76"/>
                </a:cubicBezTo>
                <a:cubicBezTo>
                  <a:pt x="224" y="77"/>
                  <a:pt x="222" y="78"/>
                  <a:pt x="221" y="79"/>
                </a:cubicBezTo>
                <a:cubicBezTo>
                  <a:pt x="223" y="78"/>
                  <a:pt x="225" y="77"/>
                  <a:pt x="227" y="76"/>
                </a:cubicBezTo>
                <a:cubicBezTo>
                  <a:pt x="228" y="75"/>
                  <a:pt x="227" y="75"/>
                  <a:pt x="226" y="74"/>
                </a:cubicBezTo>
                <a:cubicBezTo>
                  <a:pt x="224" y="75"/>
                  <a:pt x="223" y="76"/>
                  <a:pt x="222" y="77"/>
                </a:cubicBezTo>
                <a:cubicBezTo>
                  <a:pt x="222" y="76"/>
                  <a:pt x="221" y="76"/>
                  <a:pt x="221" y="77"/>
                </a:cubicBezTo>
                <a:close/>
                <a:moveTo>
                  <a:pt x="224" y="73"/>
                </a:moveTo>
                <a:cubicBezTo>
                  <a:pt x="220" y="76"/>
                  <a:pt x="220" y="76"/>
                  <a:pt x="220" y="76"/>
                </a:cubicBezTo>
                <a:cubicBezTo>
                  <a:pt x="222" y="76"/>
                  <a:pt x="221" y="76"/>
                  <a:pt x="224" y="75"/>
                </a:cubicBezTo>
                <a:cubicBezTo>
                  <a:pt x="223" y="74"/>
                  <a:pt x="226" y="73"/>
                  <a:pt x="224" y="73"/>
                </a:cubicBezTo>
                <a:close/>
                <a:moveTo>
                  <a:pt x="206" y="64"/>
                </a:moveTo>
                <a:cubicBezTo>
                  <a:pt x="207" y="65"/>
                  <a:pt x="208" y="64"/>
                  <a:pt x="207" y="65"/>
                </a:cubicBezTo>
                <a:cubicBezTo>
                  <a:pt x="212" y="62"/>
                  <a:pt x="208" y="64"/>
                  <a:pt x="209" y="63"/>
                </a:cubicBezTo>
                <a:cubicBezTo>
                  <a:pt x="210" y="62"/>
                  <a:pt x="210" y="63"/>
                  <a:pt x="212" y="62"/>
                </a:cubicBezTo>
                <a:cubicBezTo>
                  <a:pt x="212" y="61"/>
                  <a:pt x="209" y="62"/>
                  <a:pt x="206" y="64"/>
                </a:cubicBezTo>
                <a:close/>
                <a:moveTo>
                  <a:pt x="197" y="73"/>
                </a:moveTo>
                <a:cubicBezTo>
                  <a:pt x="198" y="73"/>
                  <a:pt x="198" y="72"/>
                  <a:pt x="198" y="73"/>
                </a:cubicBezTo>
                <a:cubicBezTo>
                  <a:pt x="199" y="72"/>
                  <a:pt x="200" y="71"/>
                  <a:pt x="200" y="71"/>
                </a:cubicBezTo>
                <a:cubicBezTo>
                  <a:pt x="198" y="72"/>
                  <a:pt x="201" y="70"/>
                  <a:pt x="200" y="70"/>
                </a:cubicBezTo>
                <a:cubicBezTo>
                  <a:pt x="197" y="72"/>
                  <a:pt x="200" y="72"/>
                  <a:pt x="197" y="73"/>
                </a:cubicBezTo>
                <a:close/>
                <a:moveTo>
                  <a:pt x="196" y="70"/>
                </a:moveTo>
                <a:cubicBezTo>
                  <a:pt x="196" y="71"/>
                  <a:pt x="198" y="69"/>
                  <a:pt x="197" y="71"/>
                </a:cubicBezTo>
                <a:cubicBezTo>
                  <a:pt x="200" y="69"/>
                  <a:pt x="198" y="68"/>
                  <a:pt x="196" y="70"/>
                </a:cubicBezTo>
                <a:close/>
                <a:moveTo>
                  <a:pt x="191" y="75"/>
                </a:moveTo>
                <a:cubicBezTo>
                  <a:pt x="192" y="74"/>
                  <a:pt x="194" y="72"/>
                  <a:pt x="192" y="73"/>
                </a:cubicBezTo>
                <a:cubicBezTo>
                  <a:pt x="192" y="74"/>
                  <a:pt x="189" y="75"/>
                  <a:pt x="191" y="75"/>
                </a:cubicBezTo>
                <a:close/>
                <a:moveTo>
                  <a:pt x="187" y="76"/>
                </a:moveTo>
                <a:cubicBezTo>
                  <a:pt x="186" y="77"/>
                  <a:pt x="184" y="78"/>
                  <a:pt x="185" y="79"/>
                </a:cubicBezTo>
                <a:cubicBezTo>
                  <a:pt x="185" y="78"/>
                  <a:pt x="187" y="77"/>
                  <a:pt x="187" y="78"/>
                </a:cubicBezTo>
                <a:cubicBezTo>
                  <a:pt x="186" y="78"/>
                  <a:pt x="187" y="78"/>
                  <a:pt x="188" y="77"/>
                </a:cubicBezTo>
                <a:cubicBezTo>
                  <a:pt x="189" y="76"/>
                  <a:pt x="189" y="76"/>
                  <a:pt x="187" y="76"/>
                </a:cubicBezTo>
                <a:close/>
                <a:moveTo>
                  <a:pt x="186" y="75"/>
                </a:moveTo>
                <a:cubicBezTo>
                  <a:pt x="185" y="76"/>
                  <a:pt x="184" y="77"/>
                  <a:pt x="184" y="77"/>
                </a:cubicBezTo>
                <a:cubicBezTo>
                  <a:pt x="183" y="78"/>
                  <a:pt x="188" y="76"/>
                  <a:pt x="188" y="75"/>
                </a:cubicBezTo>
                <a:cubicBezTo>
                  <a:pt x="186" y="76"/>
                  <a:pt x="187" y="75"/>
                  <a:pt x="186" y="75"/>
                </a:cubicBezTo>
                <a:close/>
                <a:moveTo>
                  <a:pt x="186" y="95"/>
                </a:moveTo>
                <a:cubicBezTo>
                  <a:pt x="187" y="94"/>
                  <a:pt x="186" y="95"/>
                  <a:pt x="186" y="95"/>
                </a:cubicBezTo>
                <a:cubicBezTo>
                  <a:pt x="191" y="92"/>
                  <a:pt x="191" y="92"/>
                  <a:pt x="191" y="92"/>
                </a:cubicBezTo>
                <a:cubicBezTo>
                  <a:pt x="192" y="92"/>
                  <a:pt x="191" y="93"/>
                  <a:pt x="193" y="92"/>
                </a:cubicBezTo>
                <a:cubicBezTo>
                  <a:pt x="192" y="92"/>
                  <a:pt x="195" y="91"/>
                  <a:pt x="195" y="90"/>
                </a:cubicBezTo>
                <a:cubicBezTo>
                  <a:pt x="194" y="91"/>
                  <a:pt x="193" y="90"/>
                  <a:pt x="192" y="91"/>
                </a:cubicBezTo>
                <a:cubicBezTo>
                  <a:pt x="190" y="93"/>
                  <a:pt x="187" y="94"/>
                  <a:pt x="186" y="95"/>
                </a:cubicBezTo>
                <a:close/>
                <a:moveTo>
                  <a:pt x="178" y="81"/>
                </a:moveTo>
                <a:cubicBezTo>
                  <a:pt x="176" y="83"/>
                  <a:pt x="179" y="82"/>
                  <a:pt x="180" y="81"/>
                </a:cubicBezTo>
                <a:cubicBezTo>
                  <a:pt x="181" y="80"/>
                  <a:pt x="183" y="79"/>
                  <a:pt x="183" y="79"/>
                </a:cubicBezTo>
                <a:cubicBezTo>
                  <a:pt x="180" y="81"/>
                  <a:pt x="183" y="78"/>
                  <a:pt x="178" y="81"/>
                </a:cubicBezTo>
                <a:close/>
                <a:moveTo>
                  <a:pt x="182" y="80"/>
                </a:moveTo>
                <a:cubicBezTo>
                  <a:pt x="182" y="81"/>
                  <a:pt x="178" y="83"/>
                  <a:pt x="179" y="83"/>
                </a:cubicBezTo>
                <a:cubicBezTo>
                  <a:pt x="181" y="82"/>
                  <a:pt x="182" y="82"/>
                  <a:pt x="183" y="81"/>
                </a:cubicBezTo>
                <a:cubicBezTo>
                  <a:pt x="180" y="82"/>
                  <a:pt x="186" y="79"/>
                  <a:pt x="182" y="80"/>
                </a:cubicBezTo>
                <a:close/>
                <a:moveTo>
                  <a:pt x="182" y="82"/>
                </a:moveTo>
                <a:cubicBezTo>
                  <a:pt x="180" y="84"/>
                  <a:pt x="178" y="86"/>
                  <a:pt x="180" y="86"/>
                </a:cubicBezTo>
                <a:cubicBezTo>
                  <a:pt x="180" y="85"/>
                  <a:pt x="183" y="83"/>
                  <a:pt x="181" y="85"/>
                </a:cubicBezTo>
                <a:cubicBezTo>
                  <a:pt x="186" y="82"/>
                  <a:pt x="180" y="85"/>
                  <a:pt x="183" y="82"/>
                </a:cubicBezTo>
                <a:cubicBezTo>
                  <a:pt x="182" y="82"/>
                  <a:pt x="182" y="83"/>
                  <a:pt x="182" y="82"/>
                </a:cubicBezTo>
                <a:close/>
                <a:moveTo>
                  <a:pt x="165" y="91"/>
                </a:moveTo>
                <a:cubicBezTo>
                  <a:pt x="163" y="92"/>
                  <a:pt x="163" y="92"/>
                  <a:pt x="163" y="93"/>
                </a:cubicBezTo>
                <a:cubicBezTo>
                  <a:pt x="163" y="92"/>
                  <a:pt x="159" y="95"/>
                  <a:pt x="158" y="95"/>
                </a:cubicBezTo>
                <a:cubicBezTo>
                  <a:pt x="159" y="96"/>
                  <a:pt x="163" y="93"/>
                  <a:pt x="166" y="91"/>
                </a:cubicBezTo>
                <a:cubicBezTo>
                  <a:pt x="165" y="91"/>
                  <a:pt x="167" y="90"/>
                  <a:pt x="165" y="91"/>
                </a:cubicBezTo>
                <a:close/>
                <a:moveTo>
                  <a:pt x="167" y="91"/>
                </a:moveTo>
                <a:cubicBezTo>
                  <a:pt x="169" y="90"/>
                  <a:pt x="169" y="90"/>
                  <a:pt x="171" y="90"/>
                </a:cubicBezTo>
                <a:cubicBezTo>
                  <a:pt x="171" y="88"/>
                  <a:pt x="176" y="85"/>
                  <a:pt x="178" y="83"/>
                </a:cubicBezTo>
                <a:cubicBezTo>
                  <a:pt x="176" y="84"/>
                  <a:pt x="176" y="82"/>
                  <a:pt x="174" y="84"/>
                </a:cubicBezTo>
                <a:cubicBezTo>
                  <a:pt x="175" y="85"/>
                  <a:pt x="170" y="87"/>
                  <a:pt x="170" y="88"/>
                </a:cubicBezTo>
                <a:cubicBezTo>
                  <a:pt x="169" y="88"/>
                  <a:pt x="169" y="88"/>
                  <a:pt x="169" y="87"/>
                </a:cubicBezTo>
                <a:cubicBezTo>
                  <a:pt x="166" y="90"/>
                  <a:pt x="167" y="90"/>
                  <a:pt x="167" y="91"/>
                </a:cubicBezTo>
                <a:close/>
                <a:moveTo>
                  <a:pt x="173" y="93"/>
                </a:moveTo>
                <a:cubicBezTo>
                  <a:pt x="174" y="92"/>
                  <a:pt x="173" y="94"/>
                  <a:pt x="176" y="92"/>
                </a:cubicBezTo>
                <a:cubicBezTo>
                  <a:pt x="176" y="91"/>
                  <a:pt x="175" y="92"/>
                  <a:pt x="176" y="91"/>
                </a:cubicBezTo>
                <a:cubicBezTo>
                  <a:pt x="174" y="92"/>
                  <a:pt x="173" y="92"/>
                  <a:pt x="173" y="93"/>
                </a:cubicBezTo>
                <a:close/>
                <a:moveTo>
                  <a:pt x="174" y="104"/>
                </a:moveTo>
                <a:cubicBezTo>
                  <a:pt x="174" y="105"/>
                  <a:pt x="181" y="100"/>
                  <a:pt x="180" y="100"/>
                </a:cubicBezTo>
                <a:cubicBezTo>
                  <a:pt x="177" y="102"/>
                  <a:pt x="177" y="103"/>
                  <a:pt x="174" y="104"/>
                </a:cubicBezTo>
                <a:close/>
                <a:moveTo>
                  <a:pt x="164" y="99"/>
                </a:moveTo>
                <a:cubicBezTo>
                  <a:pt x="166" y="98"/>
                  <a:pt x="169" y="96"/>
                  <a:pt x="170" y="95"/>
                </a:cubicBezTo>
                <a:cubicBezTo>
                  <a:pt x="167" y="97"/>
                  <a:pt x="165" y="97"/>
                  <a:pt x="164" y="99"/>
                </a:cubicBezTo>
                <a:close/>
                <a:moveTo>
                  <a:pt x="159" y="99"/>
                </a:moveTo>
                <a:cubicBezTo>
                  <a:pt x="159" y="100"/>
                  <a:pt x="158" y="100"/>
                  <a:pt x="158" y="100"/>
                </a:cubicBezTo>
                <a:cubicBezTo>
                  <a:pt x="160" y="99"/>
                  <a:pt x="160" y="98"/>
                  <a:pt x="161" y="97"/>
                </a:cubicBezTo>
                <a:cubicBezTo>
                  <a:pt x="161" y="97"/>
                  <a:pt x="161" y="98"/>
                  <a:pt x="162" y="97"/>
                </a:cubicBezTo>
                <a:cubicBezTo>
                  <a:pt x="163" y="96"/>
                  <a:pt x="162" y="97"/>
                  <a:pt x="162" y="97"/>
                </a:cubicBezTo>
                <a:cubicBezTo>
                  <a:pt x="158" y="99"/>
                  <a:pt x="158" y="99"/>
                  <a:pt x="158" y="99"/>
                </a:cubicBezTo>
                <a:cubicBezTo>
                  <a:pt x="158" y="100"/>
                  <a:pt x="157" y="102"/>
                  <a:pt x="159" y="99"/>
                </a:cubicBezTo>
                <a:close/>
                <a:moveTo>
                  <a:pt x="153" y="99"/>
                </a:moveTo>
                <a:cubicBezTo>
                  <a:pt x="153" y="99"/>
                  <a:pt x="152" y="100"/>
                  <a:pt x="153" y="101"/>
                </a:cubicBezTo>
                <a:cubicBezTo>
                  <a:pt x="151" y="101"/>
                  <a:pt x="149" y="103"/>
                  <a:pt x="150" y="103"/>
                </a:cubicBezTo>
                <a:cubicBezTo>
                  <a:pt x="154" y="100"/>
                  <a:pt x="153" y="100"/>
                  <a:pt x="156" y="98"/>
                </a:cubicBezTo>
                <a:cubicBezTo>
                  <a:pt x="155" y="98"/>
                  <a:pt x="155" y="98"/>
                  <a:pt x="154" y="98"/>
                </a:cubicBezTo>
                <a:cubicBezTo>
                  <a:pt x="154" y="100"/>
                  <a:pt x="154" y="98"/>
                  <a:pt x="153" y="99"/>
                </a:cubicBezTo>
                <a:close/>
                <a:moveTo>
                  <a:pt x="160" y="120"/>
                </a:moveTo>
                <a:cubicBezTo>
                  <a:pt x="160" y="120"/>
                  <a:pt x="160" y="121"/>
                  <a:pt x="161" y="120"/>
                </a:cubicBezTo>
                <a:cubicBezTo>
                  <a:pt x="162" y="119"/>
                  <a:pt x="165" y="116"/>
                  <a:pt x="163" y="117"/>
                </a:cubicBezTo>
                <a:cubicBezTo>
                  <a:pt x="163" y="117"/>
                  <a:pt x="162" y="119"/>
                  <a:pt x="160" y="120"/>
                </a:cubicBezTo>
                <a:close/>
                <a:moveTo>
                  <a:pt x="150" y="106"/>
                </a:moveTo>
                <a:cubicBezTo>
                  <a:pt x="148" y="108"/>
                  <a:pt x="154" y="103"/>
                  <a:pt x="151" y="106"/>
                </a:cubicBezTo>
                <a:cubicBezTo>
                  <a:pt x="154" y="104"/>
                  <a:pt x="154" y="104"/>
                  <a:pt x="154" y="104"/>
                </a:cubicBezTo>
                <a:cubicBezTo>
                  <a:pt x="154" y="103"/>
                  <a:pt x="153" y="104"/>
                  <a:pt x="154" y="103"/>
                </a:cubicBezTo>
                <a:cubicBezTo>
                  <a:pt x="151" y="105"/>
                  <a:pt x="151" y="105"/>
                  <a:pt x="150" y="106"/>
                </a:cubicBezTo>
                <a:close/>
                <a:moveTo>
                  <a:pt x="146" y="105"/>
                </a:moveTo>
                <a:cubicBezTo>
                  <a:pt x="142" y="108"/>
                  <a:pt x="147" y="106"/>
                  <a:pt x="145" y="108"/>
                </a:cubicBezTo>
                <a:cubicBezTo>
                  <a:pt x="147" y="106"/>
                  <a:pt x="146" y="106"/>
                  <a:pt x="149" y="104"/>
                </a:cubicBezTo>
                <a:cubicBezTo>
                  <a:pt x="148" y="104"/>
                  <a:pt x="149" y="103"/>
                  <a:pt x="149" y="103"/>
                </a:cubicBezTo>
                <a:cubicBezTo>
                  <a:pt x="145" y="105"/>
                  <a:pt x="149" y="103"/>
                  <a:pt x="146" y="106"/>
                </a:cubicBezTo>
                <a:cubicBezTo>
                  <a:pt x="146" y="105"/>
                  <a:pt x="147" y="104"/>
                  <a:pt x="146" y="105"/>
                </a:cubicBezTo>
                <a:close/>
                <a:moveTo>
                  <a:pt x="153" y="120"/>
                </a:moveTo>
                <a:cubicBezTo>
                  <a:pt x="156" y="118"/>
                  <a:pt x="154" y="119"/>
                  <a:pt x="157" y="116"/>
                </a:cubicBezTo>
                <a:cubicBezTo>
                  <a:pt x="156" y="117"/>
                  <a:pt x="154" y="118"/>
                  <a:pt x="152" y="119"/>
                </a:cubicBezTo>
                <a:cubicBezTo>
                  <a:pt x="154" y="119"/>
                  <a:pt x="151" y="121"/>
                  <a:pt x="149" y="122"/>
                </a:cubicBezTo>
                <a:cubicBezTo>
                  <a:pt x="148" y="124"/>
                  <a:pt x="152" y="120"/>
                  <a:pt x="151" y="122"/>
                </a:cubicBezTo>
                <a:cubicBezTo>
                  <a:pt x="153" y="120"/>
                  <a:pt x="153" y="119"/>
                  <a:pt x="154" y="119"/>
                </a:cubicBezTo>
                <a:cubicBezTo>
                  <a:pt x="154" y="119"/>
                  <a:pt x="153" y="120"/>
                  <a:pt x="153" y="120"/>
                </a:cubicBezTo>
                <a:close/>
                <a:moveTo>
                  <a:pt x="136" y="117"/>
                </a:moveTo>
                <a:cubicBezTo>
                  <a:pt x="139" y="115"/>
                  <a:pt x="135" y="118"/>
                  <a:pt x="135" y="118"/>
                </a:cubicBezTo>
                <a:cubicBezTo>
                  <a:pt x="138" y="116"/>
                  <a:pt x="140" y="115"/>
                  <a:pt x="142" y="113"/>
                </a:cubicBezTo>
                <a:cubicBezTo>
                  <a:pt x="142" y="112"/>
                  <a:pt x="147" y="109"/>
                  <a:pt x="148" y="107"/>
                </a:cubicBezTo>
                <a:cubicBezTo>
                  <a:pt x="147" y="108"/>
                  <a:pt x="146" y="108"/>
                  <a:pt x="146" y="108"/>
                </a:cubicBezTo>
                <a:cubicBezTo>
                  <a:pt x="144" y="109"/>
                  <a:pt x="144" y="110"/>
                  <a:pt x="142" y="111"/>
                </a:cubicBezTo>
                <a:cubicBezTo>
                  <a:pt x="141" y="113"/>
                  <a:pt x="142" y="113"/>
                  <a:pt x="141" y="113"/>
                </a:cubicBezTo>
                <a:cubicBezTo>
                  <a:pt x="140" y="113"/>
                  <a:pt x="136" y="116"/>
                  <a:pt x="136" y="117"/>
                </a:cubicBezTo>
                <a:close/>
                <a:moveTo>
                  <a:pt x="153" y="123"/>
                </a:moveTo>
                <a:cubicBezTo>
                  <a:pt x="154" y="123"/>
                  <a:pt x="157" y="120"/>
                  <a:pt x="156" y="120"/>
                </a:cubicBezTo>
                <a:cubicBezTo>
                  <a:pt x="155" y="121"/>
                  <a:pt x="152" y="123"/>
                  <a:pt x="153" y="123"/>
                </a:cubicBezTo>
                <a:close/>
                <a:moveTo>
                  <a:pt x="137" y="109"/>
                </a:moveTo>
                <a:cubicBezTo>
                  <a:pt x="139" y="108"/>
                  <a:pt x="141" y="106"/>
                  <a:pt x="141" y="106"/>
                </a:cubicBezTo>
                <a:cubicBezTo>
                  <a:pt x="139" y="107"/>
                  <a:pt x="137" y="109"/>
                  <a:pt x="137" y="109"/>
                </a:cubicBezTo>
                <a:close/>
                <a:moveTo>
                  <a:pt x="136" y="114"/>
                </a:moveTo>
                <a:cubicBezTo>
                  <a:pt x="138" y="114"/>
                  <a:pt x="137" y="113"/>
                  <a:pt x="137" y="115"/>
                </a:cubicBezTo>
                <a:cubicBezTo>
                  <a:pt x="138" y="114"/>
                  <a:pt x="138" y="113"/>
                  <a:pt x="141" y="111"/>
                </a:cubicBezTo>
                <a:cubicBezTo>
                  <a:pt x="142" y="110"/>
                  <a:pt x="141" y="111"/>
                  <a:pt x="140" y="111"/>
                </a:cubicBezTo>
                <a:cubicBezTo>
                  <a:pt x="141" y="110"/>
                  <a:pt x="142" y="110"/>
                  <a:pt x="143" y="109"/>
                </a:cubicBezTo>
                <a:cubicBezTo>
                  <a:pt x="143" y="109"/>
                  <a:pt x="144" y="108"/>
                  <a:pt x="143" y="108"/>
                </a:cubicBezTo>
                <a:cubicBezTo>
                  <a:pt x="141" y="111"/>
                  <a:pt x="139" y="111"/>
                  <a:pt x="136" y="114"/>
                </a:cubicBezTo>
                <a:close/>
                <a:moveTo>
                  <a:pt x="142" y="117"/>
                </a:moveTo>
                <a:cubicBezTo>
                  <a:pt x="140" y="118"/>
                  <a:pt x="142" y="116"/>
                  <a:pt x="144" y="115"/>
                </a:cubicBezTo>
                <a:cubicBezTo>
                  <a:pt x="144" y="114"/>
                  <a:pt x="142" y="115"/>
                  <a:pt x="141" y="116"/>
                </a:cubicBezTo>
                <a:cubicBezTo>
                  <a:pt x="141" y="116"/>
                  <a:pt x="141" y="117"/>
                  <a:pt x="140" y="117"/>
                </a:cubicBezTo>
                <a:cubicBezTo>
                  <a:pt x="137" y="118"/>
                  <a:pt x="139" y="119"/>
                  <a:pt x="136" y="120"/>
                </a:cubicBezTo>
                <a:cubicBezTo>
                  <a:pt x="136" y="121"/>
                  <a:pt x="133" y="123"/>
                  <a:pt x="132" y="124"/>
                </a:cubicBezTo>
                <a:cubicBezTo>
                  <a:pt x="133" y="124"/>
                  <a:pt x="131" y="125"/>
                  <a:pt x="131" y="126"/>
                </a:cubicBezTo>
                <a:cubicBezTo>
                  <a:pt x="133" y="124"/>
                  <a:pt x="135" y="122"/>
                  <a:pt x="134" y="124"/>
                </a:cubicBezTo>
                <a:cubicBezTo>
                  <a:pt x="135" y="124"/>
                  <a:pt x="139" y="121"/>
                  <a:pt x="138" y="121"/>
                </a:cubicBezTo>
                <a:cubicBezTo>
                  <a:pt x="137" y="121"/>
                  <a:pt x="135" y="124"/>
                  <a:pt x="135" y="123"/>
                </a:cubicBezTo>
                <a:cubicBezTo>
                  <a:pt x="136" y="122"/>
                  <a:pt x="135" y="122"/>
                  <a:pt x="137" y="121"/>
                </a:cubicBezTo>
                <a:cubicBezTo>
                  <a:pt x="139" y="119"/>
                  <a:pt x="142" y="117"/>
                  <a:pt x="142" y="117"/>
                </a:cubicBezTo>
                <a:close/>
                <a:moveTo>
                  <a:pt x="143" y="118"/>
                </a:moveTo>
                <a:cubicBezTo>
                  <a:pt x="141" y="119"/>
                  <a:pt x="141" y="119"/>
                  <a:pt x="141" y="119"/>
                </a:cubicBezTo>
                <a:cubicBezTo>
                  <a:pt x="140" y="120"/>
                  <a:pt x="140" y="120"/>
                  <a:pt x="141" y="121"/>
                </a:cubicBezTo>
                <a:cubicBezTo>
                  <a:pt x="143" y="119"/>
                  <a:pt x="142" y="119"/>
                  <a:pt x="143" y="118"/>
                </a:cubicBezTo>
                <a:cubicBezTo>
                  <a:pt x="143" y="119"/>
                  <a:pt x="144" y="118"/>
                  <a:pt x="145" y="117"/>
                </a:cubicBezTo>
                <a:cubicBezTo>
                  <a:pt x="143" y="118"/>
                  <a:pt x="144" y="117"/>
                  <a:pt x="143" y="118"/>
                </a:cubicBezTo>
                <a:close/>
                <a:moveTo>
                  <a:pt x="146" y="128"/>
                </a:moveTo>
                <a:cubicBezTo>
                  <a:pt x="147" y="128"/>
                  <a:pt x="145" y="129"/>
                  <a:pt x="145" y="130"/>
                </a:cubicBezTo>
                <a:cubicBezTo>
                  <a:pt x="146" y="129"/>
                  <a:pt x="146" y="129"/>
                  <a:pt x="148" y="128"/>
                </a:cubicBezTo>
                <a:cubicBezTo>
                  <a:pt x="147" y="128"/>
                  <a:pt x="147" y="127"/>
                  <a:pt x="148" y="127"/>
                </a:cubicBezTo>
                <a:cubicBezTo>
                  <a:pt x="147" y="127"/>
                  <a:pt x="146" y="128"/>
                  <a:pt x="146" y="128"/>
                </a:cubicBezTo>
                <a:close/>
                <a:moveTo>
                  <a:pt x="133" y="117"/>
                </a:moveTo>
                <a:cubicBezTo>
                  <a:pt x="133" y="118"/>
                  <a:pt x="134" y="117"/>
                  <a:pt x="135" y="117"/>
                </a:cubicBezTo>
                <a:cubicBezTo>
                  <a:pt x="136" y="116"/>
                  <a:pt x="137" y="115"/>
                  <a:pt x="137" y="115"/>
                </a:cubicBezTo>
                <a:cubicBezTo>
                  <a:pt x="136" y="116"/>
                  <a:pt x="135" y="115"/>
                  <a:pt x="133" y="117"/>
                </a:cubicBezTo>
                <a:close/>
                <a:moveTo>
                  <a:pt x="144" y="129"/>
                </a:moveTo>
                <a:cubicBezTo>
                  <a:pt x="143" y="129"/>
                  <a:pt x="141" y="129"/>
                  <a:pt x="139" y="132"/>
                </a:cubicBezTo>
                <a:cubicBezTo>
                  <a:pt x="139" y="133"/>
                  <a:pt x="145" y="129"/>
                  <a:pt x="146" y="127"/>
                </a:cubicBezTo>
                <a:cubicBezTo>
                  <a:pt x="145" y="128"/>
                  <a:pt x="144" y="128"/>
                  <a:pt x="144" y="129"/>
                </a:cubicBezTo>
                <a:close/>
                <a:moveTo>
                  <a:pt x="133" y="117"/>
                </a:moveTo>
                <a:cubicBezTo>
                  <a:pt x="132" y="118"/>
                  <a:pt x="132" y="117"/>
                  <a:pt x="131" y="118"/>
                </a:cubicBezTo>
                <a:cubicBezTo>
                  <a:pt x="131" y="119"/>
                  <a:pt x="133" y="117"/>
                  <a:pt x="135" y="116"/>
                </a:cubicBezTo>
                <a:cubicBezTo>
                  <a:pt x="134" y="116"/>
                  <a:pt x="136" y="114"/>
                  <a:pt x="134" y="115"/>
                </a:cubicBezTo>
                <a:cubicBezTo>
                  <a:pt x="134" y="116"/>
                  <a:pt x="134" y="116"/>
                  <a:pt x="133" y="117"/>
                </a:cubicBezTo>
                <a:close/>
                <a:moveTo>
                  <a:pt x="138" y="122"/>
                </a:moveTo>
                <a:cubicBezTo>
                  <a:pt x="137" y="123"/>
                  <a:pt x="137" y="123"/>
                  <a:pt x="139" y="122"/>
                </a:cubicBezTo>
                <a:cubicBezTo>
                  <a:pt x="140" y="121"/>
                  <a:pt x="140" y="120"/>
                  <a:pt x="138" y="122"/>
                </a:cubicBezTo>
                <a:close/>
                <a:moveTo>
                  <a:pt x="139" y="137"/>
                </a:moveTo>
                <a:cubicBezTo>
                  <a:pt x="141" y="135"/>
                  <a:pt x="141" y="137"/>
                  <a:pt x="139" y="138"/>
                </a:cubicBezTo>
                <a:cubicBezTo>
                  <a:pt x="140" y="137"/>
                  <a:pt x="141" y="137"/>
                  <a:pt x="142" y="136"/>
                </a:cubicBezTo>
                <a:cubicBezTo>
                  <a:pt x="142" y="135"/>
                  <a:pt x="142" y="135"/>
                  <a:pt x="142" y="135"/>
                </a:cubicBezTo>
                <a:cubicBezTo>
                  <a:pt x="142" y="135"/>
                  <a:pt x="143" y="134"/>
                  <a:pt x="144" y="134"/>
                </a:cubicBezTo>
                <a:cubicBezTo>
                  <a:pt x="142" y="136"/>
                  <a:pt x="138" y="139"/>
                  <a:pt x="138" y="140"/>
                </a:cubicBezTo>
                <a:cubicBezTo>
                  <a:pt x="138" y="140"/>
                  <a:pt x="137" y="141"/>
                  <a:pt x="136" y="141"/>
                </a:cubicBezTo>
                <a:cubicBezTo>
                  <a:pt x="138" y="140"/>
                  <a:pt x="138" y="139"/>
                  <a:pt x="139" y="138"/>
                </a:cubicBezTo>
                <a:cubicBezTo>
                  <a:pt x="139" y="137"/>
                  <a:pt x="136" y="138"/>
                  <a:pt x="133" y="141"/>
                </a:cubicBezTo>
                <a:cubicBezTo>
                  <a:pt x="134" y="141"/>
                  <a:pt x="136" y="139"/>
                  <a:pt x="137" y="139"/>
                </a:cubicBezTo>
                <a:cubicBezTo>
                  <a:pt x="137" y="139"/>
                  <a:pt x="138" y="139"/>
                  <a:pt x="138" y="139"/>
                </a:cubicBezTo>
                <a:cubicBezTo>
                  <a:pt x="135" y="142"/>
                  <a:pt x="132" y="145"/>
                  <a:pt x="132" y="146"/>
                </a:cubicBezTo>
                <a:cubicBezTo>
                  <a:pt x="133" y="145"/>
                  <a:pt x="135" y="144"/>
                  <a:pt x="135" y="143"/>
                </a:cubicBezTo>
                <a:cubicBezTo>
                  <a:pt x="134" y="144"/>
                  <a:pt x="134" y="144"/>
                  <a:pt x="134" y="144"/>
                </a:cubicBezTo>
                <a:cubicBezTo>
                  <a:pt x="135" y="144"/>
                  <a:pt x="136" y="142"/>
                  <a:pt x="136" y="142"/>
                </a:cubicBezTo>
                <a:cubicBezTo>
                  <a:pt x="137" y="142"/>
                  <a:pt x="134" y="145"/>
                  <a:pt x="137" y="143"/>
                </a:cubicBezTo>
                <a:cubicBezTo>
                  <a:pt x="136" y="142"/>
                  <a:pt x="139" y="141"/>
                  <a:pt x="140" y="141"/>
                </a:cubicBezTo>
                <a:cubicBezTo>
                  <a:pt x="139" y="140"/>
                  <a:pt x="141" y="139"/>
                  <a:pt x="141" y="139"/>
                </a:cubicBezTo>
                <a:cubicBezTo>
                  <a:pt x="140" y="139"/>
                  <a:pt x="140" y="139"/>
                  <a:pt x="141" y="138"/>
                </a:cubicBezTo>
                <a:cubicBezTo>
                  <a:pt x="144" y="136"/>
                  <a:pt x="146" y="134"/>
                  <a:pt x="148" y="133"/>
                </a:cubicBezTo>
                <a:cubicBezTo>
                  <a:pt x="147" y="133"/>
                  <a:pt x="143" y="135"/>
                  <a:pt x="146" y="132"/>
                </a:cubicBezTo>
                <a:cubicBezTo>
                  <a:pt x="143" y="133"/>
                  <a:pt x="141" y="134"/>
                  <a:pt x="139" y="137"/>
                </a:cubicBezTo>
                <a:close/>
                <a:moveTo>
                  <a:pt x="142" y="131"/>
                </a:moveTo>
                <a:cubicBezTo>
                  <a:pt x="142" y="131"/>
                  <a:pt x="143" y="132"/>
                  <a:pt x="144" y="130"/>
                </a:cubicBezTo>
                <a:cubicBezTo>
                  <a:pt x="144" y="130"/>
                  <a:pt x="144" y="130"/>
                  <a:pt x="144" y="129"/>
                </a:cubicBezTo>
                <a:cubicBezTo>
                  <a:pt x="144" y="130"/>
                  <a:pt x="143" y="130"/>
                  <a:pt x="142" y="131"/>
                </a:cubicBezTo>
                <a:close/>
                <a:moveTo>
                  <a:pt x="142" y="143"/>
                </a:moveTo>
                <a:cubicBezTo>
                  <a:pt x="142" y="143"/>
                  <a:pt x="145" y="140"/>
                  <a:pt x="145" y="142"/>
                </a:cubicBezTo>
                <a:cubicBezTo>
                  <a:pt x="147" y="140"/>
                  <a:pt x="149" y="139"/>
                  <a:pt x="150" y="138"/>
                </a:cubicBezTo>
                <a:cubicBezTo>
                  <a:pt x="148" y="139"/>
                  <a:pt x="147" y="140"/>
                  <a:pt x="146" y="140"/>
                </a:cubicBezTo>
                <a:cubicBezTo>
                  <a:pt x="147" y="139"/>
                  <a:pt x="147" y="139"/>
                  <a:pt x="148" y="138"/>
                </a:cubicBezTo>
                <a:cubicBezTo>
                  <a:pt x="147" y="139"/>
                  <a:pt x="150" y="137"/>
                  <a:pt x="150" y="137"/>
                </a:cubicBezTo>
                <a:cubicBezTo>
                  <a:pt x="148" y="138"/>
                  <a:pt x="142" y="142"/>
                  <a:pt x="142" y="143"/>
                </a:cubicBezTo>
                <a:close/>
                <a:moveTo>
                  <a:pt x="125" y="125"/>
                </a:moveTo>
                <a:cubicBezTo>
                  <a:pt x="126" y="125"/>
                  <a:pt x="128" y="123"/>
                  <a:pt x="128" y="124"/>
                </a:cubicBezTo>
                <a:cubicBezTo>
                  <a:pt x="126" y="126"/>
                  <a:pt x="124" y="127"/>
                  <a:pt x="124" y="128"/>
                </a:cubicBezTo>
                <a:cubicBezTo>
                  <a:pt x="129" y="124"/>
                  <a:pt x="129" y="124"/>
                  <a:pt x="129" y="124"/>
                </a:cubicBezTo>
                <a:cubicBezTo>
                  <a:pt x="128" y="123"/>
                  <a:pt x="132" y="121"/>
                  <a:pt x="131" y="120"/>
                </a:cubicBezTo>
                <a:cubicBezTo>
                  <a:pt x="129" y="122"/>
                  <a:pt x="127" y="123"/>
                  <a:pt x="125" y="125"/>
                </a:cubicBezTo>
                <a:close/>
                <a:moveTo>
                  <a:pt x="131" y="122"/>
                </a:moveTo>
                <a:cubicBezTo>
                  <a:pt x="132" y="122"/>
                  <a:pt x="131" y="122"/>
                  <a:pt x="131" y="123"/>
                </a:cubicBezTo>
                <a:cubicBezTo>
                  <a:pt x="132" y="122"/>
                  <a:pt x="132" y="121"/>
                  <a:pt x="133" y="120"/>
                </a:cubicBezTo>
                <a:cubicBezTo>
                  <a:pt x="134" y="120"/>
                  <a:pt x="134" y="120"/>
                  <a:pt x="134" y="120"/>
                </a:cubicBezTo>
                <a:cubicBezTo>
                  <a:pt x="133" y="120"/>
                  <a:pt x="135" y="117"/>
                  <a:pt x="131" y="119"/>
                </a:cubicBezTo>
                <a:cubicBezTo>
                  <a:pt x="131" y="120"/>
                  <a:pt x="134" y="119"/>
                  <a:pt x="131" y="122"/>
                </a:cubicBezTo>
                <a:close/>
                <a:moveTo>
                  <a:pt x="139" y="130"/>
                </a:moveTo>
                <a:cubicBezTo>
                  <a:pt x="138" y="132"/>
                  <a:pt x="142" y="129"/>
                  <a:pt x="142" y="129"/>
                </a:cubicBezTo>
                <a:lnTo>
                  <a:pt x="139" y="130"/>
                </a:lnTo>
                <a:close/>
                <a:moveTo>
                  <a:pt x="133" y="129"/>
                </a:moveTo>
                <a:cubicBezTo>
                  <a:pt x="135" y="127"/>
                  <a:pt x="136" y="126"/>
                  <a:pt x="135" y="126"/>
                </a:cubicBezTo>
                <a:cubicBezTo>
                  <a:pt x="133" y="128"/>
                  <a:pt x="132" y="129"/>
                  <a:pt x="133" y="129"/>
                </a:cubicBezTo>
                <a:close/>
                <a:moveTo>
                  <a:pt x="129" y="121"/>
                </a:moveTo>
                <a:cubicBezTo>
                  <a:pt x="128" y="120"/>
                  <a:pt x="126" y="121"/>
                  <a:pt x="124" y="124"/>
                </a:cubicBezTo>
                <a:cubicBezTo>
                  <a:pt x="125" y="123"/>
                  <a:pt x="125" y="123"/>
                  <a:pt x="124" y="124"/>
                </a:cubicBezTo>
                <a:cubicBezTo>
                  <a:pt x="123" y="124"/>
                  <a:pt x="121" y="127"/>
                  <a:pt x="120" y="128"/>
                </a:cubicBezTo>
                <a:cubicBezTo>
                  <a:pt x="121" y="128"/>
                  <a:pt x="121" y="128"/>
                  <a:pt x="120" y="130"/>
                </a:cubicBezTo>
                <a:cubicBezTo>
                  <a:pt x="121" y="129"/>
                  <a:pt x="121" y="129"/>
                  <a:pt x="121" y="129"/>
                </a:cubicBezTo>
                <a:cubicBezTo>
                  <a:pt x="125" y="126"/>
                  <a:pt x="124" y="125"/>
                  <a:pt x="128" y="123"/>
                </a:cubicBezTo>
                <a:cubicBezTo>
                  <a:pt x="127" y="122"/>
                  <a:pt x="126" y="123"/>
                  <a:pt x="129" y="121"/>
                </a:cubicBezTo>
                <a:close/>
                <a:moveTo>
                  <a:pt x="129" y="131"/>
                </a:moveTo>
                <a:cubicBezTo>
                  <a:pt x="130" y="130"/>
                  <a:pt x="133" y="127"/>
                  <a:pt x="134" y="126"/>
                </a:cubicBezTo>
                <a:cubicBezTo>
                  <a:pt x="131" y="128"/>
                  <a:pt x="130" y="130"/>
                  <a:pt x="129" y="131"/>
                </a:cubicBezTo>
                <a:close/>
                <a:moveTo>
                  <a:pt x="133" y="136"/>
                </a:moveTo>
                <a:cubicBezTo>
                  <a:pt x="135" y="136"/>
                  <a:pt x="137" y="136"/>
                  <a:pt x="139" y="133"/>
                </a:cubicBezTo>
                <a:cubicBezTo>
                  <a:pt x="136" y="135"/>
                  <a:pt x="136" y="134"/>
                  <a:pt x="133" y="136"/>
                </a:cubicBezTo>
                <a:close/>
                <a:moveTo>
                  <a:pt x="124" y="131"/>
                </a:moveTo>
                <a:cubicBezTo>
                  <a:pt x="125" y="131"/>
                  <a:pt x="125" y="131"/>
                  <a:pt x="124" y="132"/>
                </a:cubicBezTo>
                <a:cubicBezTo>
                  <a:pt x="126" y="131"/>
                  <a:pt x="131" y="127"/>
                  <a:pt x="128" y="128"/>
                </a:cubicBezTo>
                <a:cubicBezTo>
                  <a:pt x="128" y="129"/>
                  <a:pt x="126" y="130"/>
                  <a:pt x="124" y="131"/>
                </a:cubicBezTo>
                <a:close/>
                <a:moveTo>
                  <a:pt x="121" y="127"/>
                </a:moveTo>
                <a:cubicBezTo>
                  <a:pt x="121" y="126"/>
                  <a:pt x="121" y="125"/>
                  <a:pt x="123" y="124"/>
                </a:cubicBezTo>
                <a:cubicBezTo>
                  <a:pt x="120" y="126"/>
                  <a:pt x="117" y="127"/>
                  <a:pt x="117" y="128"/>
                </a:cubicBezTo>
                <a:cubicBezTo>
                  <a:pt x="118" y="128"/>
                  <a:pt x="120" y="126"/>
                  <a:pt x="121" y="126"/>
                </a:cubicBezTo>
                <a:cubicBezTo>
                  <a:pt x="120" y="126"/>
                  <a:pt x="119" y="128"/>
                  <a:pt x="121" y="127"/>
                </a:cubicBezTo>
                <a:close/>
                <a:moveTo>
                  <a:pt x="120" y="131"/>
                </a:moveTo>
                <a:cubicBezTo>
                  <a:pt x="121" y="131"/>
                  <a:pt x="122" y="131"/>
                  <a:pt x="124" y="129"/>
                </a:cubicBezTo>
                <a:cubicBezTo>
                  <a:pt x="124" y="128"/>
                  <a:pt x="121" y="130"/>
                  <a:pt x="120" y="131"/>
                </a:cubicBezTo>
                <a:close/>
                <a:moveTo>
                  <a:pt x="119" y="140"/>
                </a:moveTo>
                <a:cubicBezTo>
                  <a:pt x="121" y="139"/>
                  <a:pt x="122" y="137"/>
                  <a:pt x="124" y="135"/>
                </a:cubicBezTo>
                <a:cubicBezTo>
                  <a:pt x="124" y="134"/>
                  <a:pt x="124" y="134"/>
                  <a:pt x="124" y="134"/>
                </a:cubicBezTo>
                <a:cubicBezTo>
                  <a:pt x="121" y="137"/>
                  <a:pt x="119" y="139"/>
                  <a:pt x="119" y="140"/>
                </a:cubicBezTo>
                <a:close/>
                <a:moveTo>
                  <a:pt x="117" y="131"/>
                </a:moveTo>
                <a:cubicBezTo>
                  <a:pt x="119" y="130"/>
                  <a:pt x="117" y="130"/>
                  <a:pt x="118" y="129"/>
                </a:cubicBezTo>
                <a:cubicBezTo>
                  <a:pt x="116" y="131"/>
                  <a:pt x="116" y="131"/>
                  <a:pt x="117" y="131"/>
                </a:cubicBezTo>
                <a:close/>
                <a:moveTo>
                  <a:pt x="112" y="133"/>
                </a:moveTo>
                <a:cubicBezTo>
                  <a:pt x="112" y="134"/>
                  <a:pt x="114" y="132"/>
                  <a:pt x="113" y="133"/>
                </a:cubicBezTo>
                <a:cubicBezTo>
                  <a:pt x="117" y="130"/>
                  <a:pt x="114" y="131"/>
                  <a:pt x="112" y="133"/>
                </a:cubicBezTo>
                <a:close/>
                <a:moveTo>
                  <a:pt x="117" y="138"/>
                </a:moveTo>
                <a:cubicBezTo>
                  <a:pt x="116" y="140"/>
                  <a:pt x="113" y="143"/>
                  <a:pt x="114" y="143"/>
                </a:cubicBezTo>
                <a:cubicBezTo>
                  <a:pt x="117" y="140"/>
                  <a:pt x="116" y="140"/>
                  <a:pt x="119" y="137"/>
                </a:cubicBezTo>
                <a:cubicBezTo>
                  <a:pt x="118" y="138"/>
                  <a:pt x="118" y="137"/>
                  <a:pt x="117" y="138"/>
                </a:cubicBezTo>
                <a:close/>
                <a:moveTo>
                  <a:pt x="114" y="157"/>
                </a:moveTo>
                <a:cubicBezTo>
                  <a:pt x="112" y="158"/>
                  <a:pt x="113" y="158"/>
                  <a:pt x="111" y="158"/>
                </a:cubicBezTo>
                <a:cubicBezTo>
                  <a:pt x="113" y="158"/>
                  <a:pt x="109" y="161"/>
                  <a:pt x="109" y="161"/>
                </a:cubicBezTo>
                <a:cubicBezTo>
                  <a:pt x="111" y="159"/>
                  <a:pt x="109" y="160"/>
                  <a:pt x="108" y="161"/>
                </a:cubicBezTo>
                <a:cubicBezTo>
                  <a:pt x="108" y="162"/>
                  <a:pt x="107" y="163"/>
                  <a:pt x="107" y="164"/>
                </a:cubicBezTo>
                <a:cubicBezTo>
                  <a:pt x="105" y="166"/>
                  <a:pt x="105" y="164"/>
                  <a:pt x="102" y="167"/>
                </a:cubicBezTo>
                <a:cubicBezTo>
                  <a:pt x="102" y="169"/>
                  <a:pt x="103" y="167"/>
                  <a:pt x="104" y="167"/>
                </a:cubicBezTo>
                <a:cubicBezTo>
                  <a:pt x="103" y="168"/>
                  <a:pt x="102" y="168"/>
                  <a:pt x="101" y="169"/>
                </a:cubicBezTo>
                <a:cubicBezTo>
                  <a:pt x="103" y="169"/>
                  <a:pt x="106" y="166"/>
                  <a:pt x="107" y="164"/>
                </a:cubicBezTo>
                <a:cubicBezTo>
                  <a:pt x="106" y="167"/>
                  <a:pt x="101" y="172"/>
                  <a:pt x="99" y="173"/>
                </a:cubicBezTo>
                <a:cubicBezTo>
                  <a:pt x="99" y="173"/>
                  <a:pt x="99" y="175"/>
                  <a:pt x="98" y="175"/>
                </a:cubicBezTo>
                <a:cubicBezTo>
                  <a:pt x="98" y="175"/>
                  <a:pt x="99" y="175"/>
                  <a:pt x="98" y="175"/>
                </a:cubicBezTo>
                <a:cubicBezTo>
                  <a:pt x="99" y="175"/>
                  <a:pt x="98" y="175"/>
                  <a:pt x="99" y="175"/>
                </a:cubicBezTo>
                <a:cubicBezTo>
                  <a:pt x="99" y="175"/>
                  <a:pt x="100" y="174"/>
                  <a:pt x="100" y="174"/>
                </a:cubicBezTo>
                <a:cubicBezTo>
                  <a:pt x="100" y="174"/>
                  <a:pt x="100" y="174"/>
                  <a:pt x="100" y="174"/>
                </a:cubicBezTo>
                <a:cubicBezTo>
                  <a:pt x="101" y="172"/>
                  <a:pt x="101" y="172"/>
                  <a:pt x="101" y="172"/>
                </a:cubicBezTo>
                <a:cubicBezTo>
                  <a:pt x="102" y="172"/>
                  <a:pt x="103" y="171"/>
                  <a:pt x="104" y="170"/>
                </a:cubicBezTo>
                <a:cubicBezTo>
                  <a:pt x="103" y="170"/>
                  <a:pt x="106" y="168"/>
                  <a:pt x="106" y="167"/>
                </a:cubicBezTo>
                <a:cubicBezTo>
                  <a:pt x="108" y="166"/>
                  <a:pt x="114" y="158"/>
                  <a:pt x="117" y="157"/>
                </a:cubicBezTo>
                <a:cubicBezTo>
                  <a:pt x="117" y="157"/>
                  <a:pt x="116" y="157"/>
                  <a:pt x="117" y="156"/>
                </a:cubicBezTo>
                <a:cubicBezTo>
                  <a:pt x="119" y="155"/>
                  <a:pt x="120" y="153"/>
                  <a:pt x="123" y="151"/>
                </a:cubicBezTo>
                <a:cubicBezTo>
                  <a:pt x="122" y="150"/>
                  <a:pt x="125" y="150"/>
                  <a:pt x="126" y="148"/>
                </a:cubicBezTo>
                <a:cubicBezTo>
                  <a:pt x="126" y="148"/>
                  <a:pt x="127" y="147"/>
                  <a:pt x="126" y="147"/>
                </a:cubicBezTo>
                <a:cubicBezTo>
                  <a:pt x="123" y="150"/>
                  <a:pt x="122" y="148"/>
                  <a:pt x="120" y="151"/>
                </a:cubicBezTo>
                <a:cubicBezTo>
                  <a:pt x="121" y="150"/>
                  <a:pt x="120" y="153"/>
                  <a:pt x="119" y="153"/>
                </a:cubicBezTo>
                <a:cubicBezTo>
                  <a:pt x="119" y="152"/>
                  <a:pt x="117" y="155"/>
                  <a:pt x="116" y="155"/>
                </a:cubicBezTo>
                <a:cubicBezTo>
                  <a:pt x="117" y="154"/>
                  <a:pt x="118" y="153"/>
                  <a:pt x="118" y="152"/>
                </a:cubicBezTo>
                <a:cubicBezTo>
                  <a:pt x="117" y="154"/>
                  <a:pt x="116" y="154"/>
                  <a:pt x="116" y="154"/>
                </a:cubicBezTo>
                <a:cubicBezTo>
                  <a:pt x="116" y="154"/>
                  <a:pt x="117" y="153"/>
                  <a:pt x="117" y="153"/>
                </a:cubicBezTo>
                <a:cubicBezTo>
                  <a:pt x="115" y="155"/>
                  <a:pt x="115" y="155"/>
                  <a:pt x="114" y="157"/>
                </a:cubicBezTo>
                <a:close/>
                <a:moveTo>
                  <a:pt x="119" y="151"/>
                </a:moveTo>
                <a:cubicBezTo>
                  <a:pt x="120" y="150"/>
                  <a:pt x="121" y="149"/>
                  <a:pt x="121" y="148"/>
                </a:cubicBezTo>
                <a:cubicBezTo>
                  <a:pt x="120" y="149"/>
                  <a:pt x="119" y="149"/>
                  <a:pt x="118" y="151"/>
                </a:cubicBezTo>
                <a:cubicBezTo>
                  <a:pt x="118" y="152"/>
                  <a:pt x="119" y="150"/>
                  <a:pt x="120" y="150"/>
                </a:cubicBezTo>
                <a:cubicBezTo>
                  <a:pt x="119" y="151"/>
                  <a:pt x="118" y="152"/>
                  <a:pt x="119" y="151"/>
                </a:cubicBezTo>
                <a:close/>
                <a:moveTo>
                  <a:pt x="124" y="159"/>
                </a:moveTo>
                <a:cubicBezTo>
                  <a:pt x="125" y="159"/>
                  <a:pt x="128" y="159"/>
                  <a:pt x="128" y="157"/>
                </a:cubicBezTo>
                <a:cubicBezTo>
                  <a:pt x="125" y="160"/>
                  <a:pt x="127" y="156"/>
                  <a:pt x="124" y="159"/>
                </a:cubicBezTo>
                <a:close/>
                <a:moveTo>
                  <a:pt x="112" y="142"/>
                </a:moveTo>
                <a:cubicBezTo>
                  <a:pt x="110" y="143"/>
                  <a:pt x="109" y="144"/>
                  <a:pt x="109" y="145"/>
                </a:cubicBezTo>
                <a:cubicBezTo>
                  <a:pt x="110" y="145"/>
                  <a:pt x="111" y="143"/>
                  <a:pt x="112" y="142"/>
                </a:cubicBezTo>
                <a:cubicBezTo>
                  <a:pt x="112" y="143"/>
                  <a:pt x="112" y="143"/>
                  <a:pt x="113" y="142"/>
                </a:cubicBezTo>
                <a:cubicBezTo>
                  <a:pt x="113" y="142"/>
                  <a:pt x="112" y="142"/>
                  <a:pt x="112" y="142"/>
                </a:cubicBezTo>
                <a:close/>
                <a:moveTo>
                  <a:pt x="114" y="170"/>
                </a:moveTo>
                <a:cubicBezTo>
                  <a:pt x="115" y="170"/>
                  <a:pt x="118" y="166"/>
                  <a:pt x="117" y="166"/>
                </a:cubicBezTo>
                <a:cubicBezTo>
                  <a:pt x="115" y="168"/>
                  <a:pt x="116" y="167"/>
                  <a:pt x="114" y="170"/>
                </a:cubicBezTo>
                <a:close/>
                <a:moveTo>
                  <a:pt x="88" y="182"/>
                </a:moveTo>
                <a:cubicBezTo>
                  <a:pt x="88" y="182"/>
                  <a:pt x="89" y="182"/>
                  <a:pt x="89" y="181"/>
                </a:cubicBezTo>
                <a:cubicBezTo>
                  <a:pt x="88" y="181"/>
                  <a:pt x="88" y="182"/>
                  <a:pt x="88" y="182"/>
                </a:cubicBezTo>
                <a:close/>
                <a:moveTo>
                  <a:pt x="108" y="144"/>
                </a:moveTo>
                <a:cubicBezTo>
                  <a:pt x="106" y="144"/>
                  <a:pt x="109" y="142"/>
                  <a:pt x="108" y="142"/>
                </a:cubicBezTo>
                <a:cubicBezTo>
                  <a:pt x="107" y="142"/>
                  <a:pt x="103" y="145"/>
                  <a:pt x="103" y="145"/>
                </a:cubicBezTo>
                <a:cubicBezTo>
                  <a:pt x="105" y="144"/>
                  <a:pt x="106" y="145"/>
                  <a:pt x="107" y="144"/>
                </a:cubicBezTo>
                <a:cubicBezTo>
                  <a:pt x="109" y="143"/>
                  <a:pt x="109" y="143"/>
                  <a:pt x="110" y="141"/>
                </a:cubicBezTo>
                <a:cubicBezTo>
                  <a:pt x="110" y="141"/>
                  <a:pt x="110" y="141"/>
                  <a:pt x="110" y="141"/>
                </a:cubicBezTo>
                <a:cubicBezTo>
                  <a:pt x="107" y="143"/>
                  <a:pt x="110" y="142"/>
                  <a:pt x="108" y="144"/>
                </a:cubicBezTo>
                <a:close/>
                <a:moveTo>
                  <a:pt x="802" y="247"/>
                </a:moveTo>
                <a:cubicBezTo>
                  <a:pt x="799" y="242"/>
                  <a:pt x="799" y="242"/>
                  <a:pt x="799" y="242"/>
                </a:cubicBezTo>
                <a:cubicBezTo>
                  <a:pt x="798" y="242"/>
                  <a:pt x="801" y="247"/>
                  <a:pt x="801" y="246"/>
                </a:cubicBezTo>
                <a:cubicBezTo>
                  <a:pt x="801" y="247"/>
                  <a:pt x="801" y="247"/>
                  <a:pt x="801" y="247"/>
                </a:cubicBezTo>
                <a:cubicBezTo>
                  <a:pt x="800" y="244"/>
                  <a:pt x="802" y="246"/>
                  <a:pt x="802" y="247"/>
                </a:cubicBezTo>
                <a:close/>
                <a:moveTo>
                  <a:pt x="596" y="44"/>
                </a:moveTo>
                <a:cubicBezTo>
                  <a:pt x="592" y="42"/>
                  <a:pt x="592" y="42"/>
                  <a:pt x="592" y="42"/>
                </a:cubicBezTo>
                <a:cubicBezTo>
                  <a:pt x="592" y="43"/>
                  <a:pt x="593" y="43"/>
                  <a:pt x="594" y="44"/>
                </a:cubicBezTo>
                <a:cubicBezTo>
                  <a:pt x="591" y="43"/>
                  <a:pt x="597" y="45"/>
                  <a:pt x="596" y="44"/>
                </a:cubicBezTo>
                <a:close/>
                <a:moveTo>
                  <a:pt x="493" y="9"/>
                </a:moveTo>
                <a:cubicBezTo>
                  <a:pt x="495" y="10"/>
                  <a:pt x="500" y="11"/>
                  <a:pt x="502" y="11"/>
                </a:cubicBezTo>
                <a:cubicBezTo>
                  <a:pt x="500" y="10"/>
                  <a:pt x="492" y="9"/>
                  <a:pt x="493" y="9"/>
                </a:cubicBezTo>
                <a:close/>
                <a:moveTo>
                  <a:pt x="467" y="5"/>
                </a:moveTo>
                <a:cubicBezTo>
                  <a:pt x="469" y="5"/>
                  <a:pt x="477" y="7"/>
                  <a:pt x="475" y="6"/>
                </a:cubicBezTo>
                <a:cubicBezTo>
                  <a:pt x="473" y="6"/>
                  <a:pt x="466" y="4"/>
                  <a:pt x="466" y="5"/>
                </a:cubicBezTo>
                <a:cubicBezTo>
                  <a:pt x="467" y="6"/>
                  <a:pt x="469" y="7"/>
                  <a:pt x="470" y="6"/>
                </a:cubicBezTo>
                <a:cubicBezTo>
                  <a:pt x="469" y="6"/>
                  <a:pt x="468" y="6"/>
                  <a:pt x="467" y="5"/>
                </a:cubicBezTo>
                <a:close/>
                <a:moveTo>
                  <a:pt x="411" y="0"/>
                </a:moveTo>
                <a:cubicBezTo>
                  <a:pt x="410" y="0"/>
                  <a:pt x="406" y="0"/>
                  <a:pt x="404" y="1"/>
                </a:cubicBezTo>
                <a:cubicBezTo>
                  <a:pt x="407" y="1"/>
                  <a:pt x="411" y="1"/>
                  <a:pt x="414" y="1"/>
                </a:cubicBezTo>
                <a:cubicBezTo>
                  <a:pt x="413" y="1"/>
                  <a:pt x="411" y="1"/>
                  <a:pt x="412" y="1"/>
                </a:cubicBezTo>
                <a:cubicBezTo>
                  <a:pt x="413" y="1"/>
                  <a:pt x="417" y="0"/>
                  <a:pt x="415" y="0"/>
                </a:cubicBezTo>
                <a:cubicBezTo>
                  <a:pt x="415" y="1"/>
                  <a:pt x="413" y="0"/>
                  <a:pt x="411" y="0"/>
                </a:cubicBezTo>
                <a:close/>
                <a:moveTo>
                  <a:pt x="394" y="50"/>
                </a:moveTo>
                <a:cubicBezTo>
                  <a:pt x="394" y="49"/>
                  <a:pt x="401" y="50"/>
                  <a:pt x="399" y="50"/>
                </a:cubicBezTo>
                <a:cubicBezTo>
                  <a:pt x="399" y="49"/>
                  <a:pt x="391" y="49"/>
                  <a:pt x="394" y="50"/>
                </a:cubicBezTo>
                <a:close/>
                <a:moveTo>
                  <a:pt x="388" y="50"/>
                </a:moveTo>
                <a:cubicBezTo>
                  <a:pt x="389" y="50"/>
                  <a:pt x="391" y="51"/>
                  <a:pt x="393" y="50"/>
                </a:cubicBezTo>
                <a:cubicBezTo>
                  <a:pt x="384" y="50"/>
                  <a:pt x="379" y="50"/>
                  <a:pt x="376" y="50"/>
                </a:cubicBezTo>
                <a:cubicBezTo>
                  <a:pt x="379" y="50"/>
                  <a:pt x="373" y="51"/>
                  <a:pt x="376" y="51"/>
                </a:cubicBezTo>
                <a:cubicBezTo>
                  <a:pt x="378" y="50"/>
                  <a:pt x="383" y="51"/>
                  <a:pt x="382" y="50"/>
                </a:cubicBezTo>
                <a:cubicBezTo>
                  <a:pt x="383" y="50"/>
                  <a:pt x="386" y="50"/>
                  <a:pt x="388" y="50"/>
                </a:cubicBezTo>
                <a:close/>
                <a:moveTo>
                  <a:pt x="350" y="7"/>
                </a:moveTo>
                <a:cubicBezTo>
                  <a:pt x="351" y="6"/>
                  <a:pt x="358" y="6"/>
                  <a:pt x="359" y="6"/>
                </a:cubicBezTo>
                <a:cubicBezTo>
                  <a:pt x="355" y="6"/>
                  <a:pt x="351" y="7"/>
                  <a:pt x="349" y="7"/>
                </a:cubicBezTo>
                <a:cubicBezTo>
                  <a:pt x="350" y="7"/>
                  <a:pt x="350" y="7"/>
                  <a:pt x="350" y="7"/>
                </a:cubicBezTo>
                <a:cubicBezTo>
                  <a:pt x="350" y="7"/>
                  <a:pt x="349" y="7"/>
                  <a:pt x="350" y="7"/>
                </a:cubicBezTo>
                <a:close/>
                <a:moveTo>
                  <a:pt x="350" y="8"/>
                </a:moveTo>
                <a:cubicBezTo>
                  <a:pt x="350" y="8"/>
                  <a:pt x="350" y="8"/>
                  <a:pt x="351" y="7"/>
                </a:cubicBezTo>
                <a:cubicBezTo>
                  <a:pt x="348" y="8"/>
                  <a:pt x="348" y="7"/>
                  <a:pt x="347" y="7"/>
                </a:cubicBezTo>
                <a:cubicBezTo>
                  <a:pt x="346" y="8"/>
                  <a:pt x="345" y="8"/>
                  <a:pt x="343" y="8"/>
                </a:cubicBezTo>
                <a:cubicBezTo>
                  <a:pt x="342" y="8"/>
                  <a:pt x="336" y="8"/>
                  <a:pt x="335" y="9"/>
                </a:cubicBezTo>
                <a:cubicBezTo>
                  <a:pt x="336" y="9"/>
                  <a:pt x="337" y="9"/>
                  <a:pt x="337" y="9"/>
                </a:cubicBezTo>
                <a:cubicBezTo>
                  <a:pt x="334" y="10"/>
                  <a:pt x="330" y="9"/>
                  <a:pt x="327" y="11"/>
                </a:cubicBezTo>
                <a:cubicBezTo>
                  <a:pt x="331" y="11"/>
                  <a:pt x="333" y="10"/>
                  <a:pt x="336" y="10"/>
                </a:cubicBezTo>
                <a:cubicBezTo>
                  <a:pt x="336" y="9"/>
                  <a:pt x="337" y="9"/>
                  <a:pt x="339" y="9"/>
                </a:cubicBezTo>
                <a:cubicBezTo>
                  <a:pt x="339" y="9"/>
                  <a:pt x="336" y="9"/>
                  <a:pt x="337" y="10"/>
                </a:cubicBezTo>
                <a:cubicBezTo>
                  <a:pt x="342" y="9"/>
                  <a:pt x="350" y="9"/>
                  <a:pt x="351" y="8"/>
                </a:cubicBezTo>
                <a:cubicBezTo>
                  <a:pt x="350" y="8"/>
                  <a:pt x="350" y="8"/>
                  <a:pt x="350" y="8"/>
                </a:cubicBezTo>
                <a:close/>
                <a:moveTo>
                  <a:pt x="314" y="14"/>
                </a:moveTo>
                <a:cubicBezTo>
                  <a:pt x="315" y="14"/>
                  <a:pt x="322" y="13"/>
                  <a:pt x="320" y="13"/>
                </a:cubicBezTo>
                <a:cubicBezTo>
                  <a:pt x="317" y="14"/>
                  <a:pt x="316" y="13"/>
                  <a:pt x="314" y="14"/>
                </a:cubicBezTo>
                <a:close/>
                <a:moveTo>
                  <a:pt x="241" y="77"/>
                </a:moveTo>
                <a:cubicBezTo>
                  <a:pt x="240" y="77"/>
                  <a:pt x="241" y="75"/>
                  <a:pt x="240" y="76"/>
                </a:cubicBezTo>
                <a:cubicBezTo>
                  <a:pt x="240" y="76"/>
                  <a:pt x="238" y="77"/>
                  <a:pt x="238" y="77"/>
                </a:cubicBezTo>
                <a:cubicBezTo>
                  <a:pt x="238" y="77"/>
                  <a:pt x="238" y="77"/>
                  <a:pt x="237" y="77"/>
                </a:cubicBezTo>
                <a:cubicBezTo>
                  <a:pt x="237" y="78"/>
                  <a:pt x="238" y="77"/>
                  <a:pt x="238" y="77"/>
                </a:cubicBezTo>
                <a:cubicBezTo>
                  <a:pt x="236" y="79"/>
                  <a:pt x="236" y="78"/>
                  <a:pt x="235" y="79"/>
                </a:cubicBezTo>
                <a:cubicBezTo>
                  <a:pt x="236" y="79"/>
                  <a:pt x="240" y="77"/>
                  <a:pt x="241" y="77"/>
                </a:cubicBezTo>
                <a:close/>
                <a:moveTo>
                  <a:pt x="232" y="80"/>
                </a:moveTo>
                <a:cubicBezTo>
                  <a:pt x="232" y="81"/>
                  <a:pt x="233" y="81"/>
                  <a:pt x="228" y="83"/>
                </a:cubicBezTo>
                <a:cubicBezTo>
                  <a:pt x="231" y="83"/>
                  <a:pt x="236" y="79"/>
                  <a:pt x="241" y="77"/>
                </a:cubicBezTo>
                <a:cubicBezTo>
                  <a:pt x="238" y="78"/>
                  <a:pt x="235" y="79"/>
                  <a:pt x="232" y="80"/>
                </a:cubicBezTo>
                <a:close/>
                <a:moveTo>
                  <a:pt x="222" y="84"/>
                </a:moveTo>
                <a:cubicBezTo>
                  <a:pt x="220" y="86"/>
                  <a:pt x="220" y="87"/>
                  <a:pt x="223" y="86"/>
                </a:cubicBezTo>
                <a:cubicBezTo>
                  <a:pt x="221" y="87"/>
                  <a:pt x="219" y="89"/>
                  <a:pt x="217" y="89"/>
                </a:cubicBezTo>
                <a:cubicBezTo>
                  <a:pt x="217" y="88"/>
                  <a:pt x="219" y="88"/>
                  <a:pt x="219" y="87"/>
                </a:cubicBezTo>
                <a:cubicBezTo>
                  <a:pt x="217" y="88"/>
                  <a:pt x="213" y="90"/>
                  <a:pt x="213" y="91"/>
                </a:cubicBezTo>
                <a:cubicBezTo>
                  <a:pt x="218" y="88"/>
                  <a:pt x="214" y="91"/>
                  <a:pt x="215" y="91"/>
                </a:cubicBezTo>
                <a:cubicBezTo>
                  <a:pt x="219" y="89"/>
                  <a:pt x="219" y="89"/>
                  <a:pt x="219" y="89"/>
                </a:cubicBezTo>
                <a:cubicBezTo>
                  <a:pt x="219" y="88"/>
                  <a:pt x="224" y="86"/>
                  <a:pt x="226" y="84"/>
                </a:cubicBezTo>
                <a:cubicBezTo>
                  <a:pt x="222" y="86"/>
                  <a:pt x="223" y="85"/>
                  <a:pt x="222" y="84"/>
                </a:cubicBezTo>
                <a:close/>
                <a:moveTo>
                  <a:pt x="214" y="101"/>
                </a:moveTo>
                <a:cubicBezTo>
                  <a:pt x="214" y="103"/>
                  <a:pt x="210" y="104"/>
                  <a:pt x="207" y="106"/>
                </a:cubicBezTo>
                <a:cubicBezTo>
                  <a:pt x="211" y="104"/>
                  <a:pt x="216" y="101"/>
                  <a:pt x="220" y="99"/>
                </a:cubicBezTo>
                <a:cubicBezTo>
                  <a:pt x="219" y="99"/>
                  <a:pt x="215" y="102"/>
                  <a:pt x="215" y="101"/>
                </a:cubicBezTo>
                <a:cubicBezTo>
                  <a:pt x="219" y="99"/>
                  <a:pt x="223" y="98"/>
                  <a:pt x="226" y="95"/>
                </a:cubicBezTo>
                <a:cubicBezTo>
                  <a:pt x="223" y="97"/>
                  <a:pt x="219" y="98"/>
                  <a:pt x="214" y="101"/>
                </a:cubicBezTo>
                <a:close/>
                <a:moveTo>
                  <a:pt x="211" y="86"/>
                </a:moveTo>
                <a:cubicBezTo>
                  <a:pt x="213" y="83"/>
                  <a:pt x="216" y="83"/>
                  <a:pt x="217" y="81"/>
                </a:cubicBezTo>
                <a:cubicBezTo>
                  <a:pt x="214" y="83"/>
                  <a:pt x="214" y="82"/>
                  <a:pt x="210" y="84"/>
                </a:cubicBezTo>
                <a:cubicBezTo>
                  <a:pt x="210" y="85"/>
                  <a:pt x="208" y="86"/>
                  <a:pt x="211" y="86"/>
                </a:cubicBezTo>
                <a:close/>
                <a:moveTo>
                  <a:pt x="210" y="82"/>
                </a:moveTo>
                <a:cubicBezTo>
                  <a:pt x="211" y="82"/>
                  <a:pt x="207" y="83"/>
                  <a:pt x="208" y="84"/>
                </a:cubicBezTo>
                <a:cubicBezTo>
                  <a:pt x="211" y="83"/>
                  <a:pt x="211" y="82"/>
                  <a:pt x="213" y="80"/>
                </a:cubicBezTo>
                <a:cubicBezTo>
                  <a:pt x="214" y="80"/>
                  <a:pt x="214" y="81"/>
                  <a:pt x="215" y="80"/>
                </a:cubicBezTo>
                <a:cubicBezTo>
                  <a:pt x="216" y="79"/>
                  <a:pt x="212" y="81"/>
                  <a:pt x="210" y="82"/>
                </a:cubicBezTo>
                <a:close/>
                <a:moveTo>
                  <a:pt x="203" y="100"/>
                </a:moveTo>
                <a:cubicBezTo>
                  <a:pt x="201" y="100"/>
                  <a:pt x="199" y="102"/>
                  <a:pt x="199" y="102"/>
                </a:cubicBezTo>
                <a:cubicBezTo>
                  <a:pt x="201" y="100"/>
                  <a:pt x="205" y="97"/>
                  <a:pt x="207" y="96"/>
                </a:cubicBezTo>
                <a:cubicBezTo>
                  <a:pt x="207" y="96"/>
                  <a:pt x="213" y="92"/>
                  <a:pt x="212" y="92"/>
                </a:cubicBezTo>
                <a:cubicBezTo>
                  <a:pt x="211" y="93"/>
                  <a:pt x="207" y="95"/>
                  <a:pt x="207" y="96"/>
                </a:cubicBezTo>
                <a:cubicBezTo>
                  <a:pt x="204" y="97"/>
                  <a:pt x="201" y="100"/>
                  <a:pt x="197" y="101"/>
                </a:cubicBezTo>
                <a:cubicBezTo>
                  <a:pt x="197" y="102"/>
                  <a:pt x="198" y="101"/>
                  <a:pt x="196" y="103"/>
                </a:cubicBezTo>
                <a:cubicBezTo>
                  <a:pt x="192" y="104"/>
                  <a:pt x="183" y="110"/>
                  <a:pt x="180" y="114"/>
                </a:cubicBezTo>
                <a:cubicBezTo>
                  <a:pt x="175" y="115"/>
                  <a:pt x="167" y="123"/>
                  <a:pt x="160" y="128"/>
                </a:cubicBezTo>
                <a:cubicBezTo>
                  <a:pt x="161" y="128"/>
                  <a:pt x="163" y="127"/>
                  <a:pt x="161" y="129"/>
                </a:cubicBezTo>
                <a:cubicBezTo>
                  <a:pt x="164" y="127"/>
                  <a:pt x="163" y="126"/>
                  <a:pt x="165" y="125"/>
                </a:cubicBezTo>
                <a:cubicBezTo>
                  <a:pt x="166" y="125"/>
                  <a:pt x="167" y="124"/>
                  <a:pt x="165" y="127"/>
                </a:cubicBezTo>
                <a:cubicBezTo>
                  <a:pt x="167" y="125"/>
                  <a:pt x="166" y="126"/>
                  <a:pt x="168" y="125"/>
                </a:cubicBezTo>
                <a:cubicBezTo>
                  <a:pt x="168" y="124"/>
                  <a:pt x="169" y="122"/>
                  <a:pt x="167" y="123"/>
                </a:cubicBezTo>
                <a:cubicBezTo>
                  <a:pt x="172" y="119"/>
                  <a:pt x="174" y="119"/>
                  <a:pt x="177" y="116"/>
                </a:cubicBezTo>
                <a:cubicBezTo>
                  <a:pt x="176" y="117"/>
                  <a:pt x="178" y="116"/>
                  <a:pt x="179" y="115"/>
                </a:cubicBezTo>
                <a:cubicBezTo>
                  <a:pt x="179" y="115"/>
                  <a:pt x="178" y="115"/>
                  <a:pt x="179" y="114"/>
                </a:cubicBezTo>
                <a:cubicBezTo>
                  <a:pt x="183" y="113"/>
                  <a:pt x="189" y="107"/>
                  <a:pt x="193" y="105"/>
                </a:cubicBezTo>
                <a:cubicBezTo>
                  <a:pt x="193" y="105"/>
                  <a:pt x="192" y="105"/>
                  <a:pt x="194" y="104"/>
                </a:cubicBezTo>
                <a:cubicBezTo>
                  <a:pt x="193" y="106"/>
                  <a:pt x="196" y="103"/>
                  <a:pt x="198" y="102"/>
                </a:cubicBezTo>
                <a:cubicBezTo>
                  <a:pt x="198" y="103"/>
                  <a:pt x="189" y="108"/>
                  <a:pt x="194" y="106"/>
                </a:cubicBezTo>
                <a:cubicBezTo>
                  <a:pt x="192" y="107"/>
                  <a:pt x="190" y="108"/>
                  <a:pt x="190" y="108"/>
                </a:cubicBezTo>
                <a:cubicBezTo>
                  <a:pt x="194" y="106"/>
                  <a:pt x="190" y="109"/>
                  <a:pt x="189" y="110"/>
                </a:cubicBezTo>
                <a:cubicBezTo>
                  <a:pt x="194" y="107"/>
                  <a:pt x="196" y="106"/>
                  <a:pt x="200" y="103"/>
                </a:cubicBezTo>
                <a:cubicBezTo>
                  <a:pt x="201" y="103"/>
                  <a:pt x="200" y="103"/>
                  <a:pt x="201" y="102"/>
                </a:cubicBezTo>
                <a:cubicBezTo>
                  <a:pt x="202" y="102"/>
                  <a:pt x="205" y="100"/>
                  <a:pt x="205" y="99"/>
                </a:cubicBezTo>
                <a:cubicBezTo>
                  <a:pt x="207" y="98"/>
                  <a:pt x="210" y="96"/>
                  <a:pt x="210" y="97"/>
                </a:cubicBezTo>
                <a:cubicBezTo>
                  <a:pt x="212" y="96"/>
                  <a:pt x="213" y="96"/>
                  <a:pt x="213" y="95"/>
                </a:cubicBezTo>
                <a:cubicBezTo>
                  <a:pt x="211" y="96"/>
                  <a:pt x="215" y="94"/>
                  <a:pt x="214" y="94"/>
                </a:cubicBezTo>
                <a:cubicBezTo>
                  <a:pt x="213" y="95"/>
                  <a:pt x="213" y="94"/>
                  <a:pt x="211" y="95"/>
                </a:cubicBezTo>
                <a:cubicBezTo>
                  <a:pt x="211" y="96"/>
                  <a:pt x="207" y="98"/>
                  <a:pt x="205" y="99"/>
                </a:cubicBezTo>
                <a:cubicBezTo>
                  <a:pt x="205" y="99"/>
                  <a:pt x="202" y="101"/>
                  <a:pt x="202" y="101"/>
                </a:cubicBezTo>
                <a:cubicBezTo>
                  <a:pt x="200" y="101"/>
                  <a:pt x="205" y="99"/>
                  <a:pt x="203" y="100"/>
                </a:cubicBezTo>
                <a:close/>
                <a:moveTo>
                  <a:pt x="201" y="82"/>
                </a:moveTo>
                <a:cubicBezTo>
                  <a:pt x="203" y="81"/>
                  <a:pt x="203" y="82"/>
                  <a:pt x="205" y="81"/>
                </a:cubicBezTo>
                <a:cubicBezTo>
                  <a:pt x="205" y="80"/>
                  <a:pt x="206" y="80"/>
                  <a:pt x="205" y="79"/>
                </a:cubicBezTo>
                <a:cubicBezTo>
                  <a:pt x="203" y="80"/>
                  <a:pt x="202" y="81"/>
                  <a:pt x="201" y="82"/>
                </a:cubicBezTo>
                <a:close/>
                <a:moveTo>
                  <a:pt x="192" y="82"/>
                </a:moveTo>
                <a:cubicBezTo>
                  <a:pt x="192" y="81"/>
                  <a:pt x="194" y="80"/>
                  <a:pt x="194" y="80"/>
                </a:cubicBezTo>
                <a:cubicBezTo>
                  <a:pt x="192" y="80"/>
                  <a:pt x="187" y="84"/>
                  <a:pt x="190" y="83"/>
                </a:cubicBezTo>
                <a:cubicBezTo>
                  <a:pt x="192" y="81"/>
                  <a:pt x="191" y="83"/>
                  <a:pt x="191" y="83"/>
                </a:cubicBezTo>
                <a:cubicBezTo>
                  <a:pt x="192" y="83"/>
                  <a:pt x="194" y="82"/>
                  <a:pt x="195" y="81"/>
                </a:cubicBezTo>
                <a:cubicBezTo>
                  <a:pt x="195" y="81"/>
                  <a:pt x="195" y="82"/>
                  <a:pt x="195" y="82"/>
                </a:cubicBezTo>
                <a:cubicBezTo>
                  <a:pt x="197" y="81"/>
                  <a:pt x="197" y="81"/>
                  <a:pt x="197" y="81"/>
                </a:cubicBezTo>
                <a:cubicBezTo>
                  <a:pt x="197" y="80"/>
                  <a:pt x="197" y="80"/>
                  <a:pt x="197" y="80"/>
                </a:cubicBezTo>
                <a:cubicBezTo>
                  <a:pt x="194" y="82"/>
                  <a:pt x="193" y="81"/>
                  <a:pt x="192" y="82"/>
                </a:cubicBezTo>
                <a:close/>
                <a:moveTo>
                  <a:pt x="196" y="84"/>
                </a:moveTo>
                <a:cubicBezTo>
                  <a:pt x="193" y="86"/>
                  <a:pt x="192" y="85"/>
                  <a:pt x="192" y="85"/>
                </a:cubicBezTo>
                <a:cubicBezTo>
                  <a:pt x="192" y="86"/>
                  <a:pt x="191" y="86"/>
                  <a:pt x="191" y="87"/>
                </a:cubicBezTo>
                <a:cubicBezTo>
                  <a:pt x="193" y="86"/>
                  <a:pt x="192" y="87"/>
                  <a:pt x="194" y="87"/>
                </a:cubicBezTo>
                <a:cubicBezTo>
                  <a:pt x="196" y="86"/>
                  <a:pt x="195" y="86"/>
                  <a:pt x="197" y="85"/>
                </a:cubicBezTo>
                <a:cubicBezTo>
                  <a:pt x="198" y="84"/>
                  <a:pt x="195" y="86"/>
                  <a:pt x="195" y="85"/>
                </a:cubicBezTo>
                <a:cubicBezTo>
                  <a:pt x="195" y="85"/>
                  <a:pt x="198" y="82"/>
                  <a:pt x="196" y="83"/>
                </a:cubicBezTo>
                <a:cubicBezTo>
                  <a:pt x="196" y="83"/>
                  <a:pt x="196" y="83"/>
                  <a:pt x="196" y="84"/>
                </a:cubicBezTo>
                <a:close/>
                <a:moveTo>
                  <a:pt x="187" y="104"/>
                </a:moveTo>
                <a:cubicBezTo>
                  <a:pt x="188" y="103"/>
                  <a:pt x="188" y="105"/>
                  <a:pt x="192" y="103"/>
                </a:cubicBezTo>
                <a:cubicBezTo>
                  <a:pt x="192" y="102"/>
                  <a:pt x="190" y="103"/>
                  <a:pt x="190" y="103"/>
                </a:cubicBezTo>
                <a:cubicBezTo>
                  <a:pt x="192" y="102"/>
                  <a:pt x="193" y="101"/>
                  <a:pt x="194" y="99"/>
                </a:cubicBezTo>
                <a:cubicBezTo>
                  <a:pt x="195" y="100"/>
                  <a:pt x="195" y="100"/>
                  <a:pt x="195" y="100"/>
                </a:cubicBezTo>
                <a:cubicBezTo>
                  <a:pt x="197" y="98"/>
                  <a:pt x="198" y="98"/>
                  <a:pt x="201" y="96"/>
                </a:cubicBezTo>
                <a:cubicBezTo>
                  <a:pt x="200" y="96"/>
                  <a:pt x="201" y="94"/>
                  <a:pt x="200" y="95"/>
                </a:cubicBezTo>
                <a:cubicBezTo>
                  <a:pt x="196" y="97"/>
                  <a:pt x="191" y="101"/>
                  <a:pt x="189" y="102"/>
                </a:cubicBezTo>
                <a:cubicBezTo>
                  <a:pt x="188" y="103"/>
                  <a:pt x="191" y="102"/>
                  <a:pt x="188" y="103"/>
                </a:cubicBezTo>
                <a:cubicBezTo>
                  <a:pt x="188" y="103"/>
                  <a:pt x="187" y="104"/>
                  <a:pt x="187" y="104"/>
                </a:cubicBezTo>
                <a:close/>
                <a:moveTo>
                  <a:pt x="198" y="107"/>
                </a:moveTo>
                <a:cubicBezTo>
                  <a:pt x="200" y="106"/>
                  <a:pt x="201" y="105"/>
                  <a:pt x="202" y="105"/>
                </a:cubicBezTo>
                <a:cubicBezTo>
                  <a:pt x="201" y="105"/>
                  <a:pt x="199" y="106"/>
                  <a:pt x="198" y="106"/>
                </a:cubicBezTo>
                <a:cubicBezTo>
                  <a:pt x="200" y="105"/>
                  <a:pt x="200" y="104"/>
                  <a:pt x="202" y="103"/>
                </a:cubicBezTo>
                <a:cubicBezTo>
                  <a:pt x="201" y="104"/>
                  <a:pt x="203" y="102"/>
                  <a:pt x="205" y="102"/>
                </a:cubicBezTo>
                <a:cubicBezTo>
                  <a:pt x="204" y="101"/>
                  <a:pt x="200" y="104"/>
                  <a:pt x="197" y="105"/>
                </a:cubicBezTo>
                <a:cubicBezTo>
                  <a:pt x="199" y="105"/>
                  <a:pt x="196" y="108"/>
                  <a:pt x="198" y="107"/>
                </a:cubicBezTo>
                <a:close/>
                <a:moveTo>
                  <a:pt x="186" y="99"/>
                </a:moveTo>
                <a:cubicBezTo>
                  <a:pt x="183" y="101"/>
                  <a:pt x="173" y="108"/>
                  <a:pt x="182" y="103"/>
                </a:cubicBezTo>
                <a:cubicBezTo>
                  <a:pt x="183" y="101"/>
                  <a:pt x="187" y="99"/>
                  <a:pt x="183" y="102"/>
                </a:cubicBezTo>
                <a:cubicBezTo>
                  <a:pt x="186" y="100"/>
                  <a:pt x="187" y="99"/>
                  <a:pt x="188" y="98"/>
                </a:cubicBezTo>
                <a:cubicBezTo>
                  <a:pt x="187" y="99"/>
                  <a:pt x="187" y="98"/>
                  <a:pt x="186" y="99"/>
                </a:cubicBezTo>
                <a:close/>
                <a:moveTo>
                  <a:pt x="169" y="89"/>
                </a:moveTo>
                <a:cubicBezTo>
                  <a:pt x="171" y="89"/>
                  <a:pt x="178" y="83"/>
                  <a:pt x="174" y="85"/>
                </a:cubicBezTo>
                <a:cubicBezTo>
                  <a:pt x="174" y="86"/>
                  <a:pt x="171" y="88"/>
                  <a:pt x="169" y="89"/>
                </a:cubicBezTo>
                <a:close/>
                <a:moveTo>
                  <a:pt x="182" y="123"/>
                </a:moveTo>
                <a:cubicBezTo>
                  <a:pt x="187" y="120"/>
                  <a:pt x="189" y="118"/>
                  <a:pt x="195" y="114"/>
                </a:cubicBezTo>
                <a:cubicBezTo>
                  <a:pt x="194" y="115"/>
                  <a:pt x="195" y="113"/>
                  <a:pt x="194" y="114"/>
                </a:cubicBezTo>
                <a:cubicBezTo>
                  <a:pt x="194" y="114"/>
                  <a:pt x="191" y="117"/>
                  <a:pt x="189" y="118"/>
                </a:cubicBezTo>
                <a:cubicBezTo>
                  <a:pt x="190" y="117"/>
                  <a:pt x="190" y="117"/>
                  <a:pt x="190" y="116"/>
                </a:cubicBezTo>
                <a:cubicBezTo>
                  <a:pt x="188" y="118"/>
                  <a:pt x="186" y="120"/>
                  <a:pt x="183" y="121"/>
                </a:cubicBezTo>
                <a:cubicBezTo>
                  <a:pt x="184" y="121"/>
                  <a:pt x="184" y="120"/>
                  <a:pt x="183" y="121"/>
                </a:cubicBezTo>
                <a:cubicBezTo>
                  <a:pt x="183" y="121"/>
                  <a:pt x="182" y="123"/>
                  <a:pt x="182" y="123"/>
                </a:cubicBezTo>
                <a:close/>
                <a:moveTo>
                  <a:pt x="178" y="110"/>
                </a:moveTo>
                <a:cubicBezTo>
                  <a:pt x="180" y="109"/>
                  <a:pt x="180" y="109"/>
                  <a:pt x="180" y="109"/>
                </a:cubicBezTo>
                <a:cubicBezTo>
                  <a:pt x="178" y="111"/>
                  <a:pt x="182" y="109"/>
                  <a:pt x="182" y="108"/>
                </a:cubicBezTo>
                <a:cubicBezTo>
                  <a:pt x="181" y="108"/>
                  <a:pt x="179" y="109"/>
                  <a:pt x="178" y="110"/>
                </a:cubicBezTo>
                <a:close/>
                <a:moveTo>
                  <a:pt x="178" y="117"/>
                </a:moveTo>
                <a:cubicBezTo>
                  <a:pt x="177" y="118"/>
                  <a:pt x="176" y="118"/>
                  <a:pt x="175" y="120"/>
                </a:cubicBezTo>
                <a:cubicBezTo>
                  <a:pt x="176" y="119"/>
                  <a:pt x="176" y="119"/>
                  <a:pt x="177" y="119"/>
                </a:cubicBezTo>
                <a:cubicBezTo>
                  <a:pt x="178" y="118"/>
                  <a:pt x="182" y="116"/>
                  <a:pt x="181" y="116"/>
                </a:cubicBezTo>
                <a:cubicBezTo>
                  <a:pt x="177" y="119"/>
                  <a:pt x="181" y="114"/>
                  <a:pt x="178" y="117"/>
                </a:cubicBezTo>
                <a:close/>
                <a:moveTo>
                  <a:pt x="164" y="122"/>
                </a:moveTo>
                <a:cubicBezTo>
                  <a:pt x="169" y="117"/>
                  <a:pt x="172" y="117"/>
                  <a:pt x="177" y="112"/>
                </a:cubicBezTo>
                <a:cubicBezTo>
                  <a:pt x="174" y="114"/>
                  <a:pt x="176" y="112"/>
                  <a:pt x="174" y="113"/>
                </a:cubicBezTo>
                <a:cubicBezTo>
                  <a:pt x="171" y="116"/>
                  <a:pt x="165" y="119"/>
                  <a:pt x="164" y="122"/>
                </a:cubicBezTo>
                <a:close/>
                <a:moveTo>
                  <a:pt x="159" y="111"/>
                </a:moveTo>
                <a:cubicBezTo>
                  <a:pt x="160" y="110"/>
                  <a:pt x="164" y="108"/>
                  <a:pt x="164" y="107"/>
                </a:cubicBezTo>
                <a:cubicBezTo>
                  <a:pt x="162" y="109"/>
                  <a:pt x="158" y="112"/>
                  <a:pt x="159" y="111"/>
                </a:cubicBezTo>
                <a:close/>
                <a:moveTo>
                  <a:pt x="170" y="123"/>
                </a:moveTo>
                <a:cubicBezTo>
                  <a:pt x="172" y="122"/>
                  <a:pt x="175" y="118"/>
                  <a:pt x="172" y="121"/>
                </a:cubicBezTo>
                <a:cubicBezTo>
                  <a:pt x="172" y="121"/>
                  <a:pt x="173" y="120"/>
                  <a:pt x="173" y="121"/>
                </a:cubicBezTo>
                <a:cubicBezTo>
                  <a:pt x="172" y="121"/>
                  <a:pt x="168" y="124"/>
                  <a:pt x="170" y="123"/>
                </a:cubicBezTo>
                <a:close/>
                <a:moveTo>
                  <a:pt x="125" y="113"/>
                </a:moveTo>
                <a:cubicBezTo>
                  <a:pt x="123" y="114"/>
                  <a:pt x="123" y="114"/>
                  <a:pt x="123" y="114"/>
                </a:cubicBezTo>
                <a:cubicBezTo>
                  <a:pt x="123" y="115"/>
                  <a:pt x="122" y="116"/>
                  <a:pt x="123" y="115"/>
                </a:cubicBezTo>
                <a:cubicBezTo>
                  <a:pt x="125" y="114"/>
                  <a:pt x="125" y="114"/>
                  <a:pt x="125" y="113"/>
                </a:cubicBezTo>
                <a:cubicBezTo>
                  <a:pt x="125" y="113"/>
                  <a:pt x="126" y="113"/>
                  <a:pt x="126" y="112"/>
                </a:cubicBezTo>
                <a:cubicBezTo>
                  <a:pt x="125" y="113"/>
                  <a:pt x="125" y="113"/>
                  <a:pt x="125" y="113"/>
                </a:cubicBezTo>
                <a:close/>
                <a:moveTo>
                  <a:pt x="107" y="138"/>
                </a:moveTo>
                <a:cubicBezTo>
                  <a:pt x="106" y="138"/>
                  <a:pt x="106" y="138"/>
                  <a:pt x="105" y="139"/>
                </a:cubicBezTo>
                <a:cubicBezTo>
                  <a:pt x="105" y="138"/>
                  <a:pt x="107" y="136"/>
                  <a:pt x="107" y="136"/>
                </a:cubicBezTo>
                <a:cubicBezTo>
                  <a:pt x="105" y="138"/>
                  <a:pt x="104" y="139"/>
                  <a:pt x="102" y="141"/>
                </a:cubicBezTo>
                <a:cubicBezTo>
                  <a:pt x="104" y="141"/>
                  <a:pt x="106" y="140"/>
                  <a:pt x="108" y="139"/>
                </a:cubicBezTo>
                <a:cubicBezTo>
                  <a:pt x="104" y="141"/>
                  <a:pt x="110" y="134"/>
                  <a:pt x="107" y="137"/>
                </a:cubicBezTo>
                <a:cubicBezTo>
                  <a:pt x="107" y="137"/>
                  <a:pt x="107" y="137"/>
                  <a:pt x="107" y="138"/>
                </a:cubicBezTo>
                <a:close/>
                <a:moveTo>
                  <a:pt x="128" y="160"/>
                </a:moveTo>
                <a:cubicBezTo>
                  <a:pt x="127" y="161"/>
                  <a:pt x="126" y="161"/>
                  <a:pt x="126" y="161"/>
                </a:cubicBezTo>
                <a:cubicBezTo>
                  <a:pt x="125" y="163"/>
                  <a:pt x="128" y="160"/>
                  <a:pt x="128" y="162"/>
                </a:cubicBezTo>
                <a:cubicBezTo>
                  <a:pt x="127" y="163"/>
                  <a:pt x="126" y="164"/>
                  <a:pt x="125" y="164"/>
                </a:cubicBezTo>
                <a:cubicBezTo>
                  <a:pt x="125" y="165"/>
                  <a:pt x="128" y="162"/>
                  <a:pt x="129" y="162"/>
                </a:cubicBezTo>
                <a:cubicBezTo>
                  <a:pt x="128" y="162"/>
                  <a:pt x="127" y="163"/>
                  <a:pt x="127" y="163"/>
                </a:cubicBezTo>
                <a:cubicBezTo>
                  <a:pt x="131" y="161"/>
                  <a:pt x="128" y="162"/>
                  <a:pt x="131" y="159"/>
                </a:cubicBezTo>
                <a:cubicBezTo>
                  <a:pt x="130" y="159"/>
                  <a:pt x="127" y="162"/>
                  <a:pt x="128" y="160"/>
                </a:cubicBezTo>
                <a:close/>
                <a:moveTo>
                  <a:pt x="95" y="148"/>
                </a:moveTo>
                <a:cubicBezTo>
                  <a:pt x="95" y="148"/>
                  <a:pt x="96" y="148"/>
                  <a:pt x="96" y="148"/>
                </a:cubicBezTo>
                <a:cubicBezTo>
                  <a:pt x="94" y="149"/>
                  <a:pt x="94" y="150"/>
                  <a:pt x="94" y="150"/>
                </a:cubicBezTo>
                <a:cubicBezTo>
                  <a:pt x="98" y="147"/>
                  <a:pt x="99" y="145"/>
                  <a:pt x="101" y="143"/>
                </a:cubicBezTo>
                <a:cubicBezTo>
                  <a:pt x="102" y="143"/>
                  <a:pt x="102" y="142"/>
                  <a:pt x="102" y="141"/>
                </a:cubicBezTo>
                <a:cubicBezTo>
                  <a:pt x="100" y="143"/>
                  <a:pt x="97" y="147"/>
                  <a:pt x="95" y="148"/>
                </a:cubicBezTo>
                <a:close/>
                <a:moveTo>
                  <a:pt x="110" y="169"/>
                </a:moveTo>
                <a:cubicBezTo>
                  <a:pt x="110" y="169"/>
                  <a:pt x="111" y="169"/>
                  <a:pt x="111" y="169"/>
                </a:cubicBezTo>
                <a:cubicBezTo>
                  <a:pt x="110" y="170"/>
                  <a:pt x="109" y="171"/>
                  <a:pt x="109" y="171"/>
                </a:cubicBezTo>
                <a:cubicBezTo>
                  <a:pt x="112" y="168"/>
                  <a:pt x="113" y="166"/>
                  <a:pt x="114" y="165"/>
                </a:cubicBezTo>
                <a:cubicBezTo>
                  <a:pt x="114" y="165"/>
                  <a:pt x="114" y="165"/>
                  <a:pt x="114" y="165"/>
                </a:cubicBezTo>
                <a:cubicBezTo>
                  <a:pt x="112" y="167"/>
                  <a:pt x="111" y="169"/>
                  <a:pt x="110" y="169"/>
                </a:cubicBezTo>
                <a:close/>
                <a:moveTo>
                  <a:pt x="91" y="154"/>
                </a:moveTo>
                <a:cubicBezTo>
                  <a:pt x="92" y="155"/>
                  <a:pt x="92" y="155"/>
                  <a:pt x="92" y="155"/>
                </a:cubicBezTo>
                <a:cubicBezTo>
                  <a:pt x="94" y="153"/>
                  <a:pt x="93" y="153"/>
                  <a:pt x="94" y="152"/>
                </a:cubicBezTo>
                <a:cubicBezTo>
                  <a:pt x="94" y="152"/>
                  <a:pt x="94" y="152"/>
                  <a:pt x="95" y="152"/>
                </a:cubicBezTo>
                <a:cubicBezTo>
                  <a:pt x="95" y="152"/>
                  <a:pt x="95" y="151"/>
                  <a:pt x="95" y="151"/>
                </a:cubicBezTo>
                <a:cubicBezTo>
                  <a:pt x="94" y="151"/>
                  <a:pt x="94" y="151"/>
                  <a:pt x="94" y="152"/>
                </a:cubicBezTo>
                <a:cubicBezTo>
                  <a:pt x="93" y="153"/>
                  <a:pt x="93" y="153"/>
                  <a:pt x="91" y="154"/>
                </a:cubicBezTo>
                <a:close/>
                <a:moveTo>
                  <a:pt x="92" y="162"/>
                </a:moveTo>
                <a:cubicBezTo>
                  <a:pt x="94" y="162"/>
                  <a:pt x="97" y="157"/>
                  <a:pt x="99" y="155"/>
                </a:cubicBezTo>
                <a:cubicBezTo>
                  <a:pt x="96" y="158"/>
                  <a:pt x="95" y="159"/>
                  <a:pt x="92" y="162"/>
                </a:cubicBezTo>
                <a:close/>
                <a:moveTo>
                  <a:pt x="88" y="161"/>
                </a:moveTo>
                <a:cubicBezTo>
                  <a:pt x="87" y="161"/>
                  <a:pt x="87" y="161"/>
                  <a:pt x="87" y="161"/>
                </a:cubicBezTo>
                <a:cubicBezTo>
                  <a:pt x="87" y="161"/>
                  <a:pt x="87" y="161"/>
                  <a:pt x="87" y="161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2"/>
                  <a:pt x="87" y="162"/>
                </a:cubicBezTo>
                <a:cubicBezTo>
                  <a:pt x="87" y="162"/>
                  <a:pt x="87" y="163"/>
                  <a:pt x="87" y="163"/>
                </a:cubicBezTo>
                <a:cubicBezTo>
                  <a:pt x="87" y="163"/>
                  <a:pt x="87" y="162"/>
                  <a:pt x="87" y="162"/>
                </a:cubicBezTo>
                <a:cubicBezTo>
                  <a:pt x="87" y="162"/>
                  <a:pt x="87" y="162"/>
                  <a:pt x="88" y="161"/>
                </a:cubicBezTo>
                <a:cubicBezTo>
                  <a:pt x="89" y="160"/>
                  <a:pt x="89" y="160"/>
                  <a:pt x="89" y="160"/>
                </a:cubicBezTo>
                <a:cubicBezTo>
                  <a:pt x="88" y="162"/>
                  <a:pt x="90" y="159"/>
                  <a:pt x="91" y="158"/>
                </a:cubicBezTo>
                <a:cubicBezTo>
                  <a:pt x="91" y="157"/>
                  <a:pt x="93" y="157"/>
                  <a:pt x="94" y="156"/>
                </a:cubicBezTo>
                <a:cubicBezTo>
                  <a:pt x="92" y="156"/>
                  <a:pt x="90" y="158"/>
                  <a:pt x="88" y="161"/>
                </a:cubicBezTo>
                <a:close/>
                <a:moveTo>
                  <a:pt x="106" y="176"/>
                </a:moveTo>
                <a:cubicBezTo>
                  <a:pt x="106" y="177"/>
                  <a:pt x="105" y="177"/>
                  <a:pt x="105" y="178"/>
                </a:cubicBezTo>
                <a:cubicBezTo>
                  <a:pt x="104" y="178"/>
                  <a:pt x="104" y="178"/>
                  <a:pt x="104" y="178"/>
                </a:cubicBezTo>
                <a:cubicBezTo>
                  <a:pt x="104" y="179"/>
                  <a:pt x="103" y="179"/>
                  <a:pt x="103" y="180"/>
                </a:cubicBezTo>
                <a:cubicBezTo>
                  <a:pt x="104" y="179"/>
                  <a:pt x="104" y="180"/>
                  <a:pt x="104" y="179"/>
                </a:cubicBezTo>
                <a:cubicBezTo>
                  <a:pt x="105" y="179"/>
                  <a:pt x="105" y="180"/>
                  <a:pt x="106" y="179"/>
                </a:cubicBezTo>
                <a:cubicBezTo>
                  <a:pt x="105" y="179"/>
                  <a:pt x="105" y="179"/>
                  <a:pt x="105" y="179"/>
                </a:cubicBezTo>
                <a:cubicBezTo>
                  <a:pt x="105" y="178"/>
                  <a:pt x="105" y="179"/>
                  <a:pt x="106" y="178"/>
                </a:cubicBezTo>
                <a:cubicBezTo>
                  <a:pt x="105" y="179"/>
                  <a:pt x="108" y="175"/>
                  <a:pt x="108" y="175"/>
                </a:cubicBezTo>
                <a:cubicBezTo>
                  <a:pt x="108" y="175"/>
                  <a:pt x="108" y="175"/>
                  <a:pt x="109" y="175"/>
                </a:cubicBezTo>
                <a:cubicBezTo>
                  <a:pt x="108" y="175"/>
                  <a:pt x="107" y="175"/>
                  <a:pt x="106" y="176"/>
                </a:cubicBezTo>
                <a:close/>
                <a:moveTo>
                  <a:pt x="109" y="180"/>
                </a:moveTo>
                <a:cubicBezTo>
                  <a:pt x="108" y="180"/>
                  <a:pt x="108" y="180"/>
                  <a:pt x="108" y="180"/>
                </a:cubicBezTo>
                <a:cubicBezTo>
                  <a:pt x="108" y="181"/>
                  <a:pt x="108" y="181"/>
                  <a:pt x="108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6" y="182"/>
                  <a:pt x="106" y="183"/>
                  <a:pt x="105" y="184"/>
                </a:cubicBezTo>
                <a:cubicBezTo>
                  <a:pt x="106" y="184"/>
                  <a:pt x="107" y="183"/>
                  <a:pt x="107" y="182"/>
                </a:cubicBezTo>
                <a:cubicBezTo>
                  <a:pt x="108" y="182"/>
                  <a:pt x="108" y="182"/>
                  <a:pt x="108" y="182"/>
                </a:cubicBezTo>
                <a:cubicBezTo>
                  <a:pt x="108" y="182"/>
                  <a:pt x="108" y="182"/>
                  <a:pt x="110" y="180"/>
                </a:cubicBezTo>
                <a:cubicBezTo>
                  <a:pt x="110" y="180"/>
                  <a:pt x="109" y="180"/>
                  <a:pt x="109" y="180"/>
                </a:cubicBezTo>
                <a:close/>
                <a:moveTo>
                  <a:pt x="88" y="171"/>
                </a:moveTo>
                <a:cubicBezTo>
                  <a:pt x="89" y="170"/>
                  <a:pt x="88" y="170"/>
                  <a:pt x="88" y="170"/>
                </a:cubicBezTo>
                <a:cubicBezTo>
                  <a:pt x="89" y="171"/>
                  <a:pt x="90" y="169"/>
                  <a:pt x="90" y="169"/>
                </a:cubicBezTo>
                <a:cubicBezTo>
                  <a:pt x="90" y="169"/>
                  <a:pt x="90" y="168"/>
                  <a:pt x="89" y="169"/>
                </a:cubicBezTo>
                <a:cubicBezTo>
                  <a:pt x="89" y="169"/>
                  <a:pt x="88" y="170"/>
                  <a:pt x="88" y="171"/>
                </a:cubicBezTo>
                <a:close/>
                <a:moveTo>
                  <a:pt x="98" y="180"/>
                </a:moveTo>
                <a:cubicBezTo>
                  <a:pt x="99" y="179"/>
                  <a:pt x="99" y="180"/>
                  <a:pt x="100" y="180"/>
                </a:cubicBezTo>
                <a:cubicBezTo>
                  <a:pt x="99" y="179"/>
                  <a:pt x="98" y="179"/>
                  <a:pt x="98" y="180"/>
                </a:cubicBezTo>
                <a:close/>
                <a:moveTo>
                  <a:pt x="102" y="183"/>
                </a:moveTo>
                <a:cubicBezTo>
                  <a:pt x="102" y="182"/>
                  <a:pt x="101" y="182"/>
                  <a:pt x="102" y="182"/>
                </a:cubicBezTo>
                <a:cubicBezTo>
                  <a:pt x="102" y="182"/>
                  <a:pt x="102" y="183"/>
                  <a:pt x="102" y="182"/>
                </a:cubicBezTo>
                <a:cubicBezTo>
                  <a:pt x="102" y="182"/>
                  <a:pt x="101" y="182"/>
                  <a:pt x="101" y="182"/>
                </a:cubicBezTo>
                <a:cubicBezTo>
                  <a:pt x="102" y="182"/>
                  <a:pt x="101" y="183"/>
                  <a:pt x="102" y="183"/>
                </a:cubicBezTo>
                <a:close/>
                <a:moveTo>
                  <a:pt x="102" y="191"/>
                </a:moveTo>
                <a:cubicBezTo>
                  <a:pt x="102" y="191"/>
                  <a:pt x="104" y="189"/>
                  <a:pt x="104" y="188"/>
                </a:cubicBezTo>
                <a:cubicBezTo>
                  <a:pt x="103" y="187"/>
                  <a:pt x="103" y="186"/>
                  <a:pt x="102" y="187"/>
                </a:cubicBezTo>
                <a:cubicBezTo>
                  <a:pt x="104" y="188"/>
                  <a:pt x="101" y="190"/>
                  <a:pt x="102" y="191"/>
                </a:cubicBezTo>
                <a:close/>
                <a:moveTo>
                  <a:pt x="100" y="187"/>
                </a:moveTo>
                <a:cubicBezTo>
                  <a:pt x="100" y="187"/>
                  <a:pt x="99" y="187"/>
                  <a:pt x="100" y="187"/>
                </a:cubicBezTo>
                <a:cubicBezTo>
                  <a:pt x="100" y="187"/>
                  <a:pt x="101" y="187"/>
                  <a:pt x="101" y="187"/>
                </a:cubicBezTo>
                <a:cubicBezTo>
                  <a:pt x="100" y="187"/>
                  <a:pt x="100" y="187"/>
                  <a:pt x="100" y="187"/>
                </a:cubicBezTo>
                <a:close/>
                <a:moveTo>
                  <a:pt x="99" y="192"/>
                </a:moveTo>
                <a:cubicBezTo>
                  <a:pt x="97" y="193"/>
                  <a:pt x="94" y="197"/>
                  <a:pt x="94" y="198"/>
                </a:cubicBezTo>
                <a:cubicBezTo>
                  <a:pt x="95" y="197"/>
                  <a:pt x="96" y="196"/>
                  <a:pt x="97" y="194"/>
                </a:cubicBezTo>
                <a:cubicBezTo>
                  <a:pt x="97" y="195"/>
                  <a:pt x="97" y="195"/>
                  <a:pt x="97" y="194"/>
                </a:cubicBezTo>
                <a:cubicBezTo>
                  <a:pt x="98" y="192"/>
                  <a:pt x="101" y="192"/>
                  <a:pt x="102" y="189"/>
                </a:cubicBezTo>
                <a:cubicBezTo>
                  <a:pt x="101" y="189"/>
                  <a:pt x="101" y="190"/>
                  <a:pt x="101" y="190"/>
                </a:cubicBezTo>
                <a:cubicBezTo>
                  <a:pt x="100" y="189"/>
                  <a:pt x="102" y="189"/>
                  <a:pt x="102" y="188"/>
                </a:cubicBezTo>
                <a:cubicBezTo>
                  <a:pt x="100" y="189"/>
                  <a:pt x="100" y="191"/>
                  <a:pt x="98" y="191"/>
                </a:cubicBezTo>
                <a:cubicBezTo>
                  <a:pt x="99" y="191"/>
                  <a:pt x="99" y="192"/>
                  <a:pt x="99" y="192"/>
                </a:cubicBezTo>
                <a:close/>
                <a:moveTo>
                  <a:pt x="95" y="191"/>
                </a:moveTo>
                <a:cubicBezTo>
                  <a:pt x="96" y="191"/>
                  <a:pt x="95" y="192"/>
                  <a:pt x="96" y="192"/>
                </a:cubicBezTo>
                <a:cubicBezTo>
                  <a:pt x="96" y="191"/>
                  <a:pt x="98" y="191"/>
                  <a:pt x="97" y="190"/>
                </a:cubicBezTo>
                <a:cubicBezTo>
                  <a:pt x="98" y="190"/>
                  <a:pt x="98" y="189"/>
                  <a:pt x="98" y="189"/>
                </a:cubicBezTo>
                <a:cubicBezTo>
                  <a:pt x="98" y="189"/>
                  <a:pt x="97" y="189"/>
                  <a:pt x="98" y="189"/>
                </a:cubicBezTo>
                <a:cubicBezTo>
                  <a:pt x="98" y="189"/>
                  <a:pt x="99" y="189"/>
                  <a:pt x="100" y="188"/>
                </a:cubicBezTo>
                <a:cubicBezTo>
                  <a:pt x="99" y="187"/>
                  <a:pt x="99" y="187"/>
                  <a:pt x="99" y="187"/>
                </a:cubicBezTo>
                <a:cubicBezTo>
                  <a:pt x="98" y="187"/>
                  <a:pt x="99" y="188"/>
                  <a:pt x="98" y="188"/>
                </a:cubicBezTo>
                <a:cubicBezTo>
                  <a:pt x="98" y="187"/>
                  <a:pt x="96" y="189"/>
                  <a:pt x="97" y="190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0"/>
                  <a:pt x="97" y="190"/>
                  <a:pt x="96" y="191"/>
                </a:cubicBezTo>
                <a:cubicBezTo>
                  <a:pt x="96" y="190"/>
                  <a:pt x="96" y="190"/>
                  <a:pt x="96" y="190"/>
                </a:cubicBezTo>
                <a:cubicBezTo>
                  <a:pt x="96" y="191"/>
                  <a:pt x="96" y="191"/>
                  <a:pt x="95" y="191"/>
                </a:cubicBezTo>
                <a:close/>
                <a:moveTo>
                  <a:pt x="85" y="191"/>
                </a:moveTo>
                <a:cubicBezTo>
                  <a:pt x="85" y="194"/>
                  <a:pt x="82" y="195"/>
                  <a:pt x="81" y="197"/>
                </a:cubicBezTo>
                <a:cubicBezTo>
                  <a:pt x="82" y="198"/>
                  <a:pt x="82" y="197"/>
                  <a:pt x="82" y="197"/>
                </a:cubicBezTo>
                <a:cubicBezTo>
                  <a:pt x="84" y="195"/>
                  <a:pt x="85" y="193"/>
                  <a:pt x="87" y="192"/>
                </a:cubicBezTo>
                <a:cubicBezTo>
                  <a:pt x="87" y="192"/>
                  <a:pt x="87" y="193"/>
                  <a:pt x="88" y="193"/>
                </a:cubicBezTo>
                <a:cubicBezTo>
                  <a:pt x="88" y="193"/>
                  <a:pt x="89" y="191"/>
                  <a:pt x="90" y="191"/>
                </a:cubicBezTo>
                <a:cubicBezTo>
                  <a:pt x="89" y="190"/>
                  <a:pt x="89" y="190"/>
                  <a:pt x="89" y="190"/>
                </a:cubicBezTo>
                <a:cubicBezTo>
                  <a:pt x="89" y="191"/>
                  <a:pt x="88" y="193"/>
                  <a:pt x="87" y="192"/>
                </a:cubicBezTo>
                <a:cubicBezTo>
                  <a:pt x="87" y="191"/>
                  <a:pt x="88" y="190"/>
                  <a:pt x="89" y="189"/>
                </a:cubicBezTo>
                <a:cubicBezTo>
                  <a:pt x="88" y="189"/>
                  <a:pt x="88" y="188"/>
                  <a:pt x="87" y="189"/>
                </a:cubicBezTo>
                <a:cubicBezTo>
                  <a:pt x="88" y="189"/>
                  <a:pt x="87" y="190"/>
                  <a:pt x="88" y="190"/>
                </a:cubicBezTo>
                <a:cubicBezTo>
                  <a:pt x="87" y="190"/>
                  <a:pt x="88" y="190"/>
                  <a:pt x="87" y="190"/>
                </a:cubicBezTo>
                <a:cubicBezTo>
                  <a:pt x="86" y="190"/>
                  <a:pt x="86" y="192"/>
                  <a:pt x="85" y="191"/>
                </a:cubicBezTo>
                <a:cubicBezTo>
                  <a:pt x="86" y="191"/>
                  <a:pt x="86" y="191"/>
                  <a:pt x="86" y="191"/>
                </a:cubicBezTo>
                <a:cubicBezTo>
                  <a:pt x="85" y="191"/>
                  <a:pt x="86" y="191"/>
                  <a:pt x="85" y="191"/>
                </a:cubicBezTo>
                <a:close/>
                <a:moveTo>
                  <a:pt x="94" y="201"/>
                </a:moveTo>
                <a:cubicBezTo>
                  <a:pt x="95" y="200"/>
                  <a:pt x="94" y="199"/>
                  <a:pt x="95" y="200"/>
                </a:cubicBezTo>
                <a:cubicBezTo>
                  <a:pt x="95" y="199"/>
                  <a:pt x="95" y="199"/>
                  <a:pt x="96" y="199"/>
                </a:cubicBezTo>
                <a:cubicBezTo>
                  <a:pt x="94" y="198"/>
                  <a:pt x="94" y="200"/>
                  <a:pt x="94" y="201"/>
                </a:cubicBezTo>
                <a:close/>
                <a:moveTo>
                  <a:pt x="93" y="198"/>
                </a:moveTo>
                <a:cubicBezTo>
                  <a:pt x="93" y="199"/>
                  <a:pt x="93" y="199"/>
                  <a:pt x="92" y="199"/>
                </a:cubicBezTo>
                <a:cubicBezTo>
                  <a:pt x="93" y="200"/>
                  <a:pt x="91" y="200"/>
                  <a:pt x="92" y="200"/>
                </a:cubicBezTo>
                <a:cubicBezTo>
                  <a:pt x="92" y="199"/>
                  <a:pt x="94" y="199"/>
                  <a:pt x="93" y="198"/>
                </a:cubicBezTo>
                <a:close/>
                <a:moveTo>
                  <a:pt x="91" y="201"/>
                </a:moveTo>
                <a:cubicBezTo>
                  <a:pt x="91" y="202"/>
                  <a:pt x="91" y="201"/>
                  <a:pt x="90" y="201"/>
                </a:cubicBezTo>
                <a:cubicBezTo>
                  <a:pt x="90" y="202"/>
                  <a:pt x="91" y="202"/>
                  <a:pt x="91" y="202"/>
                </a:cubicBezTo>
                <a:cubicBezTo>
                  <a:pt x="91" y="202"/>
                  <a:pt x="91" y="202"/>
                  <a:pt x="91" y="203"/>
                </a:cubicBezTo>
                <a:cubicBezTo>
                  <a:pt x="91" y="202"/>
                  <a:pt x="92" y="202"/>
                  <a:pt x="91" y="202"/>
                </a:cubicBezTo>
                <a:cubicBezTo>
                  <a:pt x="92" y="201"/>
                  <a:pt x="92" y="202"/>
                  <a:pt x="92" y="201"/>
                </a:cubicBezTo>
                <a:cubicBezTo>
                  <a:pt x="92" y="201"/>
                  <a:pt x="92" y="201"/>
                  <a:pt x="92" y="201"/>
                </a:cubicBezTo>
                <a:cubicBezTo>
                  <a:pt x="92" y="200"/>
                  <a:pt x="92" y="201"/>
                  <a:pt x="93" y="201"/>
                </a:cubicBezTo>
                <a:cubicBezTo>
                  <a:pt x="93" y="200"/>
                  <a:pt x="93" y="200"/>
                  <a:pt x="93" y="200"/>
                </a:cubicBezTo>
                <a:cubicBezTo>
                  <a:pt x="92" y="199"/>
                  <a:pt x="92" y="201"/>
                  <a:pt x="91" y="201"/>
                </a:cubicBezTo>
                <a:close/>
                <a:moveTo>
                  <a:pt x="87" y="202"/>
                </a:moveTo>
                <a:cubicBezTo>
                  <a:pt x="87" y="203"/>
                  <a:pt x="86" y="204"/>
                  <a:pt x="86" y="205"/>
                </a:cubicBezTo>
                <a:cubicBezTo>
                  <a:pt x="88" y="203"/>
                  <a:pt x="89" y="204"/>
                  <a:pt x="90" y="205"/>
                </a:cubicBezTo>
                <a:cubicBezTo>
                  <a:pt x="89" y="204"/>
                  <a:pt x="90" y="204"/>
                  <a:pt x="90" y="204"/>
                </a:cubicBezTo>
                <a:cubicBezTo>
                  <a:pt x="90" y="204"/>
                  <a:pt x="89" y="204"/>
                  <a:pt x="89" y="203"/>
                </a:cubicBezTo>
                <a:cubicBezTo>
                  <a:pt x="89" y="204"/>
                  <a:pt x="89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3"/>
                  <a:pt x="88" y="203"/>
                </a:cubicBezTo>
                <a:cubicBezTo>
                  <a:pt x="88" y="203"/>
                  <a:pt x="88" y="202"/>
                  <a:pt x="89" y="202"/>
                </a:cubicBezTo>
                <a:cubicBezTo>
                  <a:pt x="87" y="202"/>
                  <a:pt x="88" y="201"/>
                  <a:pt x="87" y="202"/>
                </a:cubicBezTo>
                <a:close/>
                <a:moveTo>
                  <a:pt x="64" y="186"/>
                </a:move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5" y="186"/>
                  <a:pt x="65" y="186"/>
                </a:cubicBezTo>
                <a:cubicBezTo>
                  <a:pt x="65" y="186"/>
                  <a:pt x="64" y="186"/>
                  <a:pt x="64" y="186"/>
                </a:cubicBezTo>
                <a:close/>
                <a:moveTo>
                  <a:pt x="86" y="208"/>
                </a:moveTo>
                <a:cubicBezTo>
                  <a:pt x="86" y="208"/>
                  <a:pt x="86" y="207"/>
                  <a:pt x="86" y="207"/>
                </a:cubicBezTo>
                <a:cubicBezTo>
                  <a:pt x="85" y="207"/>
                  <a:pt x="87" y="207"/>
                  <a:pt x="87" y="206"/>
                </a:cubicBezTo>
                <a:cubicBezTo>
                  <a:pt x="86" y="206"/>
                  <a:pt x="85" y="208"/>
                  <a:pt x="86" y="208"/>
                </a:cubicBezTo>
                <a:close/>
                <a:moveTo>
                  <a:pt x="84" y="206"/>
                </a:moveTo>
                <a:cubicBezTo>
                  <a:pt x="84" y="206"/>
                  <a:pt x="84" y="207"/>
                  <a:pt x="85" y="206"/>
                </a:cubicBezTo>
                <a:cubicBezTo>
                  <a:pt x="84" y="206"/>
                  <a:pt x="84" y="205"/>
                  <a:pt x="84" y="206"/>
                </a:cubicBezTo>
                <a:cubicBezTo>
                  <a:pt x="84" y="206"/>
                  <a:pt x="83" y="205"/>
                  <a:pt x="84" y="206"/>
                </a:cubicBezTo>
                <a:close/>
                <a:moveTo>
                  <a:pt x="79" y="215"/>
                </a:moveTo>
                <a:cubicBezTo>
                  <a:pt x="79" y="215"/>
                  <a:pt x="79" y="215"/>
                  <a:pt x="80" y="215"/>
                </a:cubicBezTo>
                <a:cubicBezTo>
                  <a:pt x="80" y="214"/>
                  <a:pt x="82" y="213"/>
                  <a:pt x="81" y="212"/>
                </a:cubicBezTo>
                <a:cubicBezTo>
                  <a:pt x="81" y="212"/>
                  <a:pt x="81" y="212"/>
                  <a:pt x="81" y="212"/>
                </a:cubicBezTo>
                <a:cubicBezTo>
                  <a:pt x="81" y="212"/>
                  <a:pt x="80" y="212"/>
                  <a:pt x="80" y="212"/>
                </a:cubicBezTo>
                <a:cubicBezTo>
                  <a:pt x="81" y="212"/>
                  <a:pt x="81" y="212"/>
                  <a:pt x="81" y="213"/>
                </a:cubicBezTo>
                <a:cubicBezTo>
                  <a:pt x="80" y="212"/>
                  <a:pt x="80" y="213"/>
                  <a:pt x="80" y="212"/>
                </a:cubicBezTo>
                <a:cubicBezTo>
                  <a:pt x="79" y="212"/>
                  <a:pt x="79" y="212"/>
                  <a:pt x="79" y="213"/>
                </a:cubicBezTo>
                <a:cubicBezTo>
                  <a:pt x="79" y="214"/>
                  <a:pt x="77" y="216"/>
                  <a:pt x="76" y="217"/>
                </a:cubicBezTo>
                <a:cubicBezTo>
                  <a:pt x="77" y="217"/>
                  <a:pt x="77" y="216"/>
                  <a:pt x="77" y="217"/>
                </a:cubicBezTo>
                <a:cubicBezTo>
                  <a:pt x="77" y="217"/>
                  <a:pt x="77" y="217"/>
                  <a:pt x="77" y="217"/>
                </a:cubicBezTo>
                <a:cubicBezTo>
                  <a:pt x="77" y="217"/>
                  <a:pt x="78" y="216"/>
                  <a:pt x="79" y="216"/>
                </a:cubicBezTo>
                <a:cubicBezTo>
                  <a:pt x="78" y="216"/>
                  <a:pt x="78" y="215"/>
                  <a:pt x="78" y="215"/>
                </a:cubicBezTo>
                <a:cubicBezTo>
                  <a:pt x="79" y="215"/>
                  <a:pt x="78" y="215"/>
                  <a:pt x="79" y="215"/>
                </a:cubicBezTo>
                <a:cubicBezTo>
                  <a:pt x="79" y="215"/>
                  <a:pt x="79" y="215"/>
                  <a:pt x="79" y="215"/>
                </a:cubicBezTo>
                <a:close/>
                <a:moveTo>
                  <a:pt x="74" y="207"/>
                </a:moveTo>
                <a:cubicBezTo>
                  <a:pt x="73" y="207"/>
                  <a:pt x="73" y="208"/>
                  <a:pt x="72" y="207"/>
                </a:cubicBezTo>
                <a:cubicBezTo>
                  <a:pt x="71" y="209"/>
                  <a:pt x="70" y="210"/>
                  <a:pt x="69" y="210"/>
                </a:cubicBezTo>
                <a:cubicBezTo>
                  <a:pt x="68" y="211"/>
                  <a:pt x="69" y="210"/>
                  <a:pt x="69" y="211"/>
                </a:cubicBezTo>
                <a:cubicBezTo>
                  <a:pt x="68" y="211"/>
                  <a:pt x="69" y="212"/>
                  <a:pt x="68" y="212"/>
                </a:cubicBezTo>
                <a:cubicBezTo>
                  <a:pt x="69" y="212"/>
                  <a:pt x="69" y="211"/>
                  <a:pt x="68" y="211"/>
                </a:cubicBezTo>
                <a:cubicBezTo>
                  <a:pt x="68" y="212"/>
                  <a:pt x="67" y="212"/>
                  <a:pt x="68" y="213"/>
                </a:cubicBezTo>
                <a:cubicBezTo>
                  <a:pt x="68" y="213"/>
                  <a:pt x="68" y="213"/>
                  <a:pt x="68" y="213"/>
                </a:cubicBezTo>
                <a:cubicBezTo>
                  <a:pt x="69" y="212"/>
                  <a:pt x="69" y="213"/>
                  <a:pt x="69" y="214"/>
                </a:cubicBezTo>
                <a:cubicBezTo>
                  <a:pt x="70" y="213"/>
                  <a:pt x="70" y="211"/>
                  <a:pt x="71" y="211"/>
                </a:cubicBezTo>
                <a:cubicBezTo>
                  <a:pt x="70" y="211"/>
                  <a:pt x="70" y="212"/>
                  <a:pt x="70" y="212"/>
                </a:cubicBezTo>
                <a:cubicBezTo>
                  <a:pt x="71" y="212"/>
                  <a:pt x="71" y="212"/>
                  <a:pt x="71" y="212"/>
                </a:cubicBezTo>
                <a:cubicBezTo>
                  <a:pt x="71" y="213"/>
                  <a:pt x="70" y="213"/>
                  <a:pt x="71" y="214"/>
                </a:cubicBezTo>
                <a:cubicBezTo>
                  <a:pt x="69" y="213"/>
                  <a:pt x="70" y="215"/>
                  <a:pt x="69" y="216"/>
                </a:cubicBezTo>
                <a:cubicBezTo>
                  <a:pt x="68" y="217"/>
                  <a:pt x="66" y="218"/>
                  <a:pt x="67" y="219"/>
                </a:cubicBezTo>
                <a:cubicBezTo>
                  <a:pt x="65" y="219"/>
                  <a:pt x="64" y="222"/>
                  <a:pt x="62" y="223"/>
                </a:cubicBezTo>
                <a:cubicBezTo>
                  <a:pt x="63" y="223"/>
                  <a:pt x="62" y="223"/>
                  <a:pt x="63" y="223"/>
                </a:cubicBezTo>
                <a:cubicBezTo>
                  <a:pt x="63" y="223"/>
                  <a:pt x="62" y="225"/>
                  <a:pt x="63" y="225"/>
                </a:cubicBezTo>
                <a:cubicBezTo>
                  <a:pt x="63" y="224"/>
                  <a:pt x="63" y="223"/>
                  <a:pt x="64" y="223"/>
                </a:cubicBezTo>
                <a:cubicBezTo>
                  <a:pt x="64" y="221"/>
                  <a:pt x="67" y="221"/>
                  <a:pt x="67" y="219"/>
                </a:cubicBezTo>
                <a:cubicBezTo>
                  <a:pt x="68" y="218"/>
                  <a:pt x="68" y="218"/>
                  <a:pt x="69" y="217"/>
                </a:cubicBezTo>
                <a:cubicBezTo>
                  <a:pt x="69" y="217"/>
                  <a:pt x="68" y="217"/>
                  <a:pt x="69" y="216"/>
                </a:cubicBezTo>
                <a:cubicBezTo>
                  <a:pt x="70" y="217"/>
                  <a:pt x="69" y="216"/>
                  <a:pt x="69" y="216"/>
                </a:cubicBezTo>
                <a:cubicBezTo>
                  <a:pt x="70" y="216"/>
                  <a:pt x="73" y="213"/>
                  <a:pt x="72" y="212"/>
                </a:cubicBezTo>
                <a:cubicBezTo>
                  <a:pt x="73" y="212"/>
                  <a:pt x="73" y="212"/>
                  <a:pt x="73" y="212"/>
                </a:cubicBezTo>
                <a:cubicBezTo>
                  <a:pt x="73" y="211"/>
                  <a:pt x="73" y="210"/>
                  <a:pt x="72" y="210"/>
                </a:cubicBezTo>
                <a:cubicBezTo>
                  <a:pt x="73" y="210"/>
                  <a:pt x="73" y="210"/>
                  <a:pt x="73" y="211"/>
                </a:cubicBezTo>
                <a:cubicBezTo>
                  <a:pt x="72" y="210"/>
                  <a:pt x="72" y="211"/>
                  <a:pt x="72" y="211"/>
                </a:cubicBezTo>
                <a:cubicBezTo>
                  <a:pt x="72" y="210"/>
                  <a:pt x="72" y="209"/>
                  <a:pt x="72" y="209"/>
                </a:cubicBezTo>
                <a:cubicBezTo>
                  <a:pt x="72" y="210"/>
                  <a:pt x="71" y="210"/>
                  <a:pt x="71" y="210"/>
                </a:cubicBezTo>
                <a:cubicBezTo>
                  <a:pt x="72" y="210"/>
                  <a:pt x="71" y="209"/>
                  <a:pt x="72" y="209"/>
                </a:cubicBezTo>
                <a:cubicBezTo>
                  <a:pt x="73" y="209"/>
                  <a:pt x="72" y="207"/>
                  <a:pt x="74" y="208"/>
                </a:cubicBezTo>
                <a:cubicBezTo>
                  <a:pt x="74" y="208"/>
                  <a:pt x="74" y="207"/>
                  <a:pt x="74" y="207"/>
                </a:cubicBezTo>
                <a:close/>
                <a:moveTo>
                  <a:pt x="64" y="211"/>
                </a:moveTo>
                <a:cubicBezTo>
                  <a:pt x="66" y="211"/>
                  <a:pt x="67" y="206"/>
                  <a:pt x="68" y="207"/>
                </a:cubicBezTo>
                <a:cubicBezTo>
                  <a:pt x="68" y="206"/>
                  <a:pt x="70" y="205"/>
                  <a:pt x="69" y="204"/>
                </a:cubicBezTo>
                <a:cubicBezTo>
                  <a:pt x="68" y="206"/>
                  <a:pt x="66" y="208"/>
                  <a:pt x="64" y="211"/>
                </a:cubicBezTo>
                <a:close/>
                <a:moveTo>
                  <a:pt x="73" y="215"/>
                </a:moveTo>
                <a:cubicBezTo>
                  <a:pt x="73" y="215"/>
                  <a:pt x="74" y="214"/>
                  <a:pt x="73" y="214"/>
                </a:cubicBezTo>
                <a:cubicBezTo>
                  <a:pt x="73" y="215"/>
                  <a:pt x="72" y="214"/>
                  <a:pt x="72" y="215"/>
                </a:cubicBezTo>
                <a:cubicBezTo>
                  <a:pt x="72" y="215"/>
                  <a:pt x="71" y="215"/>
                  <a:pt x="71" y="217"/>
                </a:cubicBezTo>
                <a:cubicBezTo>
                  <a:pt x="71" y="217"/>
                  <a:pt x="71" y="217"/>
                  <a:pt x="71" y="217"/>
                </a:cubicBezTo>
                <a:cubicBezTo>
                  <a:pt x="72" y="217"/>
                  <a:pt x="73" y="215"/>
                  <a:pt x="74" y="216"/>
                </a:cubicBezTo>
                <a:cubicBezTo>
                  <a:pt x="74" y="216"/>
                  <a:pt x="74" y="215"/>
                  <a:pt x="75" y="215"/>
                </a:cubicBezTo>
                <a:cubicBezTo>
                  <a:pt x="74" y="214"/>
                  <a:pt x="74" y="214"/>
                  <a:pt x="74" y="213"/>
                </a:cubicBezTo>
                <a:cubicBezTo>
                  <a:pt x="75" y="213"/>
                  <a:pt x="75" y="212"/>
                  <a:pt x="76" y="212"/>
                </a:cubicBezTo>
                <a:cubicBezTo>
                  <a:pt x="75" y="212"/>
                  <a:pt x="76" y="211"/>
                  <a:pt x="76" y="211"/>
                </a:cubicBezTo>
                <a:cubicBezTo>
                  <a:pt x="75" y="211"/>
                  <a:pt x="74" y="213"/>
                  <a:pt x="73" y="214"/>
                </a:cubicBezTo>
                <a:cubicBezTo>
                  <a:pt x="74" y="214"/>
                  <a:pt x="74" y="215"/>
                  <a:pt x="73" y="215"/>
                </a:cubicBezTo>
                <a:close/>
                <a:moveTo>
                  <a:pt x="74" y="210"/>
                </a:moveTo>
                <a:cubicBezTo>
                  <a:pt x="74" y="210"/>
                  <a:pt x="74" y="210"/>
                  <a:pt x="74" y="210"/>
                </a:cubicBezTo>
                <a:cubicBezTo>
                  <a:pt x="75" y="211"/>
                  <a:pt x="75" y="211"/>
                  <a:pt x="75" y="211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5" y="210"/>
                  <a:pt x="75" y="210"/>
                </a:cubicBezTo>
                <a:cubicBezTo>
                  <a:pt x="75" y="210"/>
                  <a:pt x="74" y="210"/>
                  <a:pt x="74" y="210"/>
                </a:cubicBezTo>
                <a:close/>
                <a:moveTo>
                  <a:pt x="48" y="194"/>
                </a:moveTo>
                <a:cubicBezTo>
                  <a:pt x="47" y="194"/>
                  <a:pt x="49" y="193"/>
                  <a:pt x="48" y="193"/>
                </a:cubicBezTo>
                <a:cubicBezTo>
                  <a:pt x="47" y="193"/>
                  <a:pt x="47" y="195"/>
                  <a:pt x="48" y="194"/>
                </a:cubicBezTo>
                <a:close/>
                <a:moveTo>
                  <a:pt x="75" y="220"/>
                </a:moveTo>
                <a:cubicBezTo>
                  <a:pt x="76" y="219"/>
                  <a:pt x="77" y="219"/>
                  <a:pt x="77" y="217"/>
                </a:cubicBezTo>
                <a:cubicBezTo>
                  <a:pt x="76" y="218"/>
                  <a:pt x="75" y="219"/>
                  <a:pt x="75" y="220"/>
                </a:cubicBezTo>
                <a:close/>
                <a:moveTo>
                  <a:pt x="39" y="198"/>
                </a:moveTo>
                <a:cubicBezTo>
                  <a:pt x="39" y="199"/>
                  <a:pt x="39" y="198"/>
                  <a:pt x="39" y="199"/>
                </a:cubicBezTo>
                <a:cubicBezTo>
                  <a:pt x="40" y="199"/>
                  <a:pt x="40" y="198"/>
                  <a:pt x="40" y="198"/>
                </a:cubicBezTo>
                <a:cubicBezTo>
                  <a:pt x="40" y="198"/>
                  <a:pt x="39" y="198"/>
                  <a:pt x="39" y="198"/>
                </a:cubicBezTo>
                <a:close/>
                <a:moveTo>
                  <a:pt x="67" y="230"/>
                </a:moveTo>
                <a:cubicBezTo>
                  <a:pt x="68" y="230"/>
                  <a:pt x="68" y="229"/>
                  <a:pt x="67" y="229"/>
                </a:cubicBezTo>
                <a:cubicBezTo>
                  <a:pt x="67" y="229"/>
                  <a:pt x="66" y="229"/>
                  <a:pt x="67" y="230"/>
                </a:cubicBezTo>
                <a:cubicBezTo>
                  <a:pt x="67" y="230"/>
                  <a:pt x="67" y="230"/>
                  <a:pt x="67" y="230"/>
                </a:cubicBezTo>
                <a:cubicBezTo>
                  <a:pt x="68" y="230"/>
                  <a:pt x="71" y="228"/>
                  <a:pt x="70" y="227"/>
                </a:cubicBezTo>
                <a:cubicBezTo>
                  <a:pt x="70" y="228"/>
                  <a:pt x="69" y="228"/>
                  <a:pt x="68" y="228"/>
                </a:cubicBezTo>
                <a:cubicBezTo>
                  <a:pt x="68" y="228"/>
                  <a:pt x="67" y="228"/>
                  <a:pt x="68" y="227"/>
                </a:cubicBezTo>
                <a:cubicBezTo>
                  <a:pt x="67" y="228"/>
                  <a:pt x="67" y="229"/>
                  <a:pt x="68" y="229"/>
                </a:cubicBezTo>
                <a:cubicBezTo>
                  <a:pt x="68" y="229"/>
                  <a:pt x="68" y="229"/>
                  <a:pt x="68" y="230"/>
                </a:cubicBezTo>
                <a:cubicBezTo>
                  <a:pt x="68" y="229"/>
                  <a:pt x="67" y="230"/>
                  <a:pt x="67" y="230"/>
                </a:cubicBezTo>
                <a:close/>
                <a:moveTo>
                  <a:pt x="57" y="232"/>
                </a:moveTo>
                <a:cubicBezTo>
                  <a:pt x="56" y="231"/>
                  <a:pt x="57" y="233"/>
                  <a:pt x="56" y="233"/>
                </a:cubicBezTo>
                <a:cubicBezTo>
                  <a:pt x="56" y="233"/>
                  <a:pt x="57" y="233"/>
                  <a:pt x="57" y="232"/>
                </a:cubicBezTo>
                <a:cubicBezTo>
                  <a:pt x="57" y="231"/>
                  <a:pt x="60" y="229"/>
                  <a:pt x="61" y="228"/>
                </a:cubicBezTo>
                <a:cubicBezTo>
                  <a:pt x="60" y="228"/>
                  <a:pt x="60" y="227"/>
                  <a:pt x="60" y="227"/>
                </a:cubicBezTo>
                <a:cubicBezTo>
                  <a:pt x="61" y="227"/>
                  <a:pt x="62" y="226"/>
                  <a:pt x="62" y="226"/>
                </a:cubicBezTo>
                <a:cubicBezTo>
                  <a:pt x="61" y="226"/>
                  <a:pt x="61" y="226"/>
                  <a:pt x="60" y="226"/>
                </a:cubicBezTo>
                <a:cubicBezTo>
                  <a:pt x="61" y="226"/>
                  <a:pt x="61" y="227"/>
                  <a:pt x="61" y="227"/>
                </a:cubicBezTo>
                <a:cubicBezTo>
                  <a:pt x="59" y="228"/>
                  <a:pt x="58" y="230"/>
                  <a:pt x="57" y="232"/>
                </a:cubicBezTo>
                <a:close/>
                <a:moveTo>
                  <a:pt x="66" y="232"/>
                </a:moveTo>
                <a:cubicBezTo>
                  <a:pt x="67" y="232"/>
                  <a:pt x="65" y="232"/>
                  <a:pt x="65" y="231"/>
                </a:cubicBezTo>
                <a:cubicBezTo>
                  <a:pt x="66" y="232"/>
                  <a:pt x="64" y="232"/>
                  <a:pt x="64" y="233"/>
                </a:cubicBezTo>
                <a:cubicBezTo>
                  <a:pt x="65" y="233"/>
                  <a:pt x="65" y="233"/>
                  <a:pt x="66" y="233"/>
                </a:cubicBezTo>
                <a:cubicBezTo>
                  <a:pt x="65" y="232"/>
                  <a:pt x="65" y="233"/>
                  <a:pt x="65" y="233"/>
                </a:cubicBezTo>
                <a:cubicBezTo>
                  <a:pt x="65" y="232"/>
                  <a:pt x="65" y="232"/>
                  <a:pt x="66" y="232"/>
                </a:cubicBezTo>
                <a:cubicBezTo>
                  <a:pt x="66" y="232"/>
                  <a:pt x="66" y="232"/>
                  <a:pt x="66" y="233"/>
                </a:cubicBezTo>
                <a:cubicBezTo>
                  <a:pt x="67" y="232"/>
                  <a:pt x="68" y="232"/>
                  <a:pt x="67" y="231"/>
                </a:cubicBezTo>
                <a:cubicBezTo>
                  <a:pt x="67" y="231"/>
                  <a:pt x="67" y="232"/>
                  <a:pt x="66" y="232"/>
                </a:cubicBezTo>
                <a:close/>
                <a:moveTo>
                  <a:pt x="50" y="233"/>
                </a:moveTo>
                <a:cubicBezTo>
                  <a:pt x="50" y="232"/>
                  <a:pt x="50" y="232"/>
                  <a:pt x="50" y="232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9" y="233"/>
                  <a:pt x="49" y="233"/>
                  <a:pt x="49" y="233"/>
                </a:cubicBezTo>
                <a:cubicBezTo>
                  <a:pt x="48" y="233"/>
                  <a:pt x="48" y="234"/>
                  <a:pt x="47" y="235"/>
                </a:cubicBezTo>
                <a:cubicBezTo>
                  <a:pt x="48" y="233"/>
                  <a:pt x="49" y="231"/>
                  <a:pt x="50" y="229"/>
                </a:cubicBezTo>
                <a:cubicBezTo>
                  <a:pt x="52" y="228"/>
                  <a:pt x="53" y="226"/>
                  <a:pt x="55" y="224"/>
                </a:cubicBezTo>
                <a:cubicBezTo>
                  <a:pt x="55" y="225"/>
                  <a:pt x="54" y="226"/>
                  <a:pt x="53" y="227"/>
                </a:cubicBezTo>
                <a:cubicBezTo>
                  <a:pt x="52" y="228"/>
                  <a:pt x="53" y="228"/>
                  <a:pt x="52" y="229"/>
                </a:cubicBezTo>
                <a:cubicBezTo>
                  <a:pt x="52" y="229"/>
                  <a:pt x="52" y="230"/>
                  <a:pt x="52" y="229"/>
                </a:cubicBezTo>
                <a:cubicBezTo>
                  <a:pt x="52" y="231"/>
                  <a:pt x="50" y="232"/>
                  <a:pt x="50" y="233"/>
                </a:cubicBezTo>
                <a:close/>
                <a:moveTo>
                  <a:pt x="51" y="231"/>
                </a:moveTo>
                <a:cubicBezTo>
                  <a:pt x="51" y="231"/>
                  <a:pt x="50" y="231"/>
                  <a:pt x="50" y="231"/>
                </a:cubicBezTo>
                <a:cubicBezTo>
                  <a:pt x="50" y="232"/>
                  <a:pt x="50" y="232"/>
                  <a:pt x="51" y="231"/>
                </a:cubicBezTo>
                <a:close/>
                <a:moveTo>
                  <a:pt x="47" y="227"/>
                </a:moveTo>
                <a:cubicBezTo>
                  <a:pt x="47" y="226"/>
                  <a:pt x="48" y="225"/>
                  <a:pt x="48" y="225"/>
                </a:cubicBezTo>
                <a:cubicBezTo>
                  <a:pt x="47" y="225"/>
                  <a:pt x="47" y="225"/>
                  <a:pt x="47" y="225"/>
                </a:cubicBezTo>
                <a:cubicBezTo>
                  <a:pt x="48" y="226"/>
                  <a:pt x="46" y="226"/>
                  <a:pt x="47" y="227"/>
                </a:cubicBezTo>
                <a:close/>
                <a:moveTo>
                  <a:pt x="64" y="239"/>
                </a:moveTo>
                <a:cubicBezTo>
                  <a:pt x="64" y="238"/>
                  <a:pt x="65" y="238"/>
                  <a:pt x="64" y="238"/>
                </a:cubicBezTo>
                <a:cubicBezTo>
                  <a:pt x="64" y="238"/>
                  <a:pt x="64" y="238"/>
                  <a:pt x="64" y="238"/>
                </a:cubicBezTo>
                <a:cubicBezTo>
                  <a:pt x="65" y="238"/>
                  <a:pt x="63" y="239"/>
                  <a:pt x="64" y="239"/>
                </a:cubicBezTo>
                <a:close/>
                <a:moveTo>
                  <a:pt x="54" y="231"/>
                </a:moveTo>
                <a:cubicBezTo>
                  <a:pt x="53" y="232"/>
                  <a:pt x="53" y="232"/>
                  <a:pt x="53" y="232"/>
                </a:cubicBezTo>
                <a:cubicBezTo>
                  <a:pt x="53" y="231"/>
                  <a:pt x="53" y="231"/>
                  <a:pt x="53" y="231"/>
                </a:cubicBezTo>
                <a:cubicBezTo>
                  <a:pt x="53" y="231"/>
                  <a:pt x="52" y="231"/>
                  <a:pt x="52" y="231"/>
                </a:cubicBezTo>
                <a:cubicBezTo>
                  <a:pt x="52" y="232"/>
                  <a:pt x="53" y="232"/>
                  <a:pt x="52" y="232"/>
                </a:cubicBezTo>
                <a:cubicBezTo>
                  <a:pt x="51" y="232"/>
                  <a:pt x="51" y="234"/>
                  <a:pt x="50" y="235"/>
                </a:cubicBezTo>
                <a:cubicBezTo>
                  <a:pt x="50" y="235"/>
                  <a:pt x="51" y="236"/>
                  <a:pt x="51" y="235"/>
                </a:cubicBezTo>
                <a:cubicBezTo>
                  <a:pt x="52" y="235"/>
                  <a:pt x="50" y="235"/>
                  <a:pt x="51" y="235"/>
                </a:cubicBezTo>
                <a:cubicBezTo>
                  <a:pt x="51" y="235"/>
                  <a:pt x="52" y="235"/>
                  <a:pt x="52" y="234"/>
                </a:cubicBezTo>
                <a:cubicBezTo>
                  <a:pt x="51" y="234"/>
                  <a:pt x="51" y="234"/>
                  <a:pt x="51" y="233"/>
                </a:cubicBezTo>
                <a:cubicBezTo>
                  <a:pt x="52" y="233"/>
                  <a:pt x="52" y="232"/>
                  <a:pt x="53" y="232"/>
                </a:cubicBezTo>
                <a:cubicBezTo>
                  <a:pt x="53" y="232"/>
                  <a:pt x="53" y="233"/>
                  <a:pt x="53" y="233"/>
                </a:cubicBezTo>
                <a:cubicBezTo>
                  <a:pt x="54" y="232"/>
                  <a:pt x="54" y="231"/>
                  <a:pt x="53" y="231"/>
                </a:cubicBezTo>
                <a:cubicBezTo>
                  <a:pt x="53" y="231"/>
                  <a:pt x="54" y="231"/>
                  <a:pt x="54" y="231"/>
                </a:cubicBezTo>
                <a:close/>
                <a:moveTo>
                  <a:pt x="53" y="236"/>
                </a:moveTo>
                <a:cubicBezTo>
                  <a:pt x="54" y="237"/>
                  <a:pt x="51" y="238"/>
                  <a:pt x="52" y="239"/>
                </a:cubicBezTo>
                <a:cubicBezTo>
                  <a:pt x="53" y="237"/>
                  <a:pt x="55" y="235"/>
                  <a:pt x="56" y="233"/>
                </a:cubicBezTo>
                <a:cubicBezTo>
                  <a:pt x="55" y="234"/>
                  <a:pt x="55" y="235"/>
                  <a:pt x="54" y="235"/>
                </a:cubicBezTo>
                <a:cubicBezTo>
                  <a:pt x="54" y="236"/>
                  <a:pt x="54" y="236"/>
                  <a:pt x="54" y="235"/>
                </a:cubicBezTo>
                <a:cubicBezTo>
                  <a:pt x="54" y="236"/>
                  <a:pt x="53" y="237"/>
                  <a:pt x="53" y="236"/>
                </a:cubicBezTo>
                <a:close/>
                <a:moveTo>
                  <a:pt x="59" y="240"/>
                </a:moveTo>
                <a:cubicBezTo>
                  <a:pt x="59" y="240"/>
                  <a:pt x="60" y="240"/>
                  <a:pt x="60" y="240"/>
                </a:cubicBezTo>
                <a:cubicBezTo>
                  <a:pt x="60" y="239"/>
                  <a:pt x="60" y="240"/>
                  <a:pt x="59" y="239"/>
                </a:cubicBezTo>
                <a:cubicBezTo>
                  <a:pt x="60" y="239"/>
                  <a:pt x="59" y="239"/>
                  <a:pt x="59" y="239"/>
                </a:cubicBezTo>
                <a:cubicBezTo>
                  <a:pt x="60" y="240"/>
                  <a:pt x="59" y="240"/>
                  <a:pt x="59" y="240"/>
                </a:cubicBezTo>
                <a:close/>
                <a:moveTo>
                  <a:pt x="46" y="234"/>
                </a:moveTo>
                <a:cubicBezTo>
                  <a:pt x="47" y="234"/>
                  <a:pt x="47" y="233"/>
                  <a:pt x="47" y="233"/>
                </a:cubicBezTo>
                <a:cubicBezTo>
                  <a:pt x="46" y="234"/>
                  <a:pt x="46" y="232"/>
                  <a:pt x="46" y="233"/>
                </a:cubicBezTo>
                <a:cubicBezTo>
                  <a:pt x="46" y="233"/>
                  <a:pt x="46" y="233"/>
                  <a:pt x="46" y="233"/>
                </a:cubicBezTo>
                <a:cubicBezTo>
                  <a:pt x="46" y="233"/>
                  <a:pt x="46" y="234"/>
                  <a:pt x="46" y="234"/>
                </a:cubicBezTo>
                <a:close/>
                <a:moveTo>
                  <a:pt x="48" y="236"/>
                </a:moveTo>
                <a:cubicBezTo>
                  <a:pt x="48" y="237"/>
                  <a:pt x="49" y="237"/>
                  <a:pt x="49" y="238"/>
                </a:cubicBezTo>
                <a:cubicBezTo>
                  <a:pt x="49" y="237"/>
                  <a:pt x="51" y="237"/>
                  <a:pt x="51" y="236"/>
                </a:cubicBezTo>
                <a:cubicBezTo>
                  <a:pt x="50" y="236"/>
                  <a:pt x="50" y="236"/>
                  <a:pt x="49" y="237"/>
                </a:cubicBezTo>
                <a:cubicBezTo>
                  <a:pt x="49" y="236"/>
                  <a:pt x="50" y="236"/>
                  <a:pt x="49" y="235"/>
                </a:cubicBezTo>
                <a:cubicBezTo>
                  <a:pt x="49" y="236"/>
                  <a:pt x="49" y="236"/>
                  <a:pt x="48" y="236"/>
                </a:cubicBezTo>
                <a:close/>
                <a:moveTo>
                  <a:pt x="24" y="224"/>
                </a:moveTo>
                <a:cubicBezTo>
                  <a:pt x="24" y="223"/>
                  <a:pt x="24" y="224"/>
                  <a:pt x="25" y="223"/>
                </a:cubicBezTo>
                <a:cubicBezTo>
                  <a:pt x="24" y="223"/>
                  <a:pt x="24" y="223"/>
                  <a:pt x="23" y="223"/>
                </a:cubicBezTo>
                <a:cubicBezTo>
                  <a:pt x="24" y="224"/>
                  <a:pt x="24" y="223"/>
                  <a:pt x="24" y="224"/>
                </a:cubicBezTo>
                <a:cubicBezTo>
                  <a:pt x="24" y="224"/>
                  <a:pt x="24" y="224"/>
                  <a:pt x="24" y="224"/>
                </a:cubicBezTo>
                <a:close/>
                <a:moveTo>
                  <a:pt x="17" y="230"/>
                </a:moveTo>
                <a:cubicBezTo>
                  <a:pt x="18" y="228"/>
                  <a:pt x="19" y="228"/>
                  <a:pt x="19" y="227"/>
                </a:cubicBezTo>
                <a:cubicBezTo>
                  <a:pt x="19" y="227"/>
                  <a:pt x="16" y="229"/>
                  <a:pt x="17" y="230"/>
                </a:cubicBezTo>
                <a:close/>
                <a:moveTo>
                  <a:pt x="45" y="246"/>
                </a:moveTo>
                <a:cubicBezTo>
                  <a:pt x="45" y="246"/>
                  <a:pt x="46" y="247"/>
                  <a:pt x="46" y="247"/>
                </a:cubicBezTo>
                <a:cubicBezTo>
                  <a:pt x="45" y="247"/>
                  <a:pt x="45" y="248"/>
                  <a:pt x="45" y="248"/>
                </a:cubicBezTo>
                <a:cubicBezTo>
                  <a:pt x="46" y="248"/>
                  <a:pt x="46" y="247"/>
                  <a:pt x="47" y="247"/>
                </a:cubicBezTo>
                <a:cubicBezTo>
                  <a:pt x="47" y="247"/>
                  <a:pt x="47" y="247"/>
                  <a:pt x="47" y="247"/>
                </a:cubicBezTo>
                <a:cubicBezTo>
                  <a:pt x="46" y="247"/>
                  <a:pt x="46" y="245"/>
                  <a:pt x="45" y="246"/>
                </a:cubicBezTo>
                <a:close/>
                <a:moveTo>
                  <a:pt x="19" y="231"/>
                </a:moveTo>
                <a:cubicBezTo>
                  <a:pt x="19" y="231"/>
                  <a:pt x="18" y="231"/>
                  <a:pt x="18" y="231"/>
                </a:cubicBezTo>
                <a:cubicBezTo>
                  <a:pt x="19" y="232"/>
                  <a:pt x="19" y="230"/>
                  <a:pt x="18" y="230"/>
                </a:cubicBezTo>
                <a:cubicBezTo>
                  <a:pt x="18" y="231"/>
                  <a:pt x="19" y="230"/>
                  <a:pt x="19" y="231"/>
                </a:cubicBezTo>
                <a:close/>
                <a:moveTo>
                  <a:pt x="18" y="232"/>
                </a:moveTo>
                <a:cubicBezTo>
                  <a:pt x="18" y="234"/>
                  <a:pt x="17" y="234"/>
                  <a:pt x="17" y="235"/>
                </a:cubicBezTo>
                <a:cubicBezTo>
                  <a:pt x="17" y="235"/>
                  <a:pt x="17" y="234"/>
                  <a:pt x="18" y="234"/>
                </a:cubicBezTo>
                <a:cubicBezTo>
                  <a:pt x="18" y="233"/>
                  <a:pt x="19" y="232"/>
                  <a:pt x="18" y="232"/>
                </a:cubicBezTo>
                <a:cubicBezTo>
                  <a:pt x="17" y="232"/>
                  <a:pt x="18" y="233"/>
                  <a:pt x="18" y="232"/>
                </a:cubicBezTo>
                <a:close/>
                <a:moveTo>
                  <a:pt x="4" y="256"/>
                </a:moveTo>
                <a:cubicBezTo>
                  <a:pt x="5" y="255"/>
                  <a:pt x="5" y="254"/>
                  <a:pt x="6" y="253"/>
                </a:cubicBezTo>
                <a:cubicBezTo>
                  <a:pt x="5" y="254"/>
                  <a:pt x="4" y="255"/>
                  <a:pt x="4" y="256"/>
                </a:cubicBezTo>
                <a:close/>
                <a:moveTo>
                  <a:pt x="5" y="258"/>
                </a:moveTo>
                <a:cubicBezTo>
                  <a:pt x="6" y="257"/>
                  <a:pt x="6" y="258"/>
                  <a:pt x="6" y="257"/>
                </a:cubicBezTo>
                <a:cubicBezTo>
                  <a:pt x="6" y="257"/>
                  <a:pt x="6" y="256"/>
                  <a:pt x="6" y="257"/>
                </a:cubicBezTo>
                <a:cubicBezTo>
                  <a:pt x="6" y="257"/>
                  <a:pt x="6" y="257"/>
                  <a:pt x="6" y="257"/>
                </a:cubicBezTo>
                <a:cubicBezTo>
                  <a:pt x="5" y="257"/>
                  <a:pt x="5" y="257"/>
                  <a:pt x="5" y="258"/>
                </a:cubicBezTo>
                <a:close/>
                <a:moveTo>
                  <a:pt x="810" y="264"/>
                </a:moveTo>
                <a:cubicBezTo>
                  <a:pt x="810" y="263"/>
                  <a:pt x="808" y="261"/>
                  <a:pt x="809" y="261"/>
                </a:cubicBezTo>
                <a:cubicBezTo>
                  <a:pt x="810" y="263"/>
                  <a:pt x="809" y="259"/>
                  <a:pt x="809" y="258"/>
                </a:cubicBezTo>
                <a:cubicBezTo>
                  <a:pt x="810" y="258"/>
                  <a:pt x="811" y="261"/>
                  <a:pt x="811" y="261"/>
                </a:cubicBezTo>
                <a:cubicBezTo>
                  <a:pt x="809" y="256"/>
                  <a:pt x="809" y="255"/>
                  <a:pt x="807" y="251"/>
                </a:cubicBezTo>
                <a:cubicBezTo>
                  <a:pt x="808" y="254"/>
                  <a:pt x="807" y="252"/>
                  <a:pt x="806" y="253"/>
                </a:cubicBezTo>
                <a:cubicBezTo>
                  <a:pt x="806" y="253"/>
                  <a:pt x="807" y="260"/>
                  <a:pt x="805" y="261"/>
                </a:cubicBezTo>
                <a:cubicBezTo>
                  <a:pt x="805" y="261"/>
                  <a:pt x="804" y="259"/>
                  <a:pt x="804" y="259"/>
                </a:cubicBezTo>
                <a:cubicBezTo>
                  <a:pt x="803" y="261"/>
                  <a:pt x="804" y="266"/>
                  <a:pt x="801" y="262"/>
                </a:cubicBezTo>
                <a:cubicBezTo>
                  <a:pt x="805" y="271"/>
                  <a:pt x="805" y="267"/>
                  <a:pt x="806" y="266"/>
                </a:cubicBezTo>
                <a:cubicBezTo>
                  <a:pt x="806" y="266"/>
                  <a:pt x="810" y="269"/>
                  <a:pt x="808" y="265"/>
                </a:cubicBezTo>
                <a:cubicBezTo>
                  <a:pt x="809" y="266"/>
                  <a:pt x="810" y="269"/>
                  <a:pt x="810" y="268"/>
                </a:cubicBezTo>
                <a:cubicBezTo>
                  <a:pt x="811" y="267"/>
                  <a:pt x="808" y="263"/>
                  <a:pt x="810" y="264"/>
                </a:cubicBezTo>
                <a:close/>
                <a:moveTo>
                  <a:pt x="440" y="4"/>
                </a:moveTo>
                <a:cubicBezTo>
                  <a:pt x="437" y="3"/>
                  <a:pt x="437" y="4"/>
                  <a:pt x="434" y="4"/>
                </a:cubicBezTo>
                <a:cubicBezTo>
                  <a:pt x="434" y="3"/>
                  <a:pt x="433" y="3"/>
                  <a:pt x="433" y="3"/>
                </a:cubicBezTo>
                <a:cubicBezTo>
                  <a:pt x="435" y="3"/>
                  <a:pt x="437" y="3"/>
                  <a:pt x="438" y="2"/>
                </a:cubicBezTo>
                <a:cubicBezTo>
                  <a:pt x="434" y="2"/>
                  <a:pt x="429" y="3"/>
                  <a:pt x="425" y="3"/>
                </a:cubicBezTo>
                <a:cubicBezTo>
                  <a:pt x="428" y="3"/>
                  <a:pt x="433" y="4"/>
                  <a:pt x="437" y="4"/>
                </a:cubicBezTo>
                <a:cubicBezTo>
                  <a:pt x="436" y="4"/>
                  <a:pt x="434" y="4"/>
                  <a:pt x="434" y="4"/>
                </a:cubicBezTo>
                <a:cubicBezTo>
                  <a:pt x="439" y="4"/>
                  <a:pt x="441" y="4"/>
                  <a:pt x="443" y="5"/>
                </a:cubicBezTo>
                <a:cubicBezTo>
                  <a:pt x="442" y="4"/>
                  <a:pt x="446" y="5"/>
                  <a:pt x="446" y="5"/>
                </a:cubicBezTo>
                <a:cubicBezTo>
                  <a:pt x="444" y="4"/>
                  <a:pt x="444" y="5"/>
                  <a:pt x="440" y="4"/>
                </a:cubicBezTo>
                <a:close/>
                <a:moveTo>
                  <a:pt x="399" y="5"/>
                </a:moveTo>
                <a:cubicBezTo>
                  <a:pt x="398" y="4"/>
                  <a:pt x="401" y="4"/>
                  <a:pt x="398" y="4"/>
                </a:cubicBezTo>
                <a:cubicBezTo>
                  <a:pt x="393" y="5"/>
                  <a:pt x="386" y="4"/>
                  <a:pt x="382" y="5"/>
                </a:cubicBezTo>
                <a:cubicBezTo>
                  <a:pt x="385" y="5"/>
                  <a:pt x="389" y="5"/>
                  <a:pt x="390" y="6"/>
                </a:cubicBezTo>
                <a:cubicBezTo>
                  <a:pt x="395" y="5"/>
                  <a:pt x="398" y="6"/>
                  <a:pt x="400" y="5"/>
                </a:cubicBezTo>
                <a:lnTo>
                  <a:pt x="399" y="5"/>
                </a:lnTo>
                <a:close/>
                <a:moveTo>
                  <a:pt x="142" y="101"/>
                </a:moveTo>
                <a:cubicBezTo>
                  <a:pt x="142" y="102"/>
                  <a:pt x="141" y="103"/>
                  <a:pt x="143" y="102"/>
                </a:cubicBezTo>
                <a:cubicBezTo>
                  <a:pt x="147" y="98"/>
                  <a:pt x="152" y="95"/>
                  <a:pt x="156" y="91"/>
                </a:cubicBezTo>
                <a:cubicBezTo>
                  <a:pt x="154" y="92"/>
                  <a:pt x="153" y="93"/>
                  <a:pt x="152" y="94"/>
                </a:cubicBezTo>
                <a:cubicBezTo>
                  <a:pt x="153" y="93"/>
                  <a:pt x="154" y="92"/>
                  <a:pt x="154" y="91"/>
                </a:cubicBezTo>
                <a:cubicBezTo>
                  <a:pt x="149" y="95"/>
                  <a:pt x="141" y="101"/>
                  <a:pt x="134" y="107"/>
                </a:cubicBezTo>
                <a:cubicBezTo>
                  <a:pt x="135" y="107"/>
                  <a:pt x="140" y="103"/>
                  <a:pt x="142" y="101"/>
                </a:cubicBezTo>
                <a:close/>
                <a:moveTo>
                  <a:pt x="84" y="158"/>
                </a:moveTo>
                <a:cubicBezTo>
                  <a:pt x="84" y="159"/>
                  <a:pt x="84" y="160"/>
                  <a:pt x="83" y="160"/>
                </a:cubicBezTo>
                <a:cubicBezTo>
                  <a:pt x="83" y="161"/>
                  <a:pt x="83" y="162"/>
                  <a:pt x="84" y="161"/>
                </a:cubicBezTo>
                <a:cubicBezTo>
                  <a:pt x="84" y="161"/>
                  <a:pt x="84" y="161"/>
                  <a:pt x="84" y="161"/>
                </a:cubicBezTo>
                <a:cubicBezTo>
                  <a:pt x="84" y="160"/>
                  <a:pt x="84" y="160"/>
                  <a:pt x="84" y="160"/>
                </a:cubicBezTo>
                <a:cubicBezTo>
                  <a:pt x="85" y="160"/>
                  <a:pt x="84" y="161"/>
                  <a:pt x="85" y="161"/>
                </a:cubicBezTo>
                <a:cubicBezTo>
                  <a:pt x="85" y="160"/>
                  <a:pt x="86" y="160"/>
                  <a:pt x="85" y="160"/>
                </a:cubicBezTo>
                <a:cubicBezTo>
                  <a:pt x="85" y="160"/>
                  <a:pt x="85" y="160"/>
                  <a:pt x="85" y="160"/>
                </a:cubicBezTo>
                <a:cubicBezTo>
                  <a:pt x="85" y="160"/>
                  <a:pt x="85" y="159"/>
                  <a:pt x="85" y="159"/>
                </a:cubicBezTo>
                <a:cubicBezTo>
                  <a:pt x="85" y="159"/>
                  <a:pt x="86" y="159"/>
                  <a:pt x="87" y="158"/>
                </a:cubicBezTo>
                <a:cubicBezTo>
                  <a:pt x="85" y="159"/>
                  <a:pt x="86" y="157"/>
                  <a:pt x="84" y="158"/>
                </a:cubicBezTo>
                <a:close/>
                <a:moveTo>
                  <a:pt x="103" y="180"/>
                </a:moveTo>
                <a:cubicBezTo>
                  <a:pt x="102" y="180"/>
                  <a:pt x="102" y="181"/>
                  <a:pt x="102" y="181"/>
                </a:cubicBezTo>
                <a:cubicBezTo>
                  <a:pt x="102" y="181"/>
                  <a:pt x="103" y="181"/>
                  <a:pt x="103" y="181"/>
                </a:cubicBezTo>
                <a:cubicBezTo>
                  <a:pt x="103" y="181"/>
                  <a:pt x="102" y="181"/>
                  <a:pt x="103" y="182"/>
                </a:cubicBezTo>
                <a:cubicBezTo>
                  <a:pt x="103" y="182"/>
                  <a:pt x="103" y="181"/>
                  <a:pt x="104" y="181"/>
                </a:cubicBezTo>
                <a:cubicBezTo>
                  <a:pt x="103" y="182"/>
                  <a:pt x="103" y="182"/>
                  <a:pt x="103" y="183"/>
                </a:cubicBezTo>
                <a:cubicBezTo>
                  <a:pt x="103" y="182"/>
                  <a:pt x="104" y="182"/>
                  <a:pt x="104" y="181"/>
                </a:cubicBezTo>
                <a:cubicBezTo>
                  <a:pt x="103" y="182"/>
                  <a:pt x="104" y="180"/>
                  <a:pt x="103" y="180"/>
                </a:cubicBezTo>
                <a:close/>
                <a:moveTo>
                  <a:pt x="77" y="160"/>
                </a:moveTo>
                <a:cubicBezTo>
                  <a:pt x="79" y="161"/>
                  <a:pt x="79" y="158"/>
                  <a:pt x="80" y="158"/>
                </a:cubicBezTo>
                <a:cubicBezTo>
                  <a:pt x="80" y="157"/>
                  <a:pt x="80" y="157"/>
                  <a:pt x="80" y="157"/>
                </a:cubicBezTo>
                <a:cubicBezTo>
                  <a:pt x="79" y="157"/>
                  <a:pt x="78" y="159"/>
                  <a:pt x="77" y="160"/>
                </a:cubicBezTo>
                <a:close/>
                <a:moveTo>
                  <a:pt x="81" y="163"/>
                </a:moveTo>
                <a:cubicBezTo>
                  <a:pt x="81" y="163"/>
                  <a:pt x="81" y="164"/>
                  <a:pt x="81" y="164"/>
                </a:cubicBezTo>
                <a:cubicBezTo>
                  <a:pt x="81" y="164"/>
                  <a:pt x="80" y="165"/>
                  <a:pt x="80" y="165"/>
                </a:cubicBezTo>
                <a:cubicBezTo>
                  <a:pt x="82" y="164"/>
                  <a:pt x="83" y="163"/>
                  <a:pt x="83" y="162"/>
                </a:cubicBezTo>
                <a:cubicBezTo>
                  <a:pt x="83" y="161"/>
                  <a:pt x="83" y="161"/>
                  <a:pt x="82" y="161"/>
                </a:cubicBezTo>
                <a:cubicBezTo>
                  <a:pt x="81" y="161"/>
                  <a:pt x="82" y="163"/>
                  <a:pt x="81" y="163"/>
                </a:cubicBezTo>
                <a:close/>
                <a:moveTo>
                  <a:pt x="95" y="192"/>
                </a:moveTo>
                <a:cubicBezTo>
                  <a:pt x="95" y="192"/>
                  <a:pt x="95" y="192"/>
                  <a:pt x="94" y="192"/>
                </a:cubicBezTo>
                <a:cubicBezTo>
                  <a:pt x="94" y="192"/>
                  <a:pt x="94" y="193"/>
                  <a:pt x="94" y="193"/>
                </a:cubicBezTo>
                <a:cubicBezTo>
                  <a:pt x="93" y="193"/>
                  <a:pt x="93" y="194"/>
                  <a:pt x="94" y="194"/>
                </a:cubicBezTo>
                <a:cubicBezTo>
                  <a:pt x="93" y="194"/>
                  <a:pt x="91" y="196"/>
                  <a:pt x="91" y="197"/>
                </a:cubicBezTo>
                <a:cubicBezTo>
                  <a:pt x="91" y="197"/>
                  <a:pt x="91" y="197"/>
                  <a:pt x="91" y="197"/>
                </a:cubicBezTo>
                <a:cubicBezTo>
                  <a:pt x="91" y="198"/>
                  <a:pt x="90" y="198"/>
                  <a:pt x="90" y="199"/>
                </a:cubicBezTo>
                <a:cubicBezTo>
                  <a:pt x="91" y="197"/>
                  <a:pt x="92" y="197"/>
                  <a:pt x="93" y="197"/>
                </a:cubicBezTo>
                <a:cubicBezTo>
                  <a:pt x="93" y="197"/>
                  <a:pt x="93" y="197"/>
                  <a:pt x="93" y="196"/>
                </a:cubicBezTo>
                <a:cubicBezTo>
                  <a:pt x="93" y="196"/>
                  <a:pt x="94" y="195"/>
                  <a:pt x="94" y="195"/>
                </a:cubicBezTo>
                <a:cubicBezTo>
                  <a:pt x="94" y="195"/>
                  <a:pt x="94" y="195"/>
                  <a:pt x="94" y="196"/>
                </a:cubicBezTo>
                <a:cubicBezTo>
                  <a:pt x="95" y="194"/>
                  <a:pt x="95" y="192"/>
                  <a:pt x="96" y="193"/>
                </a:cubicBezTo>
                <a:cubicBezTo>
                  <a:pt x="96" y="193"/>
                  <a:pt x="96" y="193"/>
                  <a:pt x="96" y="193"/>
                </a:cubicBezTo>
                <a:cubicBezTo>
                  <a:pt x="97" y="193"/>
                  <a:pt x="97" y="193"/>
                  <a:pt x="97" y="192"/>
                </a:cubicBezTo>
                <a:cubicBezTo>
                  <a:pt x="96" y="193"/>
                  <a:pt x="97" y="192"/>
                  <a:pt x="96" y="192"/>
                </a:cubicBezTo>
                <a:cubicBezTo>
                  <a:pt x="96" y="193"/>
                  <a:pt x="96" y="192"/>
                  <a:pt x="95" y="192"/>
                </a:cubicBezTo>
                <a:close/>
                <a:moveTo>
                  <a:pt x="65" y="175"/>
                </a:moveTo>
                <a:cubicBezTo>
                  <a:pt x="64" y="175"/>
                  <a:pt x="64" y="175"/>
                  <a:pt x="63" y="175"/>
                </a:cubicBezTo>
                <a:cubicBezTo>
                  <a:pt x="63" y="175"/>
                  <a:pt x="63" y="175"/>
                  <a:pt x="63" y="176"/>
                </a:cubicBezTo>
                <a:cubicBezTo>
                  <a:pt x="64" y="176"/>
                  <a:pt x="64" y="176"/>
                  <a:pt x="64" y="177"/>
                </a:cubicBezTo>
                <a:cubicBezTo>
                  <a:pt x="65" y="175"/>
                  <a:pt x="66" y="175"/>
                  <a:pt x="67" y="173"/>
                </a:cubicBezTo>
                <a:cubicBezTo>
                  <a:pt x="65" y="173"/>
                  <a:pt x="66" y="174"/>
                  <a:pt x="65" y="175"/>
                </a:cubicBezTo>
                <a:close/>
                <a:moveTo>
                  <a:pt x="45" y="240"/>
                </a:moveTo>
                <a:cubicBezTo>
                  <a:pt x="46" y="241"/>
                  <a:pt x="46" y="241"/>
                  <a:pt x="46" y="241"/>
                </a:cubicBezTo>
                <a:cubicBezTo>
                  <a:pt x="45" y="241"/>
                  <a:pt x="45" y="242"/>
                  <a:pt x="44" y="243"/>
                </a:cubicBezTo>
                <a:cubicBezTo>
                  <a:pt x="44" y="243"/>
                  <a:pt x="43" y="243"/>
                  <a:pt x="43" y="243"/>
                </a:cubicBezTo>
                <a:cubicBezTo>
                  <a:pt x="43" y="244"/>
                  <a:pt x="43" y="244"/>
                  <a:pt x="42" y="245"/>
                </a:cubicBezTo>
                <a:cubicBezTo>
                  <a:pt x="43" y="245"/>
                  <a:pt x="43" y="245"/>
                  <a:pt x="44" y="244"/>
                </a:cubicBezTo>
                <a:cubicBezTo>
                  <a:pt x="44" y="244"/>
                  <a:pt x="44" y="244"/>
                  <a:pt x="44" y="244"/>
                </a:cubicBezTo>
                <a:cubicBezTo>
                  <a:pt x="44" y="244"/>
                  <a:pt x="45" y="243"/>
                  <a:pt x="45" y="244"/>
                </a:cubicBezTo>
                <a:cubicBezTo>
                  <a:pt x="45" y="241"/>
                  <a:pt x="47" y="241"/>
                  <a:pt x="48" y="239"/>
                </a:cubicBezTo>
                <a:cubicBezTo>
                  <a:pt x="47" y="238"/>
                  <a:pt x="48" y="238"/>
                  <a:pt x="48" y="237"/>
                </a:cubicBezTo>
                <a:cubicBezTo>
                  <a:pt x="47" y="238"/>
                  <a:pt x="47" y="240"/>
                  <a:pt x="45" y="240"/>
                </a:cubicBezTo>
                <a:close/>
                <a:moveTo>
                  <a:pt x="820" y="180"/>
                </a:moveTo>
                <a:cubicBezTo>
                  <a:pt x="820" y="181"/>
                  <a:pt x="820" y="181"/>
                  <a:pt x="820" y="181"/>
                </a:cubicBezTo>
                <a:cubicBezTo>
                  <a:pt x="821" y="181"/>
                  <a:pt x="820" y="180"/>
                  <a:pt x="820" y="180"/>
                </a:cubicBezTo>
                <a:close/>
                <a:moveTo>
                  <a:pt x="866" y="171"/>
                </a:moveTo>
                <a:cubicBezTo>
                  <a:pt x="865" y="171"/>
                  <a:pt x="865" y="172"/>
                  <a:pt x="865" y="172"/>
                </a:cubicBezTo>
                <a:cubicBezTo>
                  <a:pt x="865" y="172"/>
                  <a:pt x="866" y="172"/>
                  <a:pt x="866" y="171"/>
                </a:cubicBezTo>
                <a:close/>
                <a:moveTo>
                  <a:pt x="867" y="170"/>
                </a:moveTo>
                <a:cubicBezTo>
                  <a:pt x="867" y="170"/>
                  <a:pt x="866" y="171"/>
                  <a:pt x="866" y="171"/>
                </a:cubicBezTo>
                <a:cubicBezTo>
                  <a:pt x="867" y="171"/>
                  <a:pt x="867" y="170"/>
                  <a:pt x="867" y="170"/>
                </a:cubicBezTo>
                <a:close/>
                <a:moveTo>
                  <a:pt x="861" y="164"/>
                </a:moveTo>
                <a:cubicBezTo>
                  <a:pt x="861" y="164"/>
                  <a:pt x="861" y="165"/>
                  <a:pt x="861" y="165"/>
                </a:cubicBezTo>
                <a:cubicBezTo>
                  <a:pt x="861" y="164"/>
                  <a:pt x="861" y="164"/>
                  <a:pt x="861" y="164"/>
                </a:cubicBezTo>
                <a:close/>
                <a:moveTo>
                  <a:pt x="868" y="162"/>
                </a:moveTo>
                <a:cubicBezTo>
                  <a:pt x="868" y="163"/>
                  <a:pt x="868" y="163"/>
                  <a:pt x="868" y="164"/>
                </a:cubicBezTo>
                <a:cubicBezTo>
                  <a:pt x="868" y="163"/>
                  <a:pt x="868" y="162"/>
                  <a:pt x="868" y="162"/>
                </a:cubicBezTo>
                <a:close/>
                <a:moveTo>
                  <a:pt x="837" y="147"/>
                </a:moveTo>
                <a:cubicBezTo>
                  <a:pt x="837" y="148"/>
                  <a:pt x="837" y="150"/>
                  <a:pt x="836" y="151"/>
                </a:cubicBezTo>
                <a:cubicBezTo>
                  <a:pt x="837" y="150"/>
                  <a:pt x="837" y="148"/>
                  <a:pt x="837" y="147"/>
                </a:cubicBezTo>
                <a:close/>
                <a:moveTo>
                  <a:pt x="852" y="150"/>
                </a:moveTo>
                <a:cubicBezTo>
                  <a:pt x="852" y="149"/>
                  <a:pt x="852" y="149"/>
                  <a:pt x="852" y="149"/>
                </a:cubicBezTo>
                <a:cubicBezTo>
                  <a:pt x="852" y="148"/>
                  <a:pt x="853" y="145"/>
                  <a:pt x="852" y="146"/>
                </a:cubicBezTo>
                <a:cubicBezTo>
                  <a:pt x="852" y="147"/>
                  <a:pt x="851" y="150"/>
                  <a:pt x="851" y="151"/>
                </a:cubicBezTo>
                <a:cubicBezTo>
                  <a:pt x="852" y="151"/>
                  <a:pt x="852" y="150"/>
                  <a:pt x="852" y="150"/>
                </a:cubicBezTo>
                <a:close/>
                <a:moveTo>
                  <a:pt x="857" y="134"/>
                </a:moveTo>
                <a:cubicBezTo>
                  <a:pt x="857" y="134"/>
                  <a:pt x="857" y="134"/>
                  <a:pt x="857" y="134"/>
                </a:cubicBezTo>
                <a:cubicBezTo>
                  <a:pt x="857" y="135"/>
                  <a:pt x="857" y="135"/>
                  <a:pt x="857" y="135"/>
                </a:cubicBezTo>
                <a:lnTo>
                  <a:pt x="857" y="134"/>
                </a:lnTo>
                <a:close/>
                <a:moveTo>
                  <a:pt x="855" y="121"/>
                </a:moveTo>
                <a:cubicBezTo>
                  <a:pt x="855" y="119"/>
                  <a:pt x="855" y="121"/>
                  <a:pt x="855" y="122"/>
                </a:cubicBezTo>
                <a:cubicBezTo>
                  <a:pt x="854" y="122"/>
                  <a:pt x="855" y="122"/>
                  <a:pt x="855" y="122"/>
                </a:cubicBezTo>
                <a:cubicBezTo>
                  <a:pt x="854" y="123"/>
                  <a:pt x="853" y="126"/>
                  <a:pt x="854" y="127"/>
                </a:cubicBezTo>
                <a:cubicBezTo>
                  <a:pt x="854" y="125"/>
                  <a:pt x="855" y="123"/>
                  <a:pt x="855" y="121"/>
                </a:cubicBezTo>
                <a:close/>
                <a:moveTo>
                  <a:pt x="861" y="127"/>
                </a:moveTo>
                <a:cubicBezTo>
                  <a:pt x="861" y="127"/>
                  <a:pt x="861" y="128"/>
                  <a:pt x="861" y="128"/>
                </a:cubicBezTo>
                <a:cubicBezTo>
                  <a:pt x="862" y="128"/>
                  <a:pt x="862" y="127"/>
                  <a:pt x="861" y="127"/>
                </a:cubicBezTo>
                <a:close/>
                <a:moveTo>
                  <a:pt x="843" y="120"/>
                </a:moveTo>
                <a:cubicBezTo>
                  <a:pt x="843" y="121"/>
                  <a:pt x="842" y="121"/>
                  <a:pt x="842" y="122"/>
                </a:cubicBezTo>
                <a:cubicBezTo>
                  <a:pt x="843" y="121"/>
                  <a:pt x="843" y="120"/>
                  <a:pt x="843" y="120"/>
                </a:cubicBezTo>
                <a:close/>
                <a:moveTo>
                  <a:pt x="859" y="124"/>
                </a:moveTo>
                <a:cubicBezTo>
                  <a:pt x="859" y="125"/>
                  <a:pt x="859" y="126"/>
                  <a:pt x="859" y="126"/>
                </a:cubicBezTo>
                <a:cubicBezTo>
                  <a:pt x="859" y="125"/>
                  <a:pt x="860" y="124"/>
                  <a:pt x="859" y="124"/>
                </a:cubicBezTo>
                <a:close/>
                <a:moveTo>
                  <a:pt x="862" y="124"/>
                </a:moveTo>
                <a:cubicBezTo>
                  <a:pt x="862" y="124"/>
                  <a:pt x="861" y="125"/>
                  <a:pt x="862" y="126"/>
                </a:cubicBezTo>
                <a:cubicBezTo>
                  <a:pt x="862" y="125"/>
                  <a:pt x="862" y="124"/>
                  <a:pt x="862" y="124"/>
                </a:cubicBezTo>
                <a:close/>
                <a:moveTo>
                  <a:pt x="839" y="118"/>
                </a:moveTo>
                <a:cubicBezTo>
                  <a:pt x="839" y="118"/>
                  <a:pt x="839" y="119"/>
                  <a:pt x="839" y="119"/>
                </a:cubicBezTo>
                <a:cubicBezTo>
                  <a:pt x="839" y="119"/>
                  <a:pt x="839" y="118"/>
                  <a:pt x="839" y="118"/>
                </a:cubicBezTo>
                <a:close/>
                <a:moveTo>
                  <a:pt x="844" y="116"/>
                </a:moveTo>
                <a:cubicBezTo>
                  <a:pt x="843" y="117"/>
                  <a:pt x="843" y="119"/>
                  <a:pt x="843" y="119"/>
                </a:cubicBezTo>
                <a:cubicBezTo>
                  <a:pt x="843" y="118"/>
                  <a:pt x="844" y="117"/>
                  <a:pt x="844" y="116"/>
                </a:cubicBezTo>
                <a:close/>
                <a:moveTo>
                  <a:pt x="862" y="120"/>
                </a:moveTo>
                <a:cubicBezTo>
                  <a:pt x="862" y="121"/>
                  <a:pt x="861" y="122"/>
                  <a:pt x="862" y="123"/>
                </a:cubicBezTo>
                <a:cubicBezTo>
                  <a:pt x="862" y="122"/>
                  <a:pt x="863" y="121"/>
                  <a:pt x="862" y="120"/>
                </a:cubicBezTo>
                <a:close/>
                <a:moveTo>
                  <a:pt x="855" y="118"/>
                </a:moveTo>
                <a:cubicBezTo>
                  <a:pt x="855" y="118"/>
                  <a:pt x="855" y="119"/>
                  <a:pt x="855" y="119"/>
                </a:cubicBezTo>
                <a:cubicBezTo>
                  <a:pt x="855" y="119"/>
                  <a:pt x="856" y="118"/>
                  <a:pt x="855" y="118"/>
                </a:cubicBezTo>
                <a:close/>
                <a:moveTo>
                  <a:pt x="858" y="117"/>
                </a:moveTo>
                <a:cubicBezTo>
                  <a:pt x="857" y="117"/>
                  <a:pt x="857" y="118"/>
                  <a:pt x="857" y="118"/>
                </a:cubicBezTo>
                <a:cubicBezTo>
                  <a:pt x="857" y="118"/>
                  <a:pt x="858" y="117"/>
                  <a:pt x="858" y="117"/>
                </a:cubicBezTo>
                <a:close/>
                <a:moveTo>
                  <a:pt x="860" y="116"/>
                </a:moveTo>
                <a:cubicBezTo>
                  <a:pt x="860" y="116"/>
                  <a:pt x="860" y="116"/>
                  <a:pt x="860" y="116"/>
                </a:cubicBezTo>
                <a:cubicBezTo>
                  <a:pt x="859" y="115"/>
                  <a:pt x="859" y="117"/>
                  <a:pt x="859" y="117"/>
                </a:cubicBezTo>
                <a:cubicBezTo>
                  <a:pt x="860" y="117"/>
                  <a:pt x="859" y="117"/>
                  <a:pt x="860" y="116"/>
                </a:cubicBezTo>
                <a:close/>
                <a:moveTo>
                  <a:pt x="849" y="110"/>
                </a:moveTo>
                <a:cubicBezTo>
                  <a:pt x="848" y="113"/>
                  <a:pt x="849" y="111"/>
                  <a:pt x="849" y="110"/>
                </a:cubicBezTo>
                <a:close/>
                <a:moveTo>
                  <a:pt x="845" y="105"/>
                </a:moveTo>
                <a:cubicBezTo>
                  <a:pt x="844" y="106"/>
                  <a:pt x="844" y="106"/>
                  <a:pt x="844" y="107"/>
                </a:cubicBezTo>
                <a:cubicBezTo>
                  <a:pt x="844" y="107"/>
                  <a:pt x="845" y="105"/>
                  <a:pt x="845" y="105"/>
                </a:cubicBezTo>
                <a:close/>
                <a:moveTo>
                  <a:pt x="844" y="105"/>
                </a:moveTo>
                <a:cubicBezTo>
                  <a:pt x="843" y="105"/>
                  <a:pt x="843" y="106"/>
                  <a:pt x="843" y="106"/>
                </a:cubicBezTo>
                <a:lnTo>
                  <a:pt x="844" y="105"/>
                </a:lnTo>
                <a:close/>
                <a:moveTo>
                  <a:pt x="836" y="101"/>
                </a:moveTo>
                <a:cubicBezTo>
                  <a:pt x="836" y="102"/>
                  <a:pt x="836" y="102"/>
                  <a:pt x="836" y="102"/>
                </a:cubicBezTo>
                <a:cubicBezTo>
                  <a:pt x="836" y="102"/>
                  <a:pt x="836" y="101"/>
                  <a:pt x="836" y="101"/>
                </a:cubicBezTo>
                <a:close/>
                <a:moveTo>
                  <a:pt x="838" y="98"/>
                </a:moveTo>
                <a:cubicBezTo>
                  <a:pt x="839" y="95"/>
                  <a:pt x="838" y="96"/>
                  <a:pt x="838" y="98"/>
                </a:cubicBezTo>
                <a:close/>
                <a:moveTo>
                  <a:pt x="828" y="135"/>
                </a:moveTo>
                <a:cubicBezTo>
                  <a:pt x="828" y="136"/>
                  <a:pt x="828" y="137"/>
                  <a:pt x="827" y="137"/>
                </a:cubicBezTo>
                <a:cubicBezTo>
                  <a:pt x="828" y="138"/>
                  <a:pt x="828" y="138"/>
                  <a:pt x="828" y="138"/>
                </a:cubicBezTo>
                <a:cubicBezTo>
                  <a:pt x="828" y="137"/>
                  <a:pt x="829" y="136"/>
                  <a:pt x="828" y="135"/>
                </a:cubicBezTo>
                <a:close/>
                <a:moveTo>
                  <a:pt x="846" y="121"/>
                </a:moveTo>
                <a:cubicBezTo>
                  <a:pt x="847" y="121"/>
                  <a:pt x="846" y="122"/>
                  <a:pt x="846" y="123"/>
                </a:cubicBezTo>
                <a:cubicBezTo>
                  <a:pt x="847" y="121"/>
                  <a:pt x="848" y="117"/>
                  <a:pt x="848" y="115"/>
                </a:cubicBezTo>
                <a:cubicBezTo>
                  <a:pt x="848" y="117"/>
                  <a:pt x="846" y="118"/>
                  <a:pt x="847" y="119"/>
                </a:cubicBezTo>
                <a:cubicBezTo>
                  <a:pt x="847" y="119"/>
                  <a:pt x="847" y="119"/>
                  <a:pt x="847" y="118"/>
                </a:cubicBezTo>
                <a:cubicBezTo>
                  <a:pt x="846" y="119"/>
                  <a:pt x="846" y="120"/>
                  <a:pt x="846" y="121"/>
                </a:cubicBezTo>
                <a:cubicBezTo>
                  <a:pt x="846" y="121"/>
                  <a:pt x="846" y="120"/>
                  <a:pt x="846" y="120"/>
                </a:cubicBezTo>
                <a:cubicBezTo>
                  <a:pt x="846" y="121"/>
                  <a:pt x="845" y="121"/>
                  <a:pt x="845" y="121"/>
                </a:cubicBezTo>
                <a:cubicBezTo>
                  <a:pt x="846" y="122"/>
                  <a:pt x="846" y="121"/>
                  <a:pt x="846" y="121"/>
                </a:cubicBezTo>
                <a:close/>
                <a:moveTo>
                  <a:pt x="860" y="122"/>
                </a:moveTo>
                <a:cubicBezTo>
                  <a:pt x="860" y="122"/>
                  <a:pt x="859" y="123"/>
                  <a:pt x="860" y="123"/>
                </a:cubicBezTo>
                <a:cubicBezTo>
                  <a:pt x="860" y="123"/>
                  <a:pt x="860" y="123"/>
                  <a:pt x="860" y="123"/>
                </a:cubicBezTo>
                <a:cubicBezTo>
                  <a:pt x="859" y="124"/>
                  <a:pt x="860" y="122"/>
                  <a:pt x="860" y="122"/>
                </a:cubicBezTo>
                <a:close/>
                <a:moveTo>
                  <a:pt x="861" y="115"/>
                </a:moveTo>
                <a:cubicBezTo>
                  <a:pt x="861" y="115"/>
                  <a:pt x="861" y="115"/>
                  <a:pt x="861" y="115"/>
                </a:cubicBezTo>
                <a:cubicBezTo>
                  <a:pt x="862" y="117"/>
                  <a:pt x="859" y="120"/>
                  <a:pt x="860" y="122"/>
                </a:cubicBezTo>
                <a:cubicBezTo>
                  <a:pt x="860" y="118"/>
                  <a:pt x="862" y="115"/>
                  <a:pt x="862" y="112"/>
                </a:cubicBezTo>
                <a:cubicBezTo>
                  <a:pt x="862" y="112"/>
                  <a:pt x="862" y="111"/>
                  <a:pt x="862" y="111"/>
                </a:cubicBezTo>
                <a:cubicBezTo>
                  <a:pt x="862" y="110"/>
                  <a:pt x="864" y="107"/>
                  <a:pt x="863" y="106"/>
                </a:cubicBezTo>
                <a:cubicBezTo>
                  <a:pt x="863" y="107"/>
                  <a:pt x="862" y="108"/>
                  <a:pt x="862" y="110"/>
                </a:cubicBezTo>
                <a:cubicBezTo>
                  <a:pt x="861" y="109"/>
                  <a:pt x="861" y="109"/>
                  <a:pt x="861" y="109"/>
                </a:cubicBezTo>
                <a:cubicBezTo>
                  <a:pt x="862" y="111"/>
                  <a:pt x="861" y="114"/>
                  <a:pt x="861" y="115"/>
                </a:cubicBezTo>
                <a:close/>
                <a:moveTo>
                  <a:pt x="842" y="104"/>
                </a:moveTo>
                <a:cubicBezTo>
                  <a:pt x="842" y="105"/>
                  <a:pt x="842" y="105"/>
                  <a:pt x="842" y="106"/>
                </a:cubicBezTo>
                <a:cubicBezTo>
                  <a:pt x="843" y="105"/>
                  <a:pt x="842" y="104"/>
                  <a:pt x="842" y="104"/>
                </a:cubicBezTo>
                <a:close/>
                <a:moveTo>
                  <a:pt x="707" y="252"/>
                </a:moveTo>
                <a:cubicBezTo>
                  <a:pt x="708" y="252"/>
                  <a:pt x="709" y="252"/>
                  <a:pt x="710" y="253"/>
                </a:cubicBezTo>
                <a:cubicBezTo>
                  <a:pt x="710" y="254"/>
                  <a:pt x="709" y="255"/>
                  <a:pt x="710" y="256"/>
                </a:cubicBezTo>
                <a:cubicBezTo>
                  <a:pt x="712" y="257"/>
                  <a:pt x="715" y="253"/>
                  <a:pt x="715" y="256"/>
                </a:cubicBezTo>
                <a:cubicBezTo>
                  <a:pt x="717" y="258"/>
                  <a:pt x="720" y="259"/>
                  <a:pt x="723" y="259"/>
                </a:cubicBezTo>
                <a:cubicBezTo>
                  <a:pt x="725" y="260"/>
                  <a:pt x="726" y="261"/>
                  <a:pt x="728" y="262"/>
                </a:cubicBezTo>
                <a:cubicBezTo>
                  <a:pt x="730" y="262"/>
                  <a:pt x="733" y="262"/>
                  <a:pt x="734" y="263"/>
                </a:cubicBezTo>
                <a:cubicBezTo>
                  <a:pt x="736" y="263"/>
                  <a:pt x="737" y="264"/>
                  <a:pt x="739" y="265"/>
                </a:cubicBezTo>
                <a:cubicBezTo>
                  <a:pt x="744" y="267"/>
                  <a:pt x="749" y="267"/>
                  <a:pt x="753" y="269"/>
                </a:cubicBezTo>
                <a:cubicBezTo>
                  <a:pt x="756" y="269"/>
                  <a:pt x="760" y="271"/>
                  <a:pt x="762" y="272"/>
                </a:cubicBezTo>
                <a:cubicBezTo>
                  <a:pt x="765" y="272"/>
                  <a:pt x="768" y="274"/>
                  <a:pt x="771" y="275"/>
                </a:cubicBezTo>
                <a:cubicBezTo>
                  <a:pt x="772" y="275"/>
                  <a:pt x="774" y="275"/>
                  <a:pt x="776" y="276"/>
                </a:cubicBezTo>
                <a:cubicBezTo>
                  <a:pt x="776" y="276"/>
                  <a:pt x="777" y="276"/>
                  <a:pt x="777" y="276"/>
                </a:cubicBezTo>
                <a:cubicBezTo>
                  <a:pt x="779" y="277"/>
                  <a:pt x="781" y="277"/>
                  <a:pt x="782" y="277"/>
                </a:cubicBezTo>
                <a:cubicBezTo>
                  <a:pt x="784" y="278"/>
                  <a:pt x="785" y="279"/>
                  <a:pt x="787" y="279"/>
                </a:cubicBezTo>
                <a:cubicBezTo>
                  <a:pt x="789" y="280"/>
                  <a:pt x="792" y="281"/>
                  <a:pt x="795" y="281"/>
                </a:cubicBezTo>
                <a:cubicBezTo>
                  <a:pt x="796" y="282"/>
                  <a:pt x="798" y="282"/>
                  <a:pt x="799" y="282"/>
                </a:cubicBezTo>
                <a:cubicBezTo>
                  <a:pt x="800" y="283"/>
                  <a:pt x="800" y="283"/>
                  <a:pt x="801" y="283"/>
                </a:cubicBezTo>
                <a:cubicBezTo>
                  <a:pt x="802" y="283"/>
                  <a:pt x="802" y="283"/>
                  <a:pt x="802" y="283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3" y="284"/>
                  <a:pt x="803" y="284"/>
                  <a:pt x="803" y="284"/>
                </a:cubicBezTo>
                <a:cubicBezTo>
                  <a:pt x="804" y="285"/>
                  <a:pt x="805" y="284"/>
                  <a:pt x="806" y="285"/>
                </a:cubicBezTo>
                <a:cubicBezTo>
                  <a:pt x="807" y="285"/>
                  <a:pt x="808" y="286"/>
                  <a:pt x="809" y="287"/>
                </a:cubicBezTo>
                <a:cubicBezTo>
                  <a:pt x="810" y="286"/>
                  <a:pt x="811" y="287"/>
                  <a:pt x="812" y="288"/>
                </a:cubicBezTo>
                <a:cubicBezTo>
                  <a:pt x="813" y="288"/>
                  <a:pt x="813" y="288"/>
                  <a:pt x="813" y="288"/>
                </a:cubicBezTo>
                <a:cubicBezTo>
                  <a:pt x="813" y="288"/>
                  <a:pt x="813" y="287"/>
                  <a:pt x="813" y="287"/>
                </a:cubicBezTo>
                <a:cubicBezTo>
                  <a:pt x="813" y="287"/>
                  <a:pt x="813" y="287"/>
                  <a:pt x="813" y="286"/>
                </a:cubicBezTo>
                <a:cubicBezTo>
                  <a:pt x="813" y="286"/>
                  <a:pt x="813" y="286"/>
                  <a:pt x="813" y="286"/>
                </a:cubicBezTo>
                <a:cubicBezTo>
                  <a:pt x="813" y="285"/>
                  <a:pt x="813" y="285"/>
                  <a:pt x="813" y="284"/>
                </a:cubicBezTo>
                <a:cubicBezTo>
                  <a:pt x="813" y="282"/>
                  <a:pt x="813" y="282"/>
                  <a:pt x="813" y="282"/>
                </a:cubicBezTo>
                <a:cubicBezTo>
                  <a:pt x="813" y="282"/>
                  <a:pt x="812" y="281"/>
                  <a:pt x="812" y="280"/>
                </a:cubicBezTo>
                <a:cubicBezTo>
                  <a:pt x="812" y="280"/>
                  <a:pt x="813" y="280"/>
                  <a:pt x="813" y="279"/>
                </a:cubicBezTo>
                <a:cubicBezTo>
                  <a:pt x="813" y="279"/>
                  <a:pt x="812" y="279"/>
                  <a:pt x="812" y="279"/>
                </a:cubicBezTo>
                <a:cubicBezTo>
                  <a:pt x="812" y="278"/>
                  <a:pt x="812" y="278"/>
                  <a:pt x="812" y="278"/>
                </a:cubicBezTo>
                <a:cubicBezTo>
                  <a:pt x="812" y="277"/>
                  <a:pt x="812" y="277"/>
                  <a:pt x="812" y="277"/>
                </a:cubicBezTo>
                <a:cubicBezTo>
                  <a:pt x="812" y="276"/>
                  <a:pt x="812" y="276"/>
                  <a:pt x="812" y="275"/>
                </a:cubicBezTo>
                <a:cubicBezTo>
                  <a:pt x="813" y="270"/>
                  <a:pt x="813" y="265"/>
                  <a:pt x="813" y="259"/>
                </a:cubicBezTo>
                <a:cubicBezTo>
                  <a:pt x="813" y="254"/>
                  <a:pt x="813" y="250"/>
                  <a:pt x="813" y="245"/>
                </a:cubicBezTo>
                <a:cubicBezTo>
                  <a:pt x="815" y="226"/>
                  <a:pt x="815" y="226"/>
                  <a:pt x="815" y="226"/>
                </a:cubicBezTo>
                <a:cubicBezTo>
                  <a:pt x="815" y="219"/>
                  <a:pt x="816" y="212"/>
                  <a:pt x="817" y="206"/>
                </a:cubicBezTo>
                <a:cubicBezTo>
                  <a:pt x="817" y="206"/>
                  <a:pt x="818" y="205"/>
                  <a:pt x="818" y="205"/>
                </a:cubicBezTo>
                <a:cubicBezTo>
                  <a:pt x="818" y="204"/>
                  <a:pt x="817" y="204"/>
                  <a:pt x="818" y="204"/>
                </a:cubicBezTo>
                <a:cubicBezTo>
                  <a:pt x="818" y="203"/>
                  <a:pt x="818" y="203"/>
                  <a:pt x="818" y="203"/>
                </a:cubicBezTo>
                <a:cubicBezTo>
                  <a:pt x="819" y="197"/>
                  <a:pt x="820" y="192"/>
                  <a:pt x="822" y="186"/>
                </a:cubicBezTo>
                <a:cubicBezTo>
                  <a:pt x="822" y="185"/>
                  <a:pt x="822" y="186"/>
                  <a:pt x="822" y="186"/>
                </a:cubicBezTo>
                <a:cubicBezTo>
                  <a:pt x="823" y="183"/>
                  <a:pt x="824" y="178"/>
                  <a:pt x="825" y="175"/>
                </a:cubicBezTo>
                <a:cubicBezTo>
                  <a:pt x="825" y="173"/>
                  <a:pt x="825" y="171"/>
                  <a:pt x="826" y="170"/>
                </a:cubicBezTo>
                <a:cubicBezTo>
                  <a:pt x="826" y="169"/>
                  <a:pt x="825" y="169"/>
                  <a:pt x="825" y="169"/>
                </a:cubicBezTo>
                <a:cubicBezTo>
                  <a:pt x="826" y="169"/>
                  <a:pt x="826" y="169"/>
                  <a:pt x="826" y="169"/>
                </a:cubicBezTo>
                <a:cubicBezTo>
                  <a:pt x="826" y="167"/>
                  <a:pt x="826" y="167"/>
                  <a:pt x="826" y="167"/>
                </a:cubicBezTo>
                <a:cubicBezTo>
                  <a:pt x="827" y="164"/>
                  <a:pt x="828" y="160"/>
                  <a:pt x="829" y="156"/>
                </a:cubicBezTo>
                <a:cubicBezTo>
                  <a:pt x="829" y="155"/>
                  <a:pt x="829" y="155"/>
                  <a:pt x="829" y="154"/>
                </a:cubicBezTo>
                <a:cubicBezTo>
                  <a:pt x="830" y="154"/>
                  <a:pt x="830" y="154"/>
                  <a:pt x="829" y="153"/>
                </a:cubicBezTo>
                <a:cubicBezTo>
                  <a:pt x="829" y="153"/>
                  <a:pt x="830" y="151"/>
                  <a:pt x="830" y="152"/>
                </a:cubicBezTo>
                <a:cubicBezTo>
                  <a:pt x="830" y="151"/>
                  <a:pt x="830" y="152"/>
                  <a:pt x="830" y="152"/>
                </a:cubicBezTo>
                <a:cubicBezTo>
                  <a:pt x="831" y="151"/>
                  <a:pt x="831" y="149"/>
                  <a:pt x="831" y="147"/>
                </a:cubicBezTo>
                <a:cubicBezTo>
                  <a:pt x="831" y="146"/>
                  <a:pt x="832" y="144"/>
                  <a:pt x="833" y="142"/>
                </a:cubicBezTo>
                <a:cubicBezTo>
                  <a:pt x="833" y="144"/>
                  <a:pt x="833" y="146"/>
                  <a:pt x="835" y="147"/>
                </a:cubicBezTo>
                <a:cubicBezTo>
                  <a:pt x="836" y="145"/>
                  <a:pt x="836" y="141"/>
                  <a:pt x="837" y="140"/>
                </a:cubicBezTo>
                <a:cubicBezTo>
                  <a:pt x="838" y="135"/>
                  <a:pt x="839" y="130"/>
                  <a:pt x="840" y="125"/>
                </a:cubicBezTo>
                <a:cubicBezTo>
                  <a:pt x="840" y="124"/>
                  <a:pt x="840" y="124"/>
                  <a:pt x="840" y="124"/>
                </a:cubicBezTo>
                <a:cubicBezTo>
                  <a:pt x="842" y="119"/>
                  <a:pt x="842" y="114"/>
                  <a:pt x="844" y="108"/>
                </a:cubicBezTo>
                <a:cubicBezTo>
                  <a:pt x="842" y="119"/>
                  <a:pt x="839" y="128"/>
                  <a:pt x="838" y="138"/>
                </a:cubicBezTo>
                <a:cubicBezTo>
                  <a:pt x="837" y="140"/>
                  <a:pt x="836" y="146"/>
                  <a:pt x="835" y="150"/>
                </a:cubicBezTo>
                <a:cubicBezTo>
                  <a:pt x="835" y="152"/>
                  <a:pt x="836" y="153"/>
                  <a:pt x="838" y="152"/>
                </a:cubicBezTo>
                <a:cubicBezTo>
                  <a:pt x="840" y="150"/>
                  <a:pt x="839" y="147"/>
                  <a:pt x="840" y="145"/>
                </a:cubicBezTo>
                <a:cubicBezTo>
                  <a:pt x="841" y="145"/>
                  <a:pt x="841" y="144"/>
                  <a:pt x="842" y="145"/>
                </a:cubicBezTo>
                <a:cubicBezTo>
                  <a:pt x="842" y="150"/>
                  <a:pt x="840" y="156"/>
                  <a:pt x="840" y="160"/>
                </a:cubicBezTo>
                <a:cubicBezTo>
                  <a:pt x="840" y="161"/>
                  <a:pt x="840" y="162"/>
                  <a:pt x="840" y="163"/>
                </a:cubicBezTo>
                <a:cubicBezTo>
                  <a:pt x="840" y="163"/>
                  <a:pt x="840" y="164"/>
                  <a:pt x="841" y="164"/>
                </a:cubicBezTo>
                <a:cubicBezTo>
                  <a:pt x="841" y="164"/>
                  <a:pt x="841" y="164"/>
                  <a:pt x="842" y="164"/>
                </a:cubicBezTo>
                <a:cubicBezTo>
                  <a:pt x="842" y="159"/>
                  <a:pt x="846" y="156"/>
                  <a:pt x="846" y="151"/>
                </a:cubicBezTo>
                <a:cubicBezTo>
                  <a:pt x="847" y="150"/>
                  <a:pt x="848" y="149"/>
                  <a:pt x="849" y="149"/>
                </a:cubicBezTo>
                <a:cubicBezTo>
                  <a:pt x="849" y="147"/>
                  <a:pt x="850" y="145"/>
                  <a:pt x="850" y="143"/>
                </a:cubicBezTo>
                <a:cubicBezTo>
                  <a:pt x="850" y="142"/>
                  <a:pt x="850" y="142"/>
                  <a:pt x="850" y="142"/>
                </a:cubicBezTo>
                <a:cubicBezTo>
                  <a:pt x="851" y="137"/>
                  <a:pt x="851" y="133"/>
                  <a:pt x="853" y="129"/>
                </a:cubicBezTo>
                <a:cubicBezTo>
                  <a:pt x="853" y="133"/>
                  <a:pt x="852" y="136"/>
                  <a:pt x="851" y="140"/>
                </a:cubicBezTo>
                <a:cubicBezTo>
                  <a:pt x="851" y="140"/>
                  <a:pt x="852" y="141"/>
                  <a:pt x="852" y="141"/>
                </a:cubicBezTo>
                <a:cubicBezTo>
                  <a:pt x="851" y="144"/>
                  <a:pt x="850" y="149"/>
                  <a:pt x="849" y="152"/>
                </a:cubicBezTo>
                <a:cubicBezTo>
                  <a:pt x="850" y="153"/>
                  <a:pt x="851" y="153"/>
                  <a:pt x="851" y="152"/>
                </a:cubicBezTo>
                <a:cubicBezTo>
                  <a:pt x="851" y="152"/>
                  <a:pt x="851" y="153"/>
                  <a:pt x="851" y="153"/>
                </a:cubicBezTo>
                <a:cubicBezTo>
                  <a:pt x="851" y="153"/>
                  <a:pt x="851" y="153"/>
                  <a:pt x="852" y="153"/>
                </a:cubicBezTo>
                <a:cubicBezTo>
                  <a:pt x="851" y="155"/>
                  <a:pt x="851" y="155"/>
                  <a:pt x="851" y="157"/>
                </a:cubicBezTo>
                <a:cubicBezTo>
                  <a:pt x="851" y="158"/>
                  <a:pt x="851" y="158"/>
                  <a:pt x="852" y="158"/>
                </a:cubicBezTo>
                <a:cubicBezTo>
                  <a:pt x="852" y="156"/>
                  <a:pt x="853" y="155"/>
                  <a:pt x="853" y="153"/>
                </a:cubicBezTo>
                <a:cubicBezTo>
                  <a:pt x="853" y="152"/>
                  <a:pt x="853" y="151"/>
                  <a:pt x="853" y="151"/>
                </a:cubicBezTo>
                <a:cubicBezTo>
                  <a:pt x="853" y="150"/>
                  <a:pt x="853" y="150"/>
                  <a:pt x="854" y="150"/>
                </a:cubicBezTo>
                <a:cubicBezTo>
                  <a:pt x="854" y="149"/>
                  <a:pt x="853" y="149"/>
                  <a:pt x="853" y="148"/>
                </a:cubicBezTo>
                <a:cubicBezTo>
                  <a:pt x="853" y="148"/>
                  <a:pt x="854" y="148"/>
                  <a:pt x="854" y="147"/>
                </a:cubicBezTo>
                <a:cubicBezTo>
                  <a:pt x="855" y="145"/>
                  <a:pt x="854" y="143"/>
                  <a:pt x="855" y="141"/>
                </a:cubicBezTo>
                <a:cubicBezTo>
                  <a:pt x="855" y="140"/>
                  <a:pt x="856" y="139"/>
                  <a:pt x="857" y="137"/>
                </a:cubicBezTo>
                <a:cubicBezTo>
                  <a:pt x="857" y="138"/>
                  <a:pt x="856" y="139"/>
                  <a:pt x="856" y="140"/>
                </a:cubicBezTo>
                <a:cubicBezTo>
                  <a:pt x="855" y="144"/>
                  <a:pt x="856" y="148"/>
                  <a:pt x="855" y="151"/>
                </a:cubicBezTo>
                <a:cubicBezTo>
                  <a:pt x="856" y="152"/>
                  <a:pt x="856" y="151"/>
                  <a:pt x="857" y="151"/>
                </a:cubicBezTo>
                <a:cubicBezTo>
                  <a:pt x="857" y="150"/>
                  <a:pt x="857" y="149"/>
                  <a:pt x="857" y="148"/>
                </a:cubicBezTo>
                <a:cubicBezTo>
                  <a:pt x="857" y="148"/>
                  <a:pt x="857" y="149"/>
                  <a:pt x="857" y="148"/>
                </a:cubicBezTo>
                <a:cubicBezTo>
                  <a:pt x="857" y="146"/>
                  <a:pt x="857" y="144"/>
                  <a:pt x="858" y="141"/>
                </a:cubicBezTo>
                <a:cubicBezTo>
                  <a:pt x="858" y="141"/>
                  <a:pt x="858" y="140"/>
                  <a:pt x="859" y="141"/>
                </a:cubicBezTo>
                <a:cubicBezTo>
                  <a:pt x="859" y="140"/>
                  <a:pt x="859" y="140"/>
                  <a:pt x="860" y="140"/>
                </a:cubicBezTo>
                <a:cubicBezTo>
                  <a:pt x="860" y="139"/>
                  <a:pt x="859" y="140"/>
                  <a:pt x="859" y="140"/>
                </a:cubicBezTo>
                <a:cubicBezTo>
                  <a:pt x="860" y="139"/>
                  <a:pt x="859" y="138"/>
                  <a:pt x="860" y="138"/>
                </a:cubicBezTo>
                <a:cubicBezTo>
                  <a:pt x="860" y="134"/>
                  <a:pt x="861" y="132"/>
                  <a:pt x="861" y="128"/>
                </a:cubicBezTo>
                <a:cubicBezTo>
                  <a:pt x="861" y="131"/>
                  <a:pt x="861" y="134"/>
                  <a:pt x="860" y="137"/>
                </a:cubicBezTo>
                <a:cubicBezTo>
                  <a:pt x="860" y="138"/>
                  <a:pt x="861" y="137"/>
                  <a:pt x="861" y="138"/>
                </a:cubicBezTo>
                <a:cubicBezTo>
                  <a:pt x="861" y="139"/>
                  <a:pt x="860" y="139"/>
                  <a:pt x="860" y="140"/>
                </a:cubicBezTo>
                <a:cubicBezTo>
                  <a:pt x="860" y="141"/>
                  <a:pt x="860" y="142"/>
                  <a:pt x="860" y="143"/>
                </a:cubicBezTo>
                <a:cubicBezTo>
                  <a:pt x="860" y="144"/>
                  <a:pt x="859" y="145"/>
                  <a:pt x="859" y="146"/>
                </a:cubicBezTo>
                <a:cubicBezTo>
                  <a:pt x="860" y="147"/>
                  <a:pt x="860" y="148"/>
                  <a:pt x="860" y="149"/>
                </a:cubicBezTo>
                <a:cubicBezTo>
                  <a:pt x="860" y="150"/>
                  <a:pt x="860" y="149"/>
                  <a:pt x="860" y="150"/>
                </a:cubicBezTo>
                <a:cubicBezTo>
                  <a:pt x="861" y="151"/>
                  <a:pt x="861" y="150"/>
                  <a:pt x="862" y="150"/>
                </a:cubicBezTo>
                <a:cubicBezTo>
                  <a:pt x="862" y="151"/>
                  <a:pt x="861" y="150"/>
                  <a:pt x="861" y="151"/>
                </a:cubicBezTo>
                <a:cubicBezTo>
                  <a:pt x="861" y="151"/>
                  <a:pt x="861" y="152"/>
                  <a:pt x="862" y="152"/>
                </a:cubicBezTo>
                <a:cubicBezTo>
                  <a:pt x="861" y="154"/>
                  <a:pt x="861" y="155"/>
                  <a:pt x="861" y="157"/>
                </a:cubicBezTo>
                <a:cubicBezTo>
                  <a:pt x="861" y="157"/>
                  <a:pt x="861" y="156"/>
                  <a:pt x="861" y="157"/>
                </a:cubicBezTo>
                <a:cubicBezTo>
                  <a:pt x="861" y="157"/>
                  <a:pt x="861" y="160"/>
                  <a:pt x="861" y="160"/>
                </a:cubicBezTo>
                <a:cubicBezTo>
                  <a:pt x="861" y="162"/>
                  <a:pt x="861" y="163"/>
                  <a:pt x="860" y="165"/>
                </a:cubicBezTo>
                <a:cubicBezTo>
                  <a:pt x="860" y="166"/>
                  <a:pt x="861" y="165"/>
                  <a:pt x="861" y="166"/>
                </a:cubicBezTo>
                <a:cubicBezTo>
                  <a:pt x="861" y="167"/>
                  <a:pt x="861" y="168"/>
                  <a:pt x="860" y="169"/>
                </a:cubicBezTo>
                <a:cubicBezTo>
                  <a:pt x="861" y="170"/>
                  <a:pt x="861" y="172"/>
                  <a:pt x="860" y="173"/>
                </a:cubicBezTo>
                <a:cubicBezTo>
                  <a:pt x="861" y="173"/>
                  <a:pt x="861" y="172"/>
                  <a:pt x="862" y="172"/>
                </a:cubicBezTo>
                <a:cubicBezTo>
                  <a:pt x="862" y="172"/>
                  <a:pt x="861" y="173"/>
                  <a:pt x="861" y="174"/>
                </a:cubicBezTo>
                <a:cubicBezTo>
                  <a:pt x="861" y="178"/>
                  <a:pt x="862" y="181"/>
                  <a:pt x="861" y="186"/>
                </a:cubicBezTo>
                <a:cubicBezTo>
                  <a:pt x="861" y="187"/>
                  <a:pt x="862" y="187"/>
                  <a:pt x="861" y="188"/>
                </a:cubicBezTo>
                <a:cubicBezTo>
                  <a:pt x="861" y="188"/>
                  <a:pt x="862" y="188"/>
                  <a:pt x="862" y="188"/>
                </a:cubicBezTo>
                <a:cubicBezTo>
                  <a:pt x="862" y="190"/>
                  <a:pt x="860" y="196"/>
                  <a:pt x="862" y="198"/>
                </a:cubicBezTo>
                <a:cubicBezTo>
                  <a:pt x="861" y="198"/>
                  <a:pt x="861" y="197"/>
                  <a:pt x="861" y="198"/>
                </a:cubicBezTo>
                <a:cubicBezTo>
                  <a:pt x="861" y="199"/>
                  <a:pt x="860" y="200"/>
                  <a:pt x="861" y="201"/>
                </a:cubicBezTo>
                <a:cubicBezTo>
                  <a:pt x="861" y="204"/>
                  <a:pt x="860" y="206"/>
                  <a:pt x="861" y="208"/>
                </a:cubicBezTo>
                <a:cubicBezTo>
                  <a:pt x="860" y="209"/>
                  <a:pt x="860" y="210"/>
                  <a:pt x="860" y="210"/>
                </a:cubicBezTo>
                <a:cubicBezTo>
                  <a:pt x="860" y="211"/>
                  <a:pt x="860" y="213"/>
                  <a:pt x="860" y="214"/>
                </a:cubicBezTo>
                <a:cubicBezTo>
                  <a:pt x="859" y="231"/>
                  <a:pt x="857" y="248"/>
                  <a:pt x="857" y="264"/>
                </a:cubicBezTo>
                <a:cubicBezTo>
                  <a:pt x="856" y="268"/>
                  <a:pt x="857" y="273"/>
                  <a:pt x="857" y="277"/>
                </a:cubicBezTo>
                <a:cubicBezTo>
                  <a:pt x="857" y="277"/>
                  <a:pt x="857" y="277"/>
                  <a:pt x="857" y="278"/>
                </a:cubicBezTo>
                <a:cubicBezTo>
                  <a:pt x="857" y="279"/>
                  <a:pt x="857" y="279"/>
                  <a:pt x="857" y="279"/>
                </a:cubicBezTo>
                <a:cubicBezTo>
                  <a:pt x="857" y="280"/>
                  <a:pt x="857" y="281"/>
                  <a:pt x="857" y="282"/>
                </a:cubicBezTo>
                <a:cubicBezTo>
                  <a:pt x="857" y="291"/>
                  <a:pt x="857" y="302"/>
                  <a:pt x="859" y="311"/>
                </a:cubicBezTo>
                <a:cubicBezTo>
                  <a:pt x="858" y="317"/>
                  <a:pt x="860" y="324"/>
                  <a:pt x="860" y="331"/>
                </a:cubicBezTo>
                <a:cubicBezTo>
                  <a:pt x="860" y="334"/>
                  <a:pt x="860" y="336"/>
                  <a:pt x="860" y="339"/>
                </a:cubicBezTo>
                <a:cubicBezTo>
                  <a:pt x="861" y="340"/>
                  <a:pt x="861" y="342"/>
                  <a:pt x="861" y="343"/>
                </a:cubicBezTo>
                <a:cubicBezTo>
                  <a:pt x="861" y="345"/>
                  <a:pt x="861" y="347"/>
                  <a:pt x="861" y="349"/>
                </a:cubicBezTo>
                <a:cubicBezTo>
                  <a:pt x="861" y="350"/>
                  <a:pt x="861" y="350"/>
                  <a:pt x="861" y="350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1" y="351"/>
                  <a:pt x="861" y="351"/>
                </a:cubicBezTo>
                <a:cubicBezTo>
                  <a:pt x="861" y="351"/>
                  <a:pt x="860" y="350"/>
                  <a:pt x="860" y="350"/>
                </a:cubicBezTo>
                <a:cubicBezTo>
                  <a:pt x="859" y="350"/>
                  <a:pt x="858" y="350"/>
                  <a:pt x="857" y="349"/>
                </a:cubicBezTo>
                <a:cubicBezTo>
                  <a:pt x="854" y="349"/>
                  <a:pt x="853" y="349"/>
                  <a:pt x="851" y="348"/>
                </a:cubicBezTo>
                <a:cubicBezTo>
                  <a:pt x="843" y="346"/>
                  <a:pt x="834" y="342"/>
                  <a:pt x="826" y="340"/>
                </a:cubicBezTo>
                <a:cubicBezTo>
                  <a:pt x="824" y="340"/>
                  <a:pt x="821" y="338"/>
                  <a:pt x="819" y="338"/>
                </a:cubicBezTo>
                <a:cubicBezTo>
                  <a:pt x="818" y="338"/>
                  <a:pt x="817" y="338"/>
                  <a:pt x="816" y="337"/>
                </a:cubicBezTo>
                <a:cubicBezTo>
                  <a:pt x="812" y="336"/>
                  <a:pt x="807" y="334"/>
                  <a:pt x="803" y="334"/>
                </a:cubicBezTo>
                <a:cubicBezTo>
                  <a:pt x="801" y="333"/>
                  <a:pt x="799" y="332"/>
                  <a:pt x="797" y="331"/>
                </a:cubicBezTo>
                <a:cubicBezTo>
                  <a:pt x="794" y="331"/>
                  <a:pt x="792" y="330"/>
                  <a:pt x="790" y="330"/>
                </a:cubicBezTo>
                <a:cubicBezTo>
                  <a:pt x="789" y="329"/>
                  <a:pt x="788" y="329"/>
                  <a:pt x="788" y="329"/>
                </a:cubicBezTo>
                <a:cubicBezTo>
                  <a:pt x="787" y="329"/>
                  <a:pt x="787" y="329"/>
                  <a:pt x="786" y="328"/>
                </a:cubicBezTo>
                <a:cubicBezTo>
                  <a:pt x="783" y="328"/>
                  <a:pt x="779" y="327"/>
                  <a:pt x="776" y="325"/>
                </a:cubicBezTo>
                <a:cubicBezTo>
                  <a:pt x="775" y="325"/>
                  <a:pt x="775" y="325"/>
                  <a:pt x="775" y="326"/>
                </a:cubicBezTo>
                <a:cubicBezTo>
                  <a:pt x="773" y="324"/>
                  <a:pt x="770" y="325"/>
                  <a:pt x="768" y="324"/>
                </a:cubicBezTo>
                <a:cubicBezTo>
                  <a:pt x="767" y="324"/>
                  <a:pt x="767" y="324"/>
                  <a:pt x="767" y="324"/>
                </a:cubicBezTo>
                <a:cubicBezTo>
                  <a:pt x="766" y="323"/>
                  <a:pt x="765" y="323"/>
                  <a:pt x="763" y="323"/>
                </a:cubicBezTo>
                <a:cubicBezTo>
                  <a:pt x="759" y="321"/>
                  <a:pt x="755" y="321"/>
                  <a:pt x="751" y="319"/>
                </a:cubicBezTo>
                <a:cubicBezTo>
                  <a:pt x="749" y="320"/>
                  <a:pt x="746" y="319"/>
                  <a:pt x="744" y="318"/>
                </a:cubicBezTo>
                <a:cubicBezTo>
                  <a:pt x="743" y="318"/>
                  <a:pt x="743" y="319"/>
                  <a:pt x="742" y="318"/>
                </a:cubicBezTo>
                <a:cubicBezTo>
                  <a:pt x="741" y="318"/>
                  <a:pt x="741" y="318"/>
                  <a:pt x="741" y="318"/>
                </a:cubicBezTo>
                <a:cubicBezTo>
                  <a:pt x="740" y="318"/>
                  <a:pt x="740" y="318"/>
                  <a:pt x="739" y="318"/>
                </a:cubicBezTo>
                <a:cubicBezTo>
                  <a:pt x="738" y="317"/>
                  <a:pt x="738" y="317"/>
                  <a:pt x="737" y="316"/>
                </a:cubicBezTo>
                <a:cubicBezTo>
                  <a:pt x="736" y="316"/>
                  <a:pt x="736" y="317"/>
                  <a:pt x="735" y="316"/>
                </a:cubicBezTo>
                <a:cubicBezTo>
                  <a:pt x="734" y="316"/>
                  <a:pt x="733" y="315"/>
                  <a:pt x="733" y="315"/>
                </a:cubicBezTo>
                <a:cubicBezTo>
                  <a:pt x="731" y="315"/>
                  <a:pt x="729" y="316"/>
                  <a:pt x="727" y="314"/>
                </a:cubicBezTo>
                <a:cubicBezTo>
                  <a:pt x="725" y="314"/>
                  <a:pt x="724" y="313"/>
                  <a:pt x="722" y="313"/>
                </a:cubicBezTo>
                <a:cubicBezTo>
                  <a:pt x="721" y="313"/>
                  <a:pt x="720" y="313"/>
                  <a:pt x="719" y="313"/>
                </a:cubicBezTo>
                <a:cubicBezTo>
                  <a:pt x="718" y="313"/>
                  <a:pt x="718" y="313"/>
                  <a:pt x="717" y="313"/>
                </a:cubicBezTo>
                <a:cubicBezTo>
                  <a:pt x="715" y="312"/>
                  <a:pt x="713" y="313"/>
                  <a:pt x="711" y="311"/>
                </a:cubicBezTo>
                <a:cubicBezTo>
                  <a:pt x="708" y="312"/>
                  <a:pt x="703" y="309"/>
                  <a:pt x="701" y="311"/>
                </a:cubicBezTo>
                <a:cubicBezTo>
                  <a:pt x="701" y="312"/>
                  <a:pt x="700" y="313"/>
                  <a:pt x="699" y="313"/>
                </a:cubicBezTo>
                <a:cubicBezTo>
                  <a:pt x="698" y="313"/>
                  <a:pt x="698" y="312"/>
                  <a:pt x="697" y="311"/>
                </a:cubicBezTo>
                <a:cubicBezTo>
                  <a:pt x="696" y="311"/>
                  <a:pt x="693" y="310"/>
                  <a:pt x="692" y="310"/>
                </a:cubicBezTo>
                <a:cubicBezTo>
                  <a:pt x="691" y="310"/>
                  <a:pt x="691" y="311"/>
                  <a:pt x="690" y="311"/>
                </a:cubicBezTo>
                <a:cubicBezTo>
                  <a:pt x="689" y="311"/>
                  <a:pt x="688" y="309"/>
                  <a:pt x="687" y="309"/>
                </a:cubicBezTo>
                <a:cubicBezTo>
                  <a:pt x="686" y="309"/>
                  <a:pt x="685" y="310"/>
                  <a:pt x="684" y="310"/>
                </a:cubicBezTo>
                <a:cubicBezTo>
                  <a:pt x="683" y="309"/>
                  <a:pt x="682" y="308"/>
                  <a:pt x="682" y="307"/>
                </a:cubicBezTo>
                <a:cubicBezTo>
                  <a:pt x="682" y="307"/>
                  <a:pt x="682" y="307"/>
                  <a:pt x="681" y="307"/>
                </a:cubicBezTo>
                <a:cubicBezTo>
                  <a:pt x="680" y="305"/>
                  <a:pt x="677" y="304"/>
                  <a:pt x="674" y="304"/>
                </a:cubicBezTo>
                <a:cubicBezTo>
                  <a:pt x="674" y="303"/>
                  <a:pt x="673" y="303"/>
                  <a:pt x="673" y="303"/>
                </a:cubicBezTo>
                <a:cubicBezTo>
                  <a:pt x="670" y="302"/>
                  <a:pt x="668" y="299"/>
                  <a:pt x="666" y="296"/>
                </a:cubicBezTo>
                <a:cubicBezTo>
                  <a:pt x="666" y="296"/>
                  <a:pt x="665" y="296"/>
                  <a:pt x="665" y="295"/>
                </a:cubicBezTo>
                <a:cubicBezTo>
                  <a:pt x="664" y="294"/>
                  <a:pt x="664" y="293"/>
                  <a:pt x="663" y="292"/>
                </a:cubicBezTo>
                <a:cubicBezTo>
                  <a:pt x="663" y="291"/>
                  <a:pt x="662" y="291"/>
                  <a:pt x="662" y="290"/>
                </a:cubicBezTo>
                <a:cubicBezTo>
                  <a:pt x="662" y="288"/>
                  <a:pt x="661" y="287"/>
                  <a:pt x="660" y="286"/>
                </a:cubicBezTo>
                <a:cubicBezTo>
                  <a:pt x="660" y="285"/>
                  <a:pt x="659" y="284"/>
                  <a:pt x="659" y="283"/>
                </a:cubicBezTo>
                <a:cubicBezTo>
                  <a:pt x="658" y="281"/>
                  <a:pt x="659" y="279"/>
                  <a:pt x="658" y="277"/>
                </a:cubicBezTo>
                <a:cubicBezTo>
                  <a:pt x="659" y="274"/>
                  <a:pt x="659" y="271"/>
                  <a:pt x="660" y="267"/>
                </a:cubicBezTo>
                <a:cubicBezTo>
                  <a:pt x="660" y="267"/>
                  <a:pt x="659" y="267"/>
                  <a:pt x="660" y="266"/>
                </a:cubicBezTo>
                <a:cubicBezTo>
                  <a:pt x="661" y="265"/>
                  <a:pt x="661" y="263"/>
                  <a:pt x="662" y="261"/>
                </a:cubicBezTo>
                <a:cubicBezTo>
                  <a:pt x="663" y="261"/>
                  <a:pt x="663" y="260"/>
                  <a:pt x="664" y="260"/>
                </a:cubicBezTo>
                <a:cubicBezTo>
                  <a:pt x="665" y="259"/>
                  <a:pt x="665" y="258"/>
                  <a:pt x="666" y="257"/>
                </a:cubicBezTo>
                <a:cubicBezTo>
                  <a:pt x="670" y="256"/>
                  <a:pt x="673" y="253"/>
                  <a:pt x="677" y="251"/>
                </a:cubicBezTo>
                <a:cubicBezTo>
                  <a:pt x="677" y="251"/>
                  <a:pt x="678" y="251"/>
                  <a:pt x="678" y="251"/>
                </a:cubicBezTo>
                <a:cubicBezTo>
                  <a:pt x="680" y="250"/>
                  <a:pt x="682" y="250"/>
                  <a:pt x="684" y="249"/>
                </a:cubicBezTo>
                <a:cubicBezTo>
                  <a:pt x="685" y="248"/>
                  <a:pt x="687" y="249"/>
                  <a:pt x="689" y="249"/>
                </a:cubicBezTo>
                <a:cubicBezTo>
                  <a:pt x="690" y="249"/>
                  <a:pt x="690" y="248"/>
                  <a:pt x="692" y="249"/>
                </a:cubicBezTo>
                <a:cubicBezTo>
                  <a:pt x="693" y="249"/>
                  <a:pt x="695" y="248"/>
                  <a:pt x="696" y="248"/>
                </a:cubicBezTo>
                <a:cubicBezTo>
                  <a:pt x="698" y="248"/>
                  <a:pt x="700" y="249"/>
                  <a:pt x="701" y="250"/>
                </a:cubicBezTo>
                <a:cubicBezTo>
                  <a:pt x="702" y="250"/>
                  <a:pt x="703" y="249"/>
                  <a:pt x="704" y="250"/>
                </a:cubicBezTo>
                <a:cubicBezTo>
                  <a:pt x="705" y="250"/>
                  <a:pt x="706" y="252"/>
                  <a:pt x="707" y="252"/>
                </a:cubicBezTo>
                <a:close/>
                <a:moveTo>
                  <a:pt x="858" y="156"/>
                </a:moveTo>
                <a:cubicBezTo>
                  <a:pt x="858" y="156"/>
                  <a:pt x="858" y="156"/>
                  <a:pt x="858" y="156"/>
                </a:cubicBezTo>
                <a:cubicBezTo>
                  <a:pt x="858" y="157"/>
                  <a:pt x="859" y="156"/>
                  <a:pt x="858" y="156"/>
                </a:cubicBezTo>
                <a:close/>
                <a:moveTo>
                  <a:pt x="859" y="156"/>
                </a:moveTo>
                <a:cubicBezTo>
                  <a:pt x="860" y="155"/>
                  <a:pt x="859" y="154"/>
                  <a:pt x="860" y="152"/>
                </a:cubicBezTo>
                <a:cubicBezTo>
                  <a:pt x="859" y="152"/>
                  <a:pt x="859" y="152"/>
                  <a:pt x="860" y="151"/>
                </a:cubicBezTo>
                <a:cubicBezTo>
                  <a:pt x="859" y="150"/>
                  <a:pt x="860" y="148"/>
                  <a:pt x="858" y="148"/>
                </a:cubicBezTo>
                <a:cubicBezTo>
                  <a:pt x="858" y="149"/>
                  <a:pt x="858" y="150"/>
                  <a:pt x="857" y="151"/>
                </a:cubicBezTo>
                <a:cubicBezTo>
                  <a:pt x="857" y="151"/>
                  <a:pt x="858" y="151"/>
                  <a:pt x="858" y="151"/>
                </a:cubicBezTo>
                <a:cubicBezTo>
                  <a:pt x="858" y="152"/>
                  <a:pt x="858" y="154"/>
                  <a:pt x="858" y="156"/>
                </a:cubicBezTo>
                <a:cubicBezTo>
                  <a:pt x="858" y="156"/>
                  <a:pt x="858" y="155"/>
                  <a:pt x="859" y="156"/>
                </a:cubicBezTo>
                <a:close/>
              </a:path>
            </a:pathLst>
          </a:custGeom>
          <a:solidFill>
            <a:srgbClr val="AB2442"/>
          </a:solidFill>
          <a:ln>
            <a:noFill/>
          </a:ln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898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399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10558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1" grpId="0" animBg="1"/>
      <p:bldP spid="13" grpId="0" animBg="1"/>
      <p:bldP spid="14" grpId="0" animBg="1"/>
      <p:bldP spid="16" grpId="0" animBg="1"/>
      <p:bldP spid="17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180043B0-0601-4631-822D-7FAB56BE36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461" y="62168"/>
            <a:ext cx="10254886" cy="1325563"/>
          </a:xfrm>
        </p:spPr>
        <p:txBody>
          <a:bodyPr/>
          <a:lstStyle/>
          <a:p>
            <a:r>
              <a:rPr lang="it-IT" dirty="0"/>
              <a:t>Materiale di accompagnamento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52B98DE7-E852-4991-871B-21CF43B46840}"/>
              </a:ext>
            </a:extLst>
          </p:cNvPr>
          <p:cNvSpPr txBox="1">
            <a:spLocks/>
          </p:cNvSpPr>
          <p:nvPr/>
        </p:nvSpPr>
        <p:spPr>
          <a:xfrm>
            <a:off x="405720" y="1085170"/>
            <a:ext cx="10988675" cy="959677"/>
          </a:xfrm>
          <a:prstGeom prst="rect">
            <a:avLst/>
          </a:prstGeom>
        </p:spPr>
        <p:txBody>
          <a:bodyPr/>
          <a:lstStyle>
            <a:lvl1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99390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32316" indent="-132926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1706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13564" indent="-212682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66124" indent="-26253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518684" indent="-211021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lnSpc>
                <a:spcPct val="90000"/>
              </a:lnSpc>
              <a:spcBef>
                <a:spcPts val="462"/>
              </a:spcBef>
              <a:buFont typeface="Arial" panose="020B0604020202020204" pitchFamily="34" charset="0"/>
              <a:buChar char="•"/>
              <a:defRPr sz="16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it-IT" sz="1600" b="0" dirty="0">
                <a:solidFill>
                  <a:schemeClr val="tx1"/>
                </a:solidFill>
              </a:rPr>
              <a:t>Per ogni passaggio operativo relativo al Curriculum dello studente è stato realizzato del </a:t>
            </a:r>
            <a:r>
              <a:rPr lang="it-IT" sz="1600" dirty="0">
                <a:solidFill>
                  <a:schemeClr val="tx1"/>
                </a:solidFill>
              </a:rPr>
              <a:t>materiale di informazione e supporto personalizzato</a:t>
            </a:r>
            <a:r>
              <a:rPr lang="it-IT" sz="1600" b="0" dirty="0">
                <a:solidFill>
                  <a:schemeClr val="tx1"/>
                </a:solidFill>
              </a:rPr>
              <a:t> per le </a:t>
            </a:r>
            <a:r>
              <a:rPr lang="it-IT" sz="1600" dirty="0">
                <a:solidFill>
                  <a:schemeClr val="tx1"/>
                </a:solidFill>
              </a:rPr>
              <a:t>attività di competenza delle scuole e degli studenti.</a:t>
            </a:r>
          </a:p>
          <a:p>
            <a:pPr algn="just"/>
            <a:r>
              <a:rPr lang="it-IT" sz="1600" b="0" dirty="0">
                <a:solidFill>
                  <a:schemeClr val="tx1"/>
                </a:solidFill>
              </a:rPr>
              <a:t>Il materiale è rinvenibile sul sito </a:t>
            </a:r>
            <a:r>
              <a:rPr lang="it-IT" sz="1600" dirty="0">
                <a:solidFill>
                  <a:schemeClr val="tx1"/>
                </a:solidFill>
              </a:rPr>
              <a:t>curriculumstudente.istruzione.it</a:t>
            </a: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4852134" y="3949999"/>
            <a:ext cx="2725395" cy="2612568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1968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ide rapide</a:t>
            </a:r>
          </a:p>
          <a:p>
            <a:pPr marL="441325" indent="-171450">
              <a:buFont typeface="Wingdings" panose="05000000000000000000" pitchFamily="2" charset="2"/>
              <a:buChar char="ü"/>
            </a:pPr>
            <a:r>
              <a: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 modello del Curriculum studente</a:t>
            </a:r>
          </a:p>
          <a:p>
            <a:pPr marL="441325" indent="-171450">
              <a:buFont typeface="Wingdings" panose="05000000000000000000" pitchFamily="2" charset="2"/>
              <a:buChar char="ü"/>
            </a:pPr>
            <a:r>
              <a: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e abilitare docenti e studenti</a:t>
            </a:r>
          </a:p>
          <a:p>
            <a:pPr marL="441325" indent="-171450">
              <a:buFont typeface="Wingdings" panose="05000000000000000000" pitchFamily="2" charset="2"/>
              <a:buChar char="ü"/>
            </a:pPr>
            <a:r>
              <a: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e effettuare il consolidamento</a:t>
            </a:r>
          </a:p>
          <a:p>
            <a:pPr marL="441325" indent="-171450">
              <a:buFont typeface="Wingdings" panose="05000000000000000000" pitchFamily="2" charset="2"/>
              <a:buChar char="ü"/>
            </a:pPr>
            <a:r>
              <a: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sistemi che alimentano il Curriculum</a:t>
            </a:r>
          </a:p>
          <a:p>
            <a:pPr marL="441325" indent="-171450">
              <a:buFont typeface="Wingdings" panose="05000000000000000000" pitchFamily="2" charset="2"/>
              <a:buChar char="ü"/>
            </a:pPr>
            <a:r>
              <a: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gestione dei candidati esterni</a:t>
            </a:r>
          </a:p>
          <a:p>
            <a:pPr marL="441325" indent="-171450">
              <a:buFont typeface="Wingdings" panose="05000000000000000000" pitchFamily="2" charset="2"/>
              <a:buChar char="ü"/>
            </a:pPr>
            <a:r>
              <a: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ultazione del Curriculum da parte dei docenti</a:t>
            </a:r>
          </a:p>
        </p:txBody>
      </p:sp>
      <p:sp>
        <p:nvSpPr>
          <p:cNvPr id="86" name="Rounded Rectangle 19">
            <a:extLst>
              <a:ext uri="{FF2B5EF4-FFF2-40B4-BE49-F238E27FC236}">
                <a16:creationId xmlns:a16="http://schemas.microsoft.com/office/drawing/2014/main" id="{D5703467-199F-4B16-A4FE-009320B26D5F}"/>
              </a:ext>
            </a:extLst>
          </p:cNvPr>
          <p:cNvSpPr/>
          <p:nvPr/>
        </p:nvSpPr>
        <p:spPr>
          <a:xfrm>
            <a:off x="4623205" y="2281081"/>
            <a:ext cx="3024000" cy="451811"/>
          </a:xfrm>
          <a:prstGeom prst="round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it-IT" sz="1400" b="1" dirty="0">
                <a:solidFill>
                  <a:schemeClr val="tx1"/>
                </a:solidFill>
              </a:rPr>
              <a:t>SCUOLE</a:t>
            </a: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C938F024-9485-4037-8281-4A372E2E1C06}"/>
              </a:ext>
            </a:extLst>
          </p:cNvPr>
          <p:cNvSpPr/>
          <p:nvPr/>
        </p:nvSpPr>
        <p:spPr>
          <a:xfrm>
            <a:off x="4228545" y="2177468"/>
            <a:ext cx="707178" cy="659036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4852134" y="2952109"/>
            <a:ext cx="2725395" cy="432000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1968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deo Tutorial operativi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4852134" y="3425013"/>
            <a:ext cx="2725395" cy="432000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1968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mande frequenti</a:t>
            </a:r>
          </a:p>
        </p:txBody>
      </p:sp>
      <p:pic>
        <p:nvPicPr>
          <p:cNvPr id="132" name="Graphic 49">
            <a:extLst>
              <a:ext uri="{FF2B5EF4-FFF2-40B4-BE49-F238E27FC236}">
                <a16:creationId xmlns:a16="http://schemas.microsoft.com/office/drawing/2014/main" id="{5E2FB052-D3D0-48B5-931D-0C25FFB90240}"/>
              </a:ext>
            </a:extLst>
          </p:cNvPr>
          <p:cNvPicPr preferRelativeResize="0"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4349095" y="3897917"/>
            <a:ext cx="432000" cy="432000"/>
          </a:xfrm>
          <a:prstGeom prst="rect">
            <a:avLst/>
          </a:prstGeom>
        </p:spPr>
      </p:pic>
      <p:pic>
        <p:nvPicPr>
          <p:cNvPr id="133" name="Graphic 49">
            <a:extLst>
              <a:ext uri="{FF2B5EF4-FFF2-40B4-BE49-F238E27FC236}">
                <a16:creationId xmlns:a16="http://schemas.microsoft.com/office/drawing/2014/main" id="{537AF4C7-4243-4CFD-BC45-6E8E3A7657AC}"/>
              </a:ext>
            </a:extLst>
          </p:cNvPr>
          <p:cNvPicPr preferRelativeResize="0">
            <a:picLocks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4314458" y="3425013"/>
            <a:ext cx="432000" cy="432000"/>
          </a:xfrm>
          <a:prstGeom prst="rect">
            <a:avLst/>
          </a:prstGeom>
        </p:spPr>
      </p:pic>
      <p:pic>
        <p:nvPicPr>
          <p:cNvPr id="136" name="Graphic 49">
            <a:extLst>
              <a:ext uri="{FF2B5EF4-FFF2-40B4-BE49-F238E27FC236}">
                <a16:creationId xmlns:a16="http://schemas.microsoft.com/office/drawing/2014/main" id="{537AF4C7-4243-4CFD-BC45-6E8E3A7657AC}"/>
              </a:ext>
            </a:extLst>
          </p:cNvPr>
          <p:cNvPicPr preferRelativeResize="0">
            <a:picLocks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4314458" y="2952109"/>
            <a:ext cx="432000" cy="432000"/>
          </a:xfrm>
          <a:prstGeom prst="rect">
            <a:avLst/>
          </a:prstGeom>
        </p:spPr>
      </p:pic>
      <p:pic>
        <p:nvPicPr>
          <p:cNvPr id="152" name="Picture 151" descr="A clock on a yellow building&#10;&#10;Description automatically generated">
            <a:extLst>
              <a:ext uri="{FF2B5EF4-FFF2-40B4-BE49-F238E27FC236}">
                <a16:creationId xmlns:a16="http://schemas.microsoft.com/office/drawing/2014/main" id="{F396E207-65D4-488F-AAB6-6FF2148FCBED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2134" y="2242812"/>
            <a:ext cx="540000" cy="528348"/>
          </a:xfrm>
          <a:prstGeom prst="rect">
            <a:avLst/>
          </a:prstGeom>
        </p:spPr>
      </p:pic>
      <p:grpSp>
        <p:nvGrpSpPr>
          <p:cNvPr id="20" name="Group 19"/>
          <p:cNvGrpSpPr/>
          <p:nvPr/>
        </p:nvGrpSpPr>
        <p:grpSpPr>
          <a:xfrm>
            <a:off x="7975735" y="2177468"/>
            <a:ext cx="3418660" cy="4385098"/>
            <a:chOff x="7439856" y="1986064"/>
            <a:chExt cx="3418660" cy="4385098"/>
          </a:xfrm>
        </p:grpSpPr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29681345-91FC-4212-8223-D6D84EDB9170}"/>
                </a:ext>
              </a:extLst>
            </p:cNvPr>
            <p:cNvSpPr/>
            <p:nvPr/>
          </p:nvSpPr>
          <p:spPr>
            <a:xfrm>
              <a:off x="8050516" y="3758595"/>
              <a:ext cx="2725395" cy="2612567"/>
            </a:xfrm>
            <a:prstGeom prst="rect">
              <a:avLst/>
            </a:prstGeom>
            <a:solidFill>
              <a:srgbClr val="D3E5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1968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it-IT" sz="12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uide rapide</a:t>
              </a:r>
            </a:p>
            <a:p>
              <a:pPr marL="541338" indent="-271463">
                <a:spcAft>
                  <a:spcPts val="600"/>
                </a:spcAft>
                <a:buFont typeface="Wingdings" panose="05000000000000000000" pitchFamily="2" charset="2"/>
                <a:buChar char="ü"/>
              </a:pPr>
              <a:r>
                <a:rPr lang="it-IT" sz="1200" i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l modello del Curriculum studente</a:t>
              </a:r>
            </a:p>
            <a:p>
              <a:pPr marL="541338" indent="-271463">
                <a:spcAft>
                  <a:spcPts val="600"/>
                </a:spcAft>
                <a:buFont typeface="Wingdings" panose="05000000000000000000" pitchFamily="2" charset="2"/>
                <a:buChar char="ü"/>
              </a:pPr>
              <a:r>
                <a:rPr lang="it-IT" sz="1200" i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e registrarsi e accedere alla piattaforma</a:t>
              </a:r>
            </a:p>
            <a:p>
              <a:pPr marL="541338" indent="-271463">
                <a:spcAft>
                  <a:spcPts val="600"/>
                </a:spcAft>
                <a:buFont typeface="Wingdings" panose="05000000000000000000" pitchFamily="2" charset="2"/>
                <a:buChar char="ü"/>
              </a:pPr>
              <a:r>
                <a:rPr lang="it-IT" sz="1200" i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sulta e compila il tuo Curriculum</a:t>
              </a:r>
            </a:p>
            <a:p>
              <a:pPr marL="541338" indent="-271463">
                <a:spcAft>
                  <a:spcPts val="600"/>
                </a:spcAft>
                <a:buFont typeface="Wingdings" panose="05000000000000000000" pitchFamily="2" charset="2"/>
                <a:buChar char="ü"/>
              </a:pPr>
              <a:r>
                <a:rPr lang="it-IT" sz="1200" i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sulta e compila il tuo Curriculum – candidati esterni</a:t>
              </a:r>
            </a:p>
            <a:p>
              <a:pPr marL="541338" indent="-271463">
                <a:spcAft>
                  <a:spcPts val="600"/>
                </a:spcAft>
                <a:buFont typeface="Wingdings" panose="05000000000000000000" pitchFamily="2" charset="2"/>
                <a:buChar char="ü"/>
              </a:pPr>
              <a:endParaRPr lang="it-IT" sz="12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0" name="Rounded Rectangle 19">
              <a:extLst>
                <a:ext uri="{FF2B5EF4-FFF2-40B4-BE49-F238E27FC236}">
                  <a16:creationId xmlns:a16="http://schemas.microsoft.com/office/drawing/2014/main" id="{D5703467-199F-4B16-A4FE-009320B26D5F}"/>
                </a:ext>
              </a:extLst>
            </p:cNvPr>
            <p:cNvSpPr/>
            <p:nvPr/>
          </p:nvSpPr>
          <p:spPr>
            <a:xfrm>
              <a:off x="7834516" y="2089677"/>
              <a:ext cx="3024000" cy="451811"/>
            </a:xfrm>
            <a:prstGeom prst="roundRect">
              <a:avLst/>
            </a:prstGeom>
            <a:solidFill>
              <a:srgbClr val="D3E5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lvl="0" algn="ctr">
                <a:defRPr/>
              </a:pPr>
              <a:r>
                <a:rPr lang="it-IT" sz="1400" b="1" dirty="0">
                  <a:solidFill>
                    <a:schemeClr val="tx1"/>
                  </a:solidFill>
                </a:rPr>
                <a:t>STUDENTI</a:t>
              </a:r>
            </a:p>
          </p:txBody>
        </p:sp>
        <p:sp>
          <p:nvSpPr>
            <p:cNvPr id="102" name="Oval 101">
              <a:extLst>
                <a:ext uri="{FF2B5EF4-FFF2-40B4-BE49-F238E27FC236}">
                  <a16:creationId xmlns:a16="http://schemas.microsoft.com/office/drawing/2014/main" id="{C938F024-9485-4037-8281-4A372E2E1C06}"/>
                </a:ext>
              </a:extLst>
            </p:cNvPr>
            <p:cNvSpPr/>
            <p:nvPr/>
          </p:nvSpPr>
          <p:spPr>
            <a:xfrm>
              <a:off x="7439856" y="1986064"/>
              <a:ext cx="707178" cy="659036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900" dirty="0" err="1">
                <a:solidFill>
                  <a:schemeClr val="bg1"/>
                </a:solidFill>
              </a:endParaRPr>
            </a:p>
          </p:txBody>
        </p: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29681345-91FC-4212-8223-D6D84EDB9170}"/>
                </a:ext>
              </a:extLst>
            </p:cNvPr>
            <p:cNvSpPr/>
            <p:nvPr/>
          </p:nvSpPr>
          <p:spPr>
            <a:xfrm>
              <a:off x="8050516" y="2760705"/>
              <a:ext cx="2725395" cy="432000"/>
            </a:xfrm>
            <a:prstGeom prst="rect">
              <a:avLst/>
            </a:prstGeom>
            <a:solidFill>
              <a:srgbClr val="D3E5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1968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it-IT" sz="12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ideo Tutorial operativi</a:t>
              </a:r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29681345-91FC-4212-8223-D6D84EDB9170}"/>
                </a:ext>
              </a:extLst>
            </p:cNvPr>
            <p:cNvSpPr/>
            <p:nvPr/>
          </p:nvSpPr>
          <p:spPr>
            <a:xfrm>
              <a:off x="8050516" y="3233609"/>
              <a:ext cx="2725395" cy="432000"/>
            </a:xfrm>
            <a:prstGeom prst="rect">
              <a:avLst/>
            </a:prstGeom>
            <a:solidFill>
              <a:srgbClr val="D3E5A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196850">
                <a:spcAft>
                  <a:spcPts val="600"/>
                </a:spcAft>
                <a:buFont typeface="Wingdings" panose="05000000000000000000" pitchFamily="2" charset="2"/>
                <a:buChar char="§"/>
              </a:pPr>
              <a:r>
                <a:rPr lang="it-IT" sz="12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mande frequenti</a:t>
              </a:r>
            </a:p>
          </p:txBody>
        </p:sp>
        <p:grpSp>
          <p:nvGrpSpPr>
            <p:cNvPr id="162" name="Group 161"/>
            <p:cNvGrpSpPr/>
            <p:nvPr/>
          </p:nvGrpSpPr>
          <p:grpSpPr>
            <a:xfrm>
              <a:off x="7642972" y="2094113"/>
              <a:ext cx="300947" cy="442939"/>
              <a:chOff x="4148419" y="1868128"/>
              <a:chExt cx="358806" cy="539744"/>
            </a:xfrm>
          </p:grpSpPr>
          <p:pic>
            <p:nvPicPr>
              <p:cNvPr id="163" name="Picture 162">
                <a:extLst>
                  <a:ext uri="{FF2B5EF4-FFF2-40B4-BE49-F238E27FC236}">
                    <a16:creationId xmlns:a16="http://schemas.microsoft.com/office/drawing/2014/main" id="{4C97E2FA-C513-4E4E-AA6F-8506483B7E7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/>
              <a:srcRect l="21406" t="58006" r="16225"/>
              <a:stretch/>
            </p:blipFill>
            <p:spPr>
              <a:xfrm>
                <a:off x="4148419" y="2166374"/>
                <a:ext cx="358669" cy="241498"/>
              </a:xfrm>
              <a:prstGeom prst="rect">
                <a:avLst/>
              </a:prstGeom>
            </p:spPr>
          </p:pic>
          <p:pic>
            <p:nvPicPr>
              <p:cNvPr id="164" name="Picture 163">
                <a:extLst>
                  <a:ext uri="{FF2B5EF4-FFF2-40B4-BE49-F238E27FC236}">
                    <a16:creationId xmlns:a16="http://schemas.microsoft.com/office/drawing/2014/main" id="{4C97E2FA-C513-4E4E-AA6F-8506483B7E7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/>
              <a:srcRect l="29906" t="6144" r="16225" b="41709"/>
              <a:stretch/>
            </p:blipFill>
            <p:spPr>
              <a:xfrm>
                <a:off x="4197439" y="1868128"/>
                <a:ext cx="309786" cy="299885"/>
              </a:xfrm>
              <a:prstGeom prst="rect">
                <a:avLst/>
              </a:prstGeom>
            </p:spPr>
          </p:pic>
        </p:grpSp>
        <p:pic>
          <p:nvPicPr>
            <p:cNvPr id="165" name="Graphic 49">
              <a:extLst>
                <a:ext uri="{FF2B5EF4-FFF2-40B4-BE49-F238E27FC236}">
                  <a16:creationId xmlns:a16="http://schemas.microsoft.com/office/drawing/2014/main" id="{537AF4C7-4243-4CFD-BC45-6E8E3A7657AC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/>
            <a:stretch/>
          </p:blipFill>
          <p:spPr>
            <a:xfrm>
              <a:off x="7511804" y="3797779"/>
              <a:ext cx="432000" cy="432000"/>
            </a:xfrm>
            <a:prstGeom prst="rect">
              <a:avLst/>
            </a:prstGeom>
          </p:spPr>
        </p:pic>
        <p:pic>
          <p:nvPicPr>
            <p:cNvPr id="166" name="Graphic 49">
              <a:extLst>
                <a:ext uri="{FF2B5EF4-FFF2-40B4-BE49-F238E27FC236}">
                  <a16:creationId xmlns:a16="http://schemas.microsoft.com/office/drawing/2014/main" id="{537AF4C7-4243-4CFD-BC45-6E8E3A7657AC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/>
            <a:stretch/>
          </p:blipFill>
          <p:spPr>
            <a:xfrm>
              <a:off x="7512840" y="3233609"/>
              <a:ext cx="432000" cy="432000"/>
            </a:xfrm>
            <a:prstGeom prst="rect">
              <a:avLst/>
            </a:prstGeom>
          </p:spPr>
        </p:pic>
        <p:pic>
          <p:nvPicPr>
            <p:cNvPr id="167" name="Graphic 49">
              <a:extLst>
                <a:ext uri="{FF2B5EF4-FFF2-40B4-BE49-F238E27FC236}">
                  <a16:creationId xmlns:a16="http://schemas.microsoft.com/office/drawing/2014/main" id="{537AF4C7-4243-4CFD-BC45-6E8E3A7657AC}"/>
                </a:ext>
              </a:extLst>
            </p:cNvPr>
            <p:cNvPicPr preferRelativeResize="0">
              <a:picLocks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rcRect/>
            <a:stretch/>
          </p:blipFill>
          <p:spPr>
            <a:xfrm>
              <a:off x="7512840" y="2760705"/>
              <a:ext cx="432000" cy="432000"/>
            </a:xfrm>
            <a:prstGeom prst="rect">
              <a:avLst/>
            </a:prstGeom>
          </p:spPr>
        </p:pic>
      </p:grpSp>
      <p:sp>
        <p:nvSpPr>
          <p:cNvPr id="137" name="Rectangle 136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1174619" y="2867071"/>
            <a:ext cx="2725395" cy="432000"/>
          </a:xfrm>
          <a:prstGeom prst="rect">
            <a:avLst/>
          </a:prstGeom>
          <a:solidFill>
            <a:srgbClr val="FDE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marR="0" lvl="0" indent="-1968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ito web Curriculum dello studente</a:t>
            </a:r>
          </a:p>
        </p:txBody>
      </p:sp>
      <p:pic>
        <p:nvPicPr>
          <p:cNvPr id="138" name="Graphic 49">
            <a:extLst>
              <a:ext uri="{FF2B5EF4-FFF2-40B4-BE49-F238E27FC236}">
                <a16:creationId xmlns:a16="http://schemas.microsoft.com/office/drawing/2014/main" id="{537AF4C7-4243-4CFD-BC45-6E8E3A7657AC}"/>
              </a:ext>
            </a:extLst>
          </p:cNvPr>
          <p:cNvPicPr preferRelativeResize="0">
            <a:picLocks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rcRect/>
          <a:stretch/>
        </p:blipFill>
        <p:spPr>
          <a:xfrm>
            <a:off x="636943" y="2885071"/>
            <a:ext cx="432000" cy="432000"/>
          </a:xfrm>
          <a:prstGeom prst="rect">
            <a:avLst/>
          </a:prstGeom>
        </p:spPr>
      </p:pic>
      <p:sp>
        <p:nvSpPr>
          <p:cNvPr id="108" name="Rounded Rectangle 19">
            <a:extLst>
              <a:ext uri="{FF2B5EF4-FFF2-40B4-BE49-F238E27FC236}">
                <a16:creationId xmlns:a16="http://schemas.microsoft.com/office/drawing/2014/main" id="{D5703467-199F-4B16-A4FE-009320B26D5F}"/>
              </a:ext>
            </a:extLst>
          </p:cNvPr>
          <p:cNvSpPr/>
          <p:nvPr/>
        </p:nvSpPr>
        <p:spPr>
          <a:xfrm>
            <a:off x="876014" y="2281081"/>
            <a:ext cx="3024000" cy="451811"/>
          </a:xfrm>
          <a:prstGeom prst="roundRect">
            <a:avLst/>
          </a:prstGeom>
          <a:solidFill>
            <a:srgbClr val="FDE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TUTTI</a:t>
            </a:r>
            <a:r>
              <a:rPr kumimoji="0" lang="it-IT" sz="1400" b="1" i="0" u="none" strike="noStrike" kern="1200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 GLI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1200" cap="none" spc="0" normalizeH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n-ea"/>
                <a:cs typeface="+mn-cs"/>
              </a:rPr>
              <a:t>UTENTI INTERESSATI</a:t>
            </a:r>
            <a:endParaRPr kumimoji="0" lang="it-IT" sz="1400" b="1" i="0" u="none" strike="noStrike" kern="1200" cap="none" spc="0" normalizeH="0" baseline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4" name="Oval 143">
            <a:extLst>
              <a:ext uri="{FF2B5EF4-FFF2-40B4-BE49-F238E27FC236}">
                <a16:creationId xmlns:a16="http://schemas.microsoft.com/office/drawing/2014/main" id="{C938F024-9485-4037-8281-4A372E2E1C06}"/>
              </a:ext>
            </a:extLst>
          </p:cNvPr>
          <p:cNvSpPr/>
          <p:nvPr/>
        </p:nvSpPr>
        <p:spPr>
          <a:xfrm>
            <a:off x="481354" y="2177468"/>
            <a:ext cx="707178" cy="659036"/>
          </a:xfrm>
          <a:prstGeom prst="ellipse">
            <a:avLst/>
          </a:prstGeom>
          <a:solidFill>
            <a:srgbClr val="FCD6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29681345-91FC-4212-8223-D6D84EDB9170}"/>
              </a:ext>
            </a:extLst>
          </p:cNvPr>
          <p:cNvSpPr/>
          <p:nvPr/>
        </p:nvSpPr>
        <p:spPr>
          <a:xfrm>
            <a:off x="1174619" y="3339974"/>
            <a:ext cx="2725395" cy="603533"/>
          </a:xfrm>
          <a:prstGeom prst="rect">
            <a:avLst/>
          </a:prstGeom>
          <a:solidFill>
            <a:srgbClr val="FDE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lvl="0" indent="-196850"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it-IT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deo Tutorial generale sul modello del Curriculum dello studente </a:t>
            </a: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60" name="Graphic 49">
            <a:extLst>
              <a:ext uri="{FF2B5EF4-FFF2-40B4-BE49-F238E27FC236}">
                <a16:creationId xmlns:a16="http://schemas.microsoft.com/office/drawing/2014/main" id="{537AF4C7-4243-4CFD-BC45-6E8E3A7657AC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0"/>
              </a:ext>
            </a:extLst>
          </a:blip>
          <a:srcRect/>
          <a:stretch/>
        </p:blipFill>
        <p:spPr>
          <a:xfrm>
            <a:off x="636943" y="3339975"/>
            <a:ext cx="432000" cy="43200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2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64943" y="2239096"/>
            <a:ext cx="540000" cy="535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105125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780AF4A-9386-4BE3-B38C-08F59D66CC0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936854" y="2390862"/>
            <a:ext cx="8607287" cy="2493873"/>
          </a:xfrm>
        </p:spPr>
        <p:txBody>
          <a:bodyPr/>
          <a:lstStyle/>
          <a:p>
            <a:r>
              <a:rPr lang="it-IT" i="1" dirty="0"/>
              <a:t>Grazie per l’attenzione</a:t>
            </a:r>
            <a:br>
              <a:rPr lang="it-IT" i="1" dirty="0"/>
            </a:br>
            <a:br>
              <a:rPr lang="it-IT" i="1" dirty="0"/>
            </a:br>
            <a:endParaRPr lang="it-IT" sz="3600" i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95307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3915">
            <a:extLst>
              <a:ext uri="{FF2B5EF4-FFF2-40B4-BE49-F238E27FC236}">
                <a16:creationId xmlns:a16="http://schemas.microsoft.com/office/drawing/2014/main" id="{78AED8CB-4EE7-41B4-A784-2E5C49DA4E7B}"/>
              </a:ext>
            </a:extLst>
          </p:cNvPr>
          <p:cNvSpPr txBox="1">
            <a:spLocks/>
          </p:cNvSpPr>
          <p:nvPr/>
        </p:nvSpPr>
        <p:spPr>
          <a:xfrm>
            <a:off x="523797" y="1107513"/>
            <a:ext cx="11152266" cy="497779"/>
          </a:xfrm>
          <a:prstGeom prst="rect">
            <a:avLst/>
          </a:prstGeom>
        </p:spPr>
        <p:txBody>
          <a:bodyPr vert="horz" wrap="square" lIns="121900" tIns="121900" rIns="121900" bIns="12190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it-IT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/>
              <a:t>Cos’è il Curriculum dello student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0420478E-733F-4B01-8335-5078C689215F}"/>
              </a:ext>
            </a:extLst>
          </p:cNvPr>
          <p:cNvSpPr txBox="1">
            <a:spLocks/>
          </p:cNvSpPr>
          <p:nvPr/>
        </p:nvSpPr>
        <p:spPr>
          <a:xfrm>
            <a:off x="601663" y="1344802"/>
            <a:ext cx="10988675" cy="874253"/>
          </a:xfrm>
          <a:prstGeom prst="rect">
            <a:avLst/>
          </a:prstGeom>
        </p:spPr>
        <p:txBody>
          <a:bodyPr/>
          <a:lstStyle>
            <a:lvl1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99390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32316" indent="-132926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1706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13564" indent="-212682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66124" indent="-26253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518684" indent="-211021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lnSpc>
                <a:spcPct val="90000"/>
              </a:lnSpc>
              <a:spcBef>
                <a:spcPts val="462"/>
              </a:spcBef>
              <a:buFont typeface="Arial" panose="020B0604020202020204" pitchFamily="34" charset="0"/>
              <a:buChar char="•"/>
              <a:defRPr sz="16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 Curriculum dello studente è un documento rappresentativo del profilo dello studente </a:t>
            </a:r>
            <a:r>
              <a:rPr lang="it-IT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 contiene tutte le informazioni sul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corso scolastico ed extrascolastico.</a:t>
            </a:r>
          </a:p>
          <a:p>
            <a:r>
              <a:rPr lang="it-IT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porta al suo interno: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926392" y="2446819"/>
            <a:ext cx="9957844" cy="1584000"/>
            <a:chOff x="926392" y="2665894"/>
            <a:chExt cx="9957844" cy="1584000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8122C511-BE37-45FC-8536-CE66D8E32137}"/>
                </a:ext>
              </a:extLst>
            </p:cNvPr>
            <p:cNvSpPr/>
            <p:nvPr/>
          </p:nvSpPr>
          <p:spPr>
            <a:xfrm>
              <a:off x="2234377" y="3019546"/>
              <a:ext cx="8649859" cy="883425"/>
            </a:xfrm>
            <a:prstGeom prst="rect">
              <a:avLst/>
            </a:prstGeom>
            <a:solidFill>
              <a:srgbClr val="B7E0EC"/>
            </a:solidFill>
          </p:spPr>
          <p:txBody>
            <a:bodyPr wrap="square" anchor="ctr">
              <a:noAutofit/>
            </a:bodyPr>
            <a:lstStyle/>
            <a:p>
              <a:pPr lvl="1" algn="just">
                <a:lnSpc>
                  <a:spcPct val="107000"/>
                </a:lnSpc>
              </a:pPr>
              <a:r>
                <a:rPr lang="it-IT" b="1" dirty="0">
                  <a:ea typeface="Calibri" panose="020F0502020204030204" pitchFamily="34" charset="0"/>
                  <a:cs typeface="Arial" panose="020B0604020202020204" pitchFamily="34" charset="0"/>
                </a:rPr>
                <a:t>Le informazioni relative al percorso scolastico dello studente</a:t>
              </a:r>
              <a:endParaRPr lang="it-IT" strike="sngStrike" dirty="0"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EA696F5E-2E3C-43AE-9E3F-3B117C0A3477}"/>
                </a:ext>
              </a:extLst>
            </p:cNvPr>
            <p:cNvSpPr/>
            <p:nvPr/>
          </p:nvSpPr>
          <p:spPr>
            <a:xfrm>
              <a:off x="926392" y="2665894"/>
              <a:ext cx="1584000" cy="1584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FDE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pic>
          <p:nvPicPr>
            <p:cNvPr id="38" name="Picture 37" descr="Icon&#10;&#10;Description automatically generated">
              <a:extLst>
                <a:ext uri="{FF2B5EF4-FFF2-40B4-BE49-F238E27FC236}">
                  <a16:creationId xmlns:a16="http://schemas.microsoft.com/office/drawing/2014/main" id="{5424119C-512B-47C0-ADC3-0126197C15E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5904" y="2857500"/>
              <a:ext cx="1202816" cy="1202816"/>
            </a:xfrm>
            <a:prstGeom prst="rect">
              <a:avLst/>
            </a:prstGeom>
          </p:spPr>
        </p:pic>
      </p:grpSp>
      <p:grpSp>
        <p:nvGrpSpPr>
          <p:cNvPr id="3" name="Group 2"/>
          <p:cNvGrpSpPr/>
          <p:nvPr/>
        </p:nvGrpSpPr>
        <p:grpSpPr>
          <a:xfrm>
            <a:off x="926392" y="4357405"/>
            <a:ext cx="9957845" cy="1584000"/>
            <a:chOff x="926392" y="4300255"/>
            <a:chExt cx="9957845" cy="1584000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FC0F582A-63DF-4AE7-8A99-3A3908AC250E}"/>
                </a:ext>
              </a:extLst>
            </p:cNvPr>
            <p:cNvSpPr/>
            <p:nvPr/>
          </p:nvSpPr>
          <p:spPr>
            <a:xfrm>
              <a:off x="2234378" y="4610708"/>
              <a:ext cx="8649859" cy="888530"/>
            </a:xfrm>
            <a:prstGeom prst="rect">
              <a:avLst/>
            </a:prstGeom>
            <a:solidFill>
              <a:srgbClr val="B7E0EC"/>
            </a:solidFill>
          </p:spPr>
          <p:txBody>
            <a:bodyPr wrap="square" anchor="ctr">
              <a:noAutofit/>
            </a:bodyPr>
            <a:lstStyle/>
            <a:p>
              <a:pPr lvl="1" algn="just">
                <a:lnSpc>
                  <a:spcPct val="107000"/>
                </a:lnSpc>
                <a:spcAft>
                  <a:spcPts val="800"/>
                </a:spcAft>
              </a:pPr>
              <a:r>
                <a:rPr lang="it-IT" dirty="0">
                  <a:ea typeface="Calibri" panose="020F0502020204030204" pitchFamily="34" charset="0"/>
                  <a:cs typeface="Arial" panose="020B0604020202020204" pitchFamily="34" charset="0"/>
                </a:rPr>
                <a:t>Le </a:t>
              </a:r>
              <a:r>
                <a:rPr lang="it-IT" b="1" dirty="0">
                  <a:ea typeface="Calibri" panose="020F0502020204030204" pitchFamily="34" charset="0"/>
                  <a:cs typeface="Arial" panose="020B0604020202020204" pitchFamily="34" charset="0"/>
                </a:rPr>
                <a:t>certificazioni linguistiche conseguite e le attività extrascolastiche svolte dallo studente </a:t>
              </a:r>
              <a:r>
                <a:rPr lang="it-IT" dirty="0">
                  <a:ea typeface="Calibri" panose="020F0502020204030204" pitchFamily="34" charset="0"/>
                  <a:cs typeface="Arial" panose="020B0604020202020204" pitchFamily="34" charset="0"/>
                </a:rPr>
                <a:t>nel corso degli anni </a:t>
              </a: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AFD3ACB4-9318-44BD-84BB-B1217268C3C1}"/>
                </a:ext>
              </a:extLst>
            </p:cNvPr>
            <p:cNvSpPr/>
            <p:nvPr/>
          </p:nvSpPr>
          <p:spPr>
            <a:xfrm>
              <a:off x="926392" y="4300255"/>
              <a:ext cx="1584000" cy="158400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FDE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pic>
          <p:nvPicPr>
            <p:cNvPr id="41" name="Picture 40" descr="Icon&#10;&#10;Description automatically generated">
              <a:extLst>
                <a:ext uri="{FF2B5EF4-FFF2-40B4-BE49-F238E27FC236}">
                  <a16:creationId xmlns:a16="http://schemas.microsoft.com/office/drawing/2014/main" id="{D3E3391E-4F1F-409A-A86E-3E9E17D457B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77421" y="4551284"/>
              <a:ext cx="1081941" cy="108194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511362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/>
              <a:t>Il valore del Curriculum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1CC53BDD-2381-49A0-B784-AA2F4A1A5266}"/>
              </a:ext>
            </a:extLst>
          </p:cNvPr>
          <p:cNvGrpSpPr/>
          <p:nvPr/>
        </p:nvGrpSpPr>
        <p:grpSpPr>
          <a:xfrm>
            <a:off x="1325415" y="1469335"/>
            <a:ext cx="9556499" cy="1088342"/>
            <a:chOff x="1081503" y="2392435"/>
            <a:chExt cx="9529347" cy="1088342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4E89E70-7A1E-4B29-9375-946C70694F63}"/>
                </a:ext>
              </a:extLst>
            </p:cNvPr>
            <p:cNvSpPr/>
            <p:nvPr/>
          </p:nvSpPr>
          <p:spPr>
            <a:xfrm>
              <a:off x="1411905" y="2433076"/>
              <a:ext cx="9198945" cy="870630"/>
            </a:xfrm>
            <a:prstGeom prst="rect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/>
              <a:endParaRPr lang="en-US" sz="1799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AF56EF1-E0E1-4837-BB59-93E14D6A69C1}"/>
                </a:ext>
              </a:extLst>
            </p:cNvPr>
            <p:cNvSpPr/>
            <p:nvPr/>
          </p:nvSpPr>
          <p:spPr>
            <a:xfrm>
              <a:off x="2393457" y="2571341"/>
              <a:ext cx="7474443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4126"/>
              <a:r>
                <a:rPr lang="it-IT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l Curriculum dello studente è rappresentativo dell’</a:t>
              </a:r>
              <a:r>
                <a:rPr lang="it-IT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tero profilo dello studente</a:t>
              </a:r>
              <a:endParaRPr lang="en-US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8293E46B-CA75-4C4C-A298-D63E2517BC20}"/>
                </a:ext>
              </a:extLst>
            </p:cNvPr>
            <p:cNvSpPr/>
            <p:nvPr/>
          </p:nvSpPr>
          <p:spPr>
            <a:xfrm>
              <a:off x="1081503" y="2392435"/>
              <a:ext cx="1194972" cy="108834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FDE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A96D9811-0C45-4A91-8F4C-692872D300D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273144" y="2518396"/>
              <a:ext cx="768485" cy="768485"/>
            </a:xfrm>
            <a:prstGeom prst="rect">
              <a:avLst/>
            </a:prstGeom>
          </p:spPr>
        </p:pic>
      </p:grpSp>
      <p:grpSp>
        <p:nvGrpSpPr>
          <p:cNvPr id="2" name="Group 1"/>
          <p:cNvGrpSpPr/>
          <p:nvPr/>
        </p:nvGrpSpPr>
        <p:grpSpPr>
          <a:xfrm>
            <a:off x="1325415" y="5071015"/>
            <a:ext cx="9561246" cy="1088342"/>
            <a:chOff x="1354735" y="4966585"/>
            <a:chExt cx="9561246" cy="1088342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5F5121F9-10AE-497C-AB95-D4B0DDD6A78C}"/>
                </a:ext>
              </a:extLst>
            </p:cNvPr>
            <p:cNvGrpSpPr/>
            <p:nvPr/>
          </p:nvGrpSpPr>
          <p:grpSpPr>
            <a:xfrm>
              <a:off x="1660564" y="4998650"/>
              <a:ext cx="9255417" cy="952895"/>
              <a:chOff x="1139410" y="4337313"/>
              <a:chExt cx="5000133" cy="953143"/>
            </a:xfrm>
            <a:solidFill>
              <a:srgbClr val="FDE69B"/>
            </a:solidFill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1E3E9EF9-FC2E-45AE-9731-E461BD282E7E}"/>
                  </a:ext>
                </a:extLst>
              </p:cNvPr>
              <p:cNvSpPr/>
              <p:nvPr/>
            </p:nvSpPr>
            <p:spPr>
              <a:xfrm>
                <a:off x="1164772" y="4419599"/>
                <a:ext cx="4974771" cy="870857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en-US" sz="1799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25" name="Freeform 19">
                <a:extLst>
                  <a:ext uri="{FF2B5EF4-FFF2-40B4-BE49-F238E27FC236}">
                    <a16:creationId xmlns:a16="http://schemas.microsoft.com/office/drawing/2014/main" id="{818DC7E6-2174-46FD-AD6A-28613F6DE3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39410" y="4337313"/>
                <a:ext cx="315129" cy="425828"/>
              </a:xfrm>
              <a:custGeom>
                <a:avLst/>
                <a:gdLst>
                  <a:gd name="T0" fmla="*/ 1356 w 3084"/>
                  <a:gd name="T1" fmla="*/ 2103 h 3874"/>
                  <a:gd name="T2" fmla="*/ 1338 w 3084"/>
                  <a:gd name="T3" fmla="*/ 2359 h 3874"/>
                  <a:gd name="T4" fmla="*/ 1549 w 3084"/>
                  <a:gd name="T5" fmla="*/ 2487 h 3874"/>
                  <a:gd name="T6" fmla="*/ 1764 w 3084"/>
                  <a:gd name="T7" fmla="*/ 2359 h 3874"/>
                  <a:gd name="T8" fmla="*/ 1744 w 3084"/>
                  <a:gd name="T9" fmla="*/ 2103 h 3874"/>
                  <a:gd name="T10" fmla="*/ 1586 w 3084"/>
                  <a:gd name="T11" fmla="*/ 657 h 3874"/>
                  <a:gd name="T12" fmla="*/ 1144 w 3084"/>
                  <a:gd name="T13" fmla="*/ 765 h 3874"/>
                  <a:gd name="T14" fmla="*/ 1496 w 3084"/>
                  <a:gd name="T15" fmla="*/ 973 h 3874"/>
                  <a:gd name="T16" fmla="*/ 1680 w 3084"/>
                  <a:gd name="T17" fmla="*/ 1074 h 3874"/>
                  <a:gd name="T18" fmla="*/ 1604 w 3084"/>
                  <a:gd name="T19" fmla="*/ 1322 h 3874"/>
                  <a:gd name="T20" fmla="*/ 1386 w 3084"/>
                  <a:gd name="T21" fmla="*/ 1701 h 3874"/>
                  <a:gd name="T22" fmla="*/ 1744 w 3084"/>
                  <a:gd name="T23" fmla="*/ 1739 h 3874"/>
                  <a:gd name="T24" fmla="*/ 1926 w 3084"/>
                  <a:gd name="T25" fmla="*/ 1447 h 3874"/>
                  <a:gd name="T26" fmla="*/ 2083 w 3084"/>
                  <a:gd name="T27" fmla="*/ 1170 h 3874"/>
                  <a:gd name="T28" fmla="*/ 2047 w 3084"/>
                  <a:gd name="T29" fmla="*/ 876 h 3874"/>
                  <a:gd name="T30" fmla="*/ 1814 w 3084"/>
                  <a:gd name="T31" fmla="*/ 690 h 3874"/>
                  <a:gd name="T32" fmla="*/ 1702 w 3084"/>
                  <a:gd name="T33" fmla="*/ 2 h 3874"/>
                  <a:gd name="T34" fmla="*/ 2160 w 3084"/>
                  <a:gd name="T35" fmla="*/ 98 h 3874"/>
                  <a:gd name="T36" fmla="*/ 2629 w 3084"/>
                  <a:gd name="T37" fmla="*/ 411 h 3874"/>
                  <a:gd name="T38" fmla="*/ 2862 w 3084"/>
                  <a:gd name="T39" fmla="*/ 752 h 3874"/>
                  <a:gd name="T40" fmla="*/ 2941 w 3084"/>
                  <a:gd name="T41" fmla="*/ 1235 h 3874"/>
                  <a:gd name="T42" fmla="*/ 2883 w 3084"/>
                  <a:gd name="T43" fmla="*/ 1453 h 3874"/>
                  <a:gd name="T44" fmla="*/ 2869 w 3084"/>
                  <a:gd name="T45" fmla="*/ 1667 h 3874"/>
                  <a:gd name="T46" fmla="*/ 2934 w 3084"/>
                  <a:gd name="T47" fmla="*/ 1791 h 3874"/>
                  <a:gd name="T48" fmla="*/ 3040 w 3084"/>
                  <a:gd name="T49" fmla="*/ 1996 h 3874"/>
                  <a:gd name="T50" fmla="*/ 3084 w 3084"/>
                  <a:gd name="T51" fmla="*/ 2124 h 3874"/>
                  <a:gd name="T52" fmla="*/ 3048 w 3084"/>
                  <a:gd name="T53" fmla="*/ 2195 h 3874"/>
                  <a:gd name="T54" fmla="*/ 2914 w 3084"/>
                  <a:gd name="T55" fmla="*/ 2234 h 3874"/>
                  <a:gd name="T56" fmla="*/ 2886 w 3084"/>
                  <a:gd name="T57" fmla="*/ 2306 h 3874"/>
                  <a:gd name="T58" fmla="*/ 2868 w 3084"/>
                  <a:gd name="T59" fmla="*/ 2500 h 3874"/>
                  <a:gd name="T60" fmla="*/ 2807 w 3084"/>
                  <a:gd name="T61" fmla="*/ 2550 h 3874"/>
                  <a:gd name="T62" fmla="*/ 2829 w 3084"/>
                  <a:gd name="T63" fmla="*/ 2604 h 3874"/>
                  <a:gd name="T64" fmla="*/ 2772 w 3084"/>
                  <a:gd name="T65" fmla="*/ 2733 h 3874"/>
                  <a:gd name="T66" fmla="*/ 2749 w 3084"/>
                  <a:gd name="T67" fmla="*/ 2873 h 3874"/>
                  <a:gd name="T68" fmla="*/ 2755 w 3084"/>
                  <a:gd name="T69" fmla="*/ 2987 h 3874"/>
                  <a:gd name="T70" fmla="*/ 2709 w 3084"/>
                  <a:gd name="T71" fmla="*/ 3087 h 3874"/>
                  <a:gd name="T72" fmla="*/ 2598 w 3084"/>
                  <a:gd name="T73" fmla="*/ 3133 h 3874"/>
                  <a:gd name="T74" fmla="*/ 2303 w 3084"/>
                  <a:gd name="T75" fmla="*/ 3132 h 3874"/>
                  <a:gd name="T76" fmla="*/ 2068 w 3084"/>
                  <a:gd name="T77" fmla="*/ 3122 h 3874"/>
                  <a:gd name="T78" fmla="*/ 1901 w 3084"/>
                  <a:gd name="T79" fmla="*/ 3228 h 3874"/>
                  <a:gd name="T80" fmla="*/ 1810 w 3084"/>
                  <a:gd name="T81" fmla="*/ 3405 h 3874"/>
                  <a:gd name="T82" fmla="*/ 1680 w 3084"/>
                  <a:gd name="T83" fmla="*/ 3674 h 3874"/>
                  <a:gd name="T84" fmla="*/ 1602 w 3084"/>
                  <a:gd name="T85" fmla="*/ 3874 h 3874"/>
                  <a:gd name="T86" fmla="*/ 1524 w 3084"/>
                  <a:gd name="T87" fmla="*/ 3748 h 3874"/>
                  <a:gd name="T88" fmla="*/ 1308 w 3084"/>
                  <a:gd name="T89" fmla="*/ 3457 h 3874"/>
                  <a:gd name="T90" fmla="*/ 987 w 3084"/>
                  <a:gd name="T91" fmla="*/ 3133 h 3874"/>
                  <a:gd name="T92" fmla="*/ 593 w 3084"/>
                  <a:gd name="T93" fmla="*/ 2909 h 3874"/>
                  <a:gd name="T94" fmla="*/ 558 w 3084"/>
                  <a:gd name="T95" fmla="*/ 2795 h 3874"/>
                  <a:gd name="T96" fmla="*/ 538 w 3084"/>
                  <a:gd name="T97" fmla="*/ 2477 h 3874"/>
                  <a:gd name="T98" fmla="*/ 376 w 3084"/>
                  <a:gd name="T99" fmla="*/ 2147 h 3874"/>
                  <a:gd name="T100" fmla="*/ 260 w 3084"/>
                  <a:gd name="T101" fmla="*/ 1980 h 3874"/>
                  <a:gd name="T102" fmla="*/ 96 w 3084"/>
                  <a:gd name="T103" fmla="*/ 1698 h 3874"/>
                  <a:gd name="T104" fmla="*/ 7 w 3084"/>
                  <a:gd name="T105" fmla="*/ 1418 h 3874"/>
                  <a:gd name="T106" fmla="*/ 0 w 3084"/>
                  <a:gd name="T107" fmla="*/ 1301 h 3874"/>
                  <a:gd name="T108" fmla="*/ 64 w 3084"/>
                  <a:gd name="T109" fmla="*/ 962 h 3874"/>
                  <a:gd name="T110" fmla="*/ 367 w 3084"/>
                  <a:gd name="T111" fmla="*/ 471 h 3874"/>
                  <a:gd name="T112" fmla="*/ 638 w 3084"/>
                  <a:gd name="T113" fmla="*/ 232 h 3874"/>
                  <a:gd name="T114" fmla="*/ 1053 w 3084"/>
                  <a:gd name="T115" fmla="*/ 58 h 38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084" h="3874">
                    <a:moveTo>
                      <a:pt x="1549" y="2009"/>
                    </a:moveTo>
                    <a:lnTo>
                      <a:pt x="1509" y="2011"/>
                    </a:lnTo>
                    <a:lnTo>
                      <a:pt x="1471" y="2020"/>
                    </a:lnTo>
                    <a:lnTo>
                      <a:pt x="1438" y="2034"/>
                    </a:lnTo>
                    <a:lnTo>
                      <a:pt x="1406" y="2052"/>
                    </a:lnTo>
                    <a:lnTo>
                      <a:pt x="1379" y="2076"/>
                    </a:lnTo>
                    <a:lnTo>
                      <a:pt x="1356" y="2103"/>
                    </a:lnTo>
                    <a:lnTo>
                      <a:pt x="1338" y="2134"/>
                    </a:lnTo>
                    <a:lnTo>
                      <a:pt x="1324" y="2169"/>
                    </a:lnTo>
                    <a:lnTo>
                      <a:pt x="1316" y="2207"/>
                    </a:lnTo>
                    <a:lnTo>
                      <a:pt x="1313" y="2248"/>
                    </a:lnTo>
                    <a:lnTo>
                      <a:pt x="1315" y="2287"/>
                    </a:lnTo>
                    <a:lnTo>
                      <a:pt x="1324" y="2324"/>
                    </a:lnTo>
                    <a:lnTo>
                      <a:pt x="1338" y="2359"/>
                    </a:lnTo>
                    <a:lnTo>
                      <a:pt x="1355" y="2390"/>
                    </a:lnTo>
                    <a:lnTo>
                      <a:pt x="1379" y="2419"/>
                    </a:lnTo>
                    <a:lnTo>
                      <a:pt x="1405" y="2442"/>
                    </a:lnTo>
                    <a:lnTo>
                      <a:pt x="1436" y="2461"/>
                    </a:lnTo>
                    <a:lnTo>
                      <a:pt x="1470" y="2474"/>
                    </a:lnTo>
                    <a:lnTo>
                      <a:pt x="1508" y="2483"/>
                    </a:lnTo>
                    <a:lnTo>
                      <a:pt x="1549" y="2487"/>
                    </a:lnTo>
                    <a:lnTo>
                      <a:pt x="1590" y="2483"/>
                    </a:lnTo>
                    <a:lnTo>
                      <a:pt x="1629" y="2474"/>
                    </a:lnTo>
                    <a:lnTo>
                      <a:pt x="1664" y="2461"/>
                    </a:lnTo>
                    <a:lnTo>
                      <a:pt x="1695" y="2442"/>
                    </a:lnTo>
                    <a:lnTo>
                      <a:pt x="1722" y="2419"/>
                    </a:lnTo>
                    <a:lnTo>
                      <a:pt x="1745" y="2390"/>
                    </a:lnTo>
                    <a:lnTo>
                      <a:pt x="1764" y="2359"/>
                    </a:lnTo>
                    <a:lnTo>
                      <a:pt x="1776" y="2324"/>
                    </a:lnTo>
                    <a:lnTo>
                      <a:pt x="1785" y="2287"/>
                    </a:lnTo>
                    <a:lnTo>
                      <a:pt x="1787" y="2248"/>
                    </a:lnTo>
                    <a:lnTo>
                      <a:pt x="1784" y="2207"/>
                    </a:lnTo>
                    <a:lnTo>
                      <a:pt x="1776" y="2169"/>
                    </a:lnTo>
                    <a:lnTo>
                      <a:pt x="1762" y="2134"/>
                    </a:lnTo>
                    <a:lnTo>
                      <a:pt x="1744" y="2103"/>
                    </a:lnTo>
                    <a:lnTo>
                      <a:pt x="1721" y="2076"/>
                    </a:lnTo>
                    <a:lnTo>
                      <a:pt x="1694" y="2052"/>
                    </a:lnTo>
                    <a:lnTo>
                      <a:pt x="1662" y="2034"/>
                    </a:lnTo>
                    <a:lnTo>
                      <a:pt x="1629" y="2020"/>
                    </a:lnTo>
                    <a:lnTo>
                      <a:pt x="1590" y="2011"/>
                    </a:lnTo>
                    <a:lnTo>
                      <a:pt x="1549" y="2009"/>
                    </a:lnTo>
                    <a:close/>
                    <a:moveTo>
                      <a:pt x="1586" y="657"/>
                    </a:moveTo>
                    <a:lnTo>
                      <a:pt x="1508" y="661"/>
                    </a:lnTo>
                    <a:lnTo>
                      <a:pt x="1433" y="669"/>
                    </a:lnTo>
                    <a:lnTo>
                      <a:pt x="1363" y="683"/>
                    </a:lnTo>
                    <a:lnTo>
                      <a:pt x="1299" y="699"/>
                    </a:lnTo>
                    <a:lnTo>
                      <a:pt x="1240" y="720"/>
                    </a:lnTo>
                    <a:lnTo>
                      <a:pt x="1188" y="742"/>
                    </a:lnTo>
                    <a:lnTo>
                      <a:pt x="1144" y="765"/>
                    </a:lnTo>
                    <a:lnTo>
                      <a:pt x="1234" y="1052"/>
                    </a:lnTo>
                    <a:lnTo>
                      <a:pt x="1270" y="1030"/>
                    </a:lnTo>
                    <a:lnTo>
                      <a:pt x="1313" y="1010"/>
                    </a:lnTo>
                    <a:lnTo>
                      <a:pt x="1358" y="995"/>
                    </a:lnTo>
                    <a:lnTo>
                      <a:pt x="1405" y="983"/>
                    </a:lnTo>
                    <a:lnTo>
                      <a:pt x="1451" y="975"/>
                    </a:lnTo>
                    <a:lnTo>
                      <a:pt x="1496" y="973"/>
                    </a:lnTo>
                    <a:lnTo>
                      <a:pt x="1538" y="976"/>
                    </a:lnTo>
                    <a:lnTo>
                      <a:pt x="1574" y="984"/>
                    </a:lnTo>
                    <a:lnTo>
                      <a:pt x="1605" y="996"/>
                    </a:lnTo>
                    <a:lnTo>
                      <a:pt x="1631" y="1011"/>
                    </a:lnTo>
                    <a:lnTo>
                      <a:pt x="1652" y="1028"/>
                    </a:lnTo>
                    <a:lnTo>
                      <a:pt x="1669" y="1049"/>
                    </a:lnTo>
                    <a:lnTo>
                      <a:pt x="1680" y="1074"/>
                    </a:lnTo>
                    <a:lnTo>
                      <a:pt x="1687" y="1101"/>
                    </a:lnTo>
                    <a:lnTo>
                      <a:pt x="1690" y="1131"/>
                    </a:lnTo>
                    <a:lnTo>
                      <a:pt x="1685" y="1168"/>
                    </a:lnTo>
                    <a:lnTo>
                      <a:pt x="1674" y="1207"/>
                    </a:lnTo>
                    <a:lnTo>
                      <a:pt x="1656" y="1244"/>
                    </a:lnTo>
                    <a:lnTo>
                      <a:pt x="1632" y="1282"/>
                    </a:lnTo>
                    <a:lnTo>
                      <a:pt x="1604" y="1322"/>
                    </a:lnTo>
                    <a:lnTo>
                      <a:pt x="1571" y="1361"/>
                    </a:lnTo>
                    <a:lnTo>
                      <a:pt x="1536" y="1404"/>
                    </a:lnTo>
                    <a:lnTo>
                      <a:pt x="1489" y="1464"/>
                    </a:lnTo>
                    <a:lnTo>
                      <a:pt x="1451" y="1525"/>
                    </a:lnTo>
                    <a:lnTo>
                      <a:pt x="1421" y="1584"/>
                    </a:lnTo>
                    <a:lnTo>
                      <a:pt x="1400" y="1642"/>
                    </a:lnTo>
                    <a:lnTo>
                      <a:pt x="1386" y="1701"/>
                    </a:lnTo>
                    <a:lnTo>
                      <a:pt x="1379" y="1759"/>
                    </a:lnTo>
                    <a:lnTo>
                      <a:pt x="1379" y="1816"/>
                    </a:lnTo>
                    <a:lnTo>
                      <a:pt x="1381" y="1885"/>
                    </a:lnTo>
                    <a:lnTo>
                      <a:pt x="1735" y="1885"/>
                    </a:lnTo>
                    <a:lnTo>
                      <a:pt x="1735" y="1838"/>
                    </a:lnTo>
                    <a:lnTo>
                      <a:pt x="1736" y="1787"/>
                    </a:lnTo>
                    <a:lnTo>
                      <a:pt x="1744" y="1739"/>
                    </a:lnTo>
                    <a:lnTo>
                      <a:pt x="1756" y="1692"/>
                    </a:lnTo>
                    <a:lnTo>
                      <a:pt x="1775" y="1646"/>
                    </a:lnTo>
                    <a:lnTo>
                      <a:pt x="1800" y="1600"/>
                    </a:lnTo>
                    <a:lnTo>
                      <a:pt x="1831" y="1555"/>
                    </a:lnTo>
                    <a:lnTo>
                      <a:pt x="1870" y="1509"/>
                    </a:lnTo>
                    <a:lnTo>
                      <a:pt x="1897" y="1478"/>
                    </a:lnTo>
                    <a:lnTo>
                      <a:pt x="1926" y="1447"/>
                    </a:lnTo>
                    <a:lnTo>
                      <a:pt x="1955" y="1413"/>
                    </a:lnTo>
                    <a:lnTo>
                      <a:pt x="1982" y="1378"/>
                    </a:lnTo>
                    <a:lnTo>
                      <a:pt x="2008" y="1342"/>
                    </a:lnTo>
                    <a:lnTo>
                      <a:pt x="2032" y="1302"/>
                    </a:lnTo>
                    <a:lnTo>
                      <a:pt x="2053" y="1260"/>
                    </a:lnTo>
                    <a:lnTo>
                      <a:pt x="2071" y="1217"/>
                    </a:lnTo>
                    <a:lnTo>
                      <a:pt x="2083" y="1170"/>
                    </a:lnTo>
                    <a:lnTo>
                      <a:pt x="2092" y="1120"/>
                    </a:lnTo>
                    <a:lnTo>
                      <a:pt x="2095" y="1067"/>
                    </a:lnTo>
                    <a:lnTo>
                      <a:pt x="2093" y="1027"/>
                    </a:lnTo>
                    <a:lnTo>
                      <a:pt x="2087" y="988"/>
                    </a:lnTo>
                    <a:lnTo>
                      <a:pt x="2078" y="948"/>
                    </a:lnTo>
                    <a:lnTo>
                      <a:pt x="2065" y="911"/>
                    </a:lnTo>
                    <a:lnTo>
                      <a:pt x="2047" y="876"/>
                    </a:lnTo>
                    <a:lnTo>
                      <a:pt x="2026" y="842"/>
                    </a:lnTo>
                    <a:lnTo>
                      <a:pt x="2001" y="811"/>
                    </a:lnTo>
                    <a:lnTo>
                      <a:pt x="1972" y="781"/>
                    </a:lnTo>
                    <a:lnTo>
                      <a:pt x="1938" y="754"/>
                    </a:lnTo>
                    <a:lnTo>
                      <a:pt x="1901" y="730"/>
                    </a:lnTo>
                    <a:lnTo>
                      <a:pt x="1860" y="709"/>
                    </a:lnTo>
                    <a:lnTo>
                      <a:pt x="1814" y="690"/>
                    </a:lnTo>
                    <a:lnTo>
                      <a:pt x="1764" y="677"/>
                    </a:lnTo>
                    <a:lnTo>
                      <a:pt x="1709" y="666"/>
                    </a:lnTo>
                    <a:lnTo>
                      <a:pt x="1650" y="660"/>
                    </a:lnTo>
                    <a:lnTo>
                      <a:pt x="1586" y="657"/>
                    </a:lnTo>
                    <a:close/>
                    <a:moveTo>
                      <a:pt x="1591" y="0"/>
                    </a:moveTo>
                    <a:lnTo>
                      <a:pt x="1645" y="0"/>
                    </a:lnTo>
                    <a:lnTo>
                      <a:pt x="1702" y="2"/>
                    </a:lnTo>
                    <a:lnTo>
                      <a:pt x="1762" y="7"/>
                    </a:lnTo>
                    <a:lnTo>
                      <a:pt x="1825" y="13"/>
                    </a:lnTo>
                    <a:lnTo>
                      <a:pt x="1889" y="23"/>
                    </a:lnTo>
                    <a:lnTo>
                      <a:pt x="1955" y="37"/>
                    </a:lnTo>
                    <a:lnTo>
                      <a:pt x="2022" y="53"/>
                    </a:lnTo>
                    <a:lnTo>
                      <a:pt x="2091" y="74"/>
                    </a:lnTo>
                    <a:lnTo>
                      <a:pt x="2160" y="98"/>
                    </a:lnTo>
                    <a:lnTo>
                      <a:pt x="2228" y="127"/>
                    </a:lnTo>
                    <a:lnTo>
                      <a:pt x="2297" y="161"/>
                    </a:lnTo>
                    <a:lnTo>
                      <a:pt x="2366" y="199"/>
                    </a:lnTo>
                    <a:lnTo>
                      <a:pt x="2434" y="244"/>
                    </a:lnTo>
                    <a:lnTo>
                      <a:pt x="2501" y="293"/>
                    </a:lnTo>
                    <a:lnTo>
                      <a:pt x="2565" y="349"/>
                    </a:lnTo>
                    <a:lnTo>
                      <a:pt x="2629" y="411"/>
                    </a:lnTo>
                    <a:lnTo>
                      <a:pt x="2668" y="453"/>
                    </a:lnTo>
                    <a:lnTo>
                      <a:pt x="2707" y="497"/>
                    </a:lnTo>
                    <a:lnTo>
                      <a:pt x="2742" y="544"/>
                    </a:lnTo>
                    <a:lnTo>
                      <a:pt x="2775" y="593"/>
                    </a:lnTo>
                    <a:lnTo>
                      <a:pt x="2808" y="643"/>
                    </a:lnTo>
                    <a:lnTo>
                      <a:pt x="2837" y="697"/>
                    </a:lnTo>
                    <a:lnTo>
                      <a:pt x="2862" y="752"/>
                    </a:lnTo>
                    <a:lnTo>
                      <a:pt x="2885" y="811"/>
                    </a:lnTo>
                    <a:lnTo>
                      <a:pt x="2904" y="872"/>
                    </a:lnTo>
                    <a:lnTo>
                      <a:pt x="2920" y="938"/>
                    </a:lnTo>
                    <a:lnTo>
                      <a:pt x="2931" y="1007"/>
                    </a:lnTo>
                    <a:lnTo>
                      <a:pt x="2939" y="1079"/>
                    </a:lnTo>
                    <a:lnTo>
                      <a:pt x="2943" y="1155"/>
                    </a:lnTo>
                    <a:lnTo>
                      <a:pt x="2941" y="1235"/>
                    </a:lnTo>
                    <a:lnTo>
                      <a:pt x="2936" y="1321"/>
                    </a:lnTo>
                    <a:lnTo>
                      <a:pt x="2933" y="1340"/>
                    </a:lnTo>
                    <a:lnTo>
                      <a:pt x="2925" y="1361"/>
                    </a:lnTo>
                    <a:lnTo>
                      <a:pt x="2916" y="1382"/>
                    </a:lnTo>
                    <a:lnTo>
                      <a:pt x="2905" y="1406"/>
                    </a:lnTo>
                    <a:lnTo>
                      <a:pt x="2894" y="1429"/>
                    </a:lnTo>
                    <a:lnTo>
                      <a:pt x="2883" y="1453"/>
                    </a:lnTo>
                    <a:lnTo>
                      <a:pt x="2871" y="1479"/>
                    </a:lnTo>
                    <a:lnTo>
                      <a:pt x="2863" y="1506"/>
                    </a:lnTo>
                    <a:lnTo>
                      <a:pt x="2857" y="1535"/>
                    </a:lnTo>
                    <a:lnTo>
                      <a:pt x="2853" y="1566"/>
                    </a:lnTo>
                    <a:lnTo>
                      <a:pt x="2853" y="1598"/>
                    </a:lnTo>
                    <a:lnTo>
                      <a:pt x="2859" y="1631"/>
                    </a:lnTo>
                    <a:lnTo>
                      <a:pt x="2869" y="1667"/>
                    </a:lnTo>
                    <a:lnTo>
                      <a:pt x="2886" y="1704"/>
                    </a:lnTo>
                    <a:lnTo>
                      <a:pt x="2888" y="1708"/>
                    </a:lnTo>
                    <a:lnTo>
                      <a:pt x="2893" y="1715"/>
                    </a:lnTo>
                    <a:lnTo>
                      <a:pt x="2900" y="1729"/>
                    </a:lnTo>
                    <a:lnTo>
                      <a:pt x="2909" y="1746"/>
                    </a:lnTo>
                    <a:lnTo>
                      <a:pt x="2921" y="1767"/>
                    </a:lnTo>
                    <a:lnTo>
                      <a:pt x="2934" y="1791"/>
                    </a:lnTo>
                    <a:lnTo>
                      <a:pt x="2949" y="1817"/>
                    </a:lnTo>
                    <a:lnTo>
                      <a:pt x="2964" y="1845"/>
                    </a:lnTo>
                    <a:lnTo>
                      <a:pt x="2980" y="1875"/>
                    </a:lnTo>
                    <a:lnTo>
                      <a:pt x="2995" y="1906"/>
                    </a:lnTo>
                    <a:lnTo>
                      <a:pt x="3011" y="1937"/>
                    </a:lnTo>
                    <a:lnTo>
                      <a:pt x="3026" y="1967"/>
                    </a:lnTo>
                    <a:lnTo>
                      <a:pt x="3040" y="1996"/>
                    </a:lnTo>
                    <a:lnTo>
                      <a:pt x="3053" y="2025"/>
                    </a:lnTo>
                    <a:lnTo>
                      <a:pt x="3064" y="2051"/>
                    </a:lnTo>
                    <a:lnTo>
                      <a:pt x="3073" y="2073"/>
                    </a:lnTo>
                    <a:lnTo>
                      <a:pt x="3080" y="2094"/>
                    </a:lnTo>
                    <a:lnTo>
                      <a:pt x="3084" y="2110"/>
                    </a:lnTo>
                    <a:lnTo>
                      <a:pt x="3084" y="2121"/>
                    </a:lnTo>
                    <a:lnTo>
                      <a:pt x="3084" y="2124"/>
                    </a:lnTo>
                    <a:lnTo>
                      <a:pt x="3084" y="2129"/>
                    </a:lnTo>
                    <a:lnTo>
                      <a:pt x="3083" y="2136"/>
                    </a:lnTo>
                    <a:lnTo>
                      <a:pt x="3080" y="2146"/>
                    </a:lnTo>
                    <a:lnTo>
                      <a:pt x="3075" y="2157"/>
                    </a:lnTo>
                    <a:lnTo>
                      <a:pt x="3069" y="2170"/>
                    </a:lnTo>
                    <a:lnTo>
                      <a:pt x="3060" y="2182"/>
                    </a:lnTo>
                    <a:lnTo>
                      <a:pt x="3048" y="2195"/>
                    </a:lnTo>
                    <a:lnTo>
                      <a:pt x="3030" y="2207"/>
                    </a:lnTo>
                    <a:lnTo>
                      <a:pt x="3010" y="2217"/>
                    </a:lnTo>
                    <a:lnTo>
                      <a:pt x="2985" y="2225"/>
                    </a:lnTo>
                    <a:lnTo>
                      <a:pt x="2954" y="2230"/>
                    </a:lnTo>
                    <a:lnTo>
                      <a:pt x="2919" y="2233"/>
                    </a:lnTo>
                    <a:lnTo>
                      <a:pt x="2918" y="2233"/>
                    </a:lnTo>
                    <a:lnTo>
                      <a:pt x="2914" y="2234"/>
                    </a:lnTo>
                    <a:lnTo>
                      <a:pt x="2909" y="2237"/>
                    </a:lnTo>
                    <a:lnTo>
                      <a:pt x="2904" y="2242"/>
                    </a:lnTo>
                    <a:lnTo>
                      <a:pt x="2899" y="2248"/>
                    </a:lnTo>
                    <a:lnTo>
                      <a:pt x="2894" y="2256"/>
                    </a:lnTo>
                    <a:lnTo>
                      <a:pt x="2889" y="2270"/>
                    </a:lnTo>
                    <a:lnTo>
                      <a:pt x="2886" y="2286"/>
                    </a:lnTo>
                    <a:lnTo>
                      <a:pt x="2886" y="2306"/>
                    </a:lnTo>
                    <a:lnTo>
                      <a:pt x="2888" y="2332"/>
                    </a:lnTo>
                    <a:lnTo>
                      <a:pt x="2890" y="2467"/>
                    </a:lnTo>
                    <a:lnTo>
                      <a:pt x="2890" y="2468"/>
                    </a:lnTo>
                    <a:lnTo>
                      <a:pt x="2888" y="2473"/>
                    </a:lnTo>
                    <a:lnTo>
                      <a:pt x="2884" y="2480"/>
                    </a:lnTo>
                    <a:lnTo>
                      <a:pt x="2878" y="2489"/>
                    </a:lnTo>
                    <a:lnTo>
                      <a:pt x="2868" y="2500"/>
                    </a:lnTo>
                    <a:lnTo>
                      <a:pt x="2854" y="2510"/>
                    </a:lnTo>
                    <a:lnTo>
                      <a:pt x="2835" y="2521"/>
                    </a:lnTo>
                    <a:lnTo>
                      <a:pt x="2810" y="2531"/>
                    </a:lnTo>
                    <a:lnTo>
                      <a:pt x="2809" y="2532"/>
                    </a:lnTo>
                    <a:lnTo>
                      <a:pt x="2808" y="2536"/>
                    </a:lnTo>
                    <a:lnTo>
                      <a:pt x="2807" y="2541"/>
                    </a:lnTo>
                    <a:lnTo>
                      <a:pt x="2807" y="2550"/>
                    </a:lnTo>
                    <a:lnTo>
                      <a:pt x="2809" y="2560"/>
                    </a:lnTo>
                    <a:lnTo>
                      <a:pt x="2818" y="2572"/>
                    </a:lnTo>
                    <a:lnTo>
                      <a:pt x="2819" y="2573"/>
                    </a:lnTo>
                    <a:lnTo>
                      <a:pt x="2822" y="2577"/>
                    </a:lnTo>
                    <a:lnTo>
                      <a:pt x="2824" y="2583"/>
                    </a:lnTo>
                    <a:lnTo>
                      <a:pt x="2827" y="2593"/>
                    </a:lnTo>
                    <a:lnTo>
                      <a:pt x="2829" y="2604"/>
                    </a:lnTo>
                    <a:lnTo>
                      <a:pt x="2828" y="2619"/>
                    </a:lnTo>
                    <a:lnTo>
                      <a:pt x="2825" y="2638"/>
                    </a:lnTo>
                    <a:lnTo>
                      <a:pt x="2818" y="2657"/>
                    </a:lnTo>
                    <a:lnTo>
                      <a:pt x="2807" y="2681"/>
                    </a:lnTo>
                    <a:lnTo>
                      <a:pt x="2789" y="2708"/>
                    </a:lnTo>
                    <a:lnTo>
                      <a:pt x="2780" y="2719"/>
                    </a:lnTo>
                    <a:lnTo>
                      <a:pt x="2772" y="2733"/>
                    </a:lnTo>
                    <a:lnTo>
                      <a:pt x="2762" y="2747"/>
                    </a:lnTo>
                    <a:lnTo>
                      <a:pt x="2754" y="2761"/>
                    </a:lnTo>
                    <a:lnTo>
                      <a:pt x="2747" y="2779"/>
                    </a:lnTo>
                    <a:lnTo>
                      <a:pt x="2743" y="2799"/>
                    </a:lnTo>
                    <a:lnTo>
                      <a:pt x="2740" y="2821"/>
                    </a:lnTo>
                    <a:lnTo>
                      <a:pt x="2743" y="2846"/>
                    </a:lnTo>
                    <a:lnTo>
                      <a:pt x="2749" y="2873"/>
                    </a:lnTo>
                    <a:lnTo>
                      <a:pt x="2749" y="2875"/>
                    </a:lnTo>
                    <a:lnTo>
                      <a:pt x="2750" y="2885"/>
                    </a:lnTo>
                    <a:lnTo>
                      <a:pt x="2753" y="2900"/>
                    </a:lnTo>
                    <a:lnTo>
                      <a:pt x="2754" y="2917"/>
                    </a:lnTo>
                    <a:lnTo>
                      <a:pt x="2755" y="2940"/>
                    </a:lnTo>
                    <a:lnTo>
                      <a:pt x="2757" y="2962"/>
                    </a:lnTo>
                    <a:lnTo>
                      <a:pt x="2755" y="2987"/>
                    </a:lnTo>
                    <a:lnTo>
                      <a:pt x="2753" y="3010"/>
                    </a:lnTo>
                    <a:lnTo>
                      <a:pt x="2747" y="3033"/>
                    </a:lnTo>
                    <a:lnTo>
                      <a:pt x="2739" y="3052"/>
                    </a:lnTo>
                    <a:lnTo>
                      <a:pt x="2728" y="3070"/>
                    </a:lnTo>
                    <a:lnTo>
                      <a:pt x="2713" y="3082"/>
                    </a:lnTo>
                    <a:lnTo>
                      <a:pt x="2712" y="3083"/>
                    </a:lnTo>
                    <a:lnTo>
                      <a:pt x="2709" y="3087"/>
                    </a:lnTo>
                    <a:lnTo>
                      <a:pt x="2703" y="3092"/>
                    </a:lnTo>
                    <a:lnTo>
                      <a:pt x="2694" y="3098"/>
                    </a:lnTo>
                    <a:lnTo>
                      <a:pt x="2682" y="3104"/>
                    </a:lnTo>
                    <a:lnTo>
                      <a:pt x="2667" y="3112"/>
                    </a:lnTo>
                    <a:lnTo>
                      <a:pt x="2648" y="3119"/>
                    </a:lnTo>
                    <a:lnTo>
                      <a:pt x="2624" y="3127"/>
                    </a:lnTo>
                    <a:lnTo>
                      <a:pt x="2598" y="3133"/>
                    </a:lnTo>
                    <a:lnTo>
                      <a:pt x="2565" y="3138"/>
                    </a:lnTo>
                    <a:lnTo>
                      <a:pt x="2529" y="3141"/>
                    </a:lnTo>
                    <a:lnTo>
                      <a:pt x="2488" y="3144"/>
                    </a:lnTo>
                    <a:lnTo>
                      <a:pt x="2441" y="3143"/>
                    </a:lnTo>
                    <a:lnTo>
                      <a:pt x="2388" y="3140"/>
                    </a:lnTo>
                    <a:lnTo>
                      <a:pt x="2329" y="3134"/>
                    </a:lnTo>
                    <a:lnTo>
                      <a:pt x="2303" y="3132"/>
                    </a:lnTo>
                    <a:lnTo>
                      <a:pt x="2274" y="3127"/>
                    </a:lnTo>
                    <a:lnTo>
                      <a:pt x="2243" y="3123"/>
                    </a:lnTo>
                    <a:lnTo>
                      <a:pt x="2211" y="3119"/>
                    </a:lnTo>
                    <a:lnTo>
                      <a:pt x="2176" y="3115"/>
                    </a:lnTo>
                    <a:lnTo>
                      <a:pt x="2141" y="3115"/>
                    </a:lnTo>
                    <a:lnTo>
                      <a:pt x="2105" y="3117"/>
                    </a:lnTo>
                    <a:lnTo>
                      <a:pt x="2068" y="3122"/>
                    </a:lnTo>
                    <a:lnTo>
                      <a:pt x="2033" y="3130"/>
                    </a:lnTo>
                    <a:lnTo>
                      <a:pt x="1998" y="3144"/>
                    </a:lnTo>
                    <a:lnTo>
                      <a:pt x="1966" y="3163"/>
                    </a:lnTo>
                    <a:lnTo>
                      <a:pt x="1935" y="3186"/>
                    </a:lnTo>
                    <a:lnTo>
                      <a:pt x="1907" y="3217"/>
                    </a:lnTo>
                    <a:lnTo>
                      <a:pt x="1905" y="3219"/>
                    </a:lnTo>
                    <a:lnTo>
                      <a:pt x="1901" y="3228"/>
                    </a:lnTo>
                    <a:lnTo>
                      <a:pt x="1894" y="3242"/>
                    </a:lnTo>
                    <a:lnTo>
                      <a:pt x="1884" y="3260"/>
                    </a:lnTo>
                    <a:lnTo>
                      <a:pt x="1872" y="3283"/>
                    </a:lnTo>
                    <a:lnTo>
                      <a:pt x="1859" y="3309"/>
                    </a:lnTo>
                    <a:lnTo>
                      <a:pt x="1844" y="3338"/>
                    </a:lnTo>
                    <a:lnTo>
                      <a:pt x="1827" y="3370"/>
                    </a:lnTo>
                    <a:lnTo>
                      <a:pt x="1810" y="3405"/>
                    </a:lnTo>
                    <a:lnTo>
                      <a:pt x="1791" y="3441"/>
                    </a:lnTo>
                    <a:lnTo>
                      <a:pt x="1772" y="3479"/>
                    </a:lnTo>
                    <a:lnTo>
                      <a:pt x="1754" y="3518"/>
                    </a:lnTo>
                    <a:lnTo>
                      <a:pt x="1734" y="3557"/>
                    </a:lnTo>
                    <a:lnTo>
                      <a:pt x="1715" y="3597"/>
                    </a:lnTo>
                    <a:lnTo>
                      <a:pt x="1697" y="3635"/>
                    </a:lnTo>
                    <a:lnTo>
                      <a:pt x="1680" y="3674"/>
                    </a:lnTo>
                    <a:lnTo>
                      <a:pt x="1664" y="3710"/>
                    </a:lnTo>
                    <a:lnTo>
                      <a:pt x="1649" y="3744"/>
                    </a:lnTo>
                    <a:lnTo>
                      <a:pt x="1635" y="3778"/>
                    </a:lnTo>
                    <a:lnTo>
                      <a:pt x="1624" y="3807"/>
                    </a:lnTo>
                    <a:lnTo>
                      <a:pt x="1614" y="3833"/>
                    </a:lnTo>
                    <a:lnTo>
                      <a:pt x="1607" y="3856"/>
                    </a:lnTo>
                    <a:lnTo>
                      <a:pt x="1602" y="3874"/>
                    </a:lnTo>
                    <a:lnTo>
                      <a:pt x="1601" y="3872"/>
                    </a:lnTo>
                    <a:lnTo>
                      <a:pt x="1596" y="3863"/>
                    </a:lnTo>
                    <a:lnTo>
                      <a:pt x="1588" y="3850"/>
                    </a:lnTo>
                    <a:lnTo>
                      <a:pt x="1576" y="3831"/>
                    </a:lnTo>
                    <a:lnTo>
                      <a:pt x="1561" y="3807"/>
                    </a:lnTo>
                    <a:lnTo>
                      <a:pt x="1544" y="3779"/>
                    </a:lnTo>
                    <a:lnTo>
                      <a:pt x="1524" y="3748"/>
                    </a:lnTo>
                    <a:lnTo>
                      <a:pt x="1500" y="3713"/>
                    </a:lnTo>
                    <a:lnTo>
                      <a:pt x="1475" y="3676"/>
                    </a:lnTo>
                    <a:lnTo>
                      <a:pt x="1446" y="3635"/>
                    </a:lnTo>
                    <a:lnTo>
                      <a:pt x="1415" y="3593"/>
                    </a:lnTo>
                    <a:lnTo>
                      <a:pt x="1381" y="3549"/>
                    </a:lnTo>
                    <a:lnTo>
                      <a:pt x="1346" y="3503"/>
                    </a:lnTo>
                    <a:lnTo>
                      <a:pt x="1308" y="3457"/>
                    </a:lnTo>
                    <a:lnTo>
                      <a:pt x="1268" y="3409"/>
                    </a:lnTo>
                    <a:lnTo>
                      <a:pt x="1225" y="3362"/>
                    </a:lnTo>
                    <a:lnTo>
                      <a:pt x="1182" y="3315"/>
                    </a:lnTo>
                    <a:lnTo>
                      <a:pt x="1135" y="3268"/>
                    </a:lnTo>
                    <a:lnTo>
                      <a:pt x="1088" y="3221"/>
                    </a:lnTo>
                    <a:lnTo>
                      <a:pt x="1038" y="3176"/>
                    </a:lnTo>
                    <a:lnTo>
                      <a:pt x="987" y="3133"/>
                    </a:lnTo>
                    <a:lnTo>
                      <a:pt x="934" y="3092"/>
                    </a:lnTo>
                    <a:lnTo>
                      <a:pt x="881" y="3054"/>
                    </a:lnTo>
                    <a:lnTo>
                      <a:pt x="826" y="3018"/>
                    </a:lnTo>
                    <a:lnTo>
                      <a:pt x="768" y="2984"/>
                    </a:lnTo>
                    <a:lnTo>
                      <a:pt x="711" y="2956"/>
                    </a:lnTo>
                    <a:lnTo>
                      <a:pt x="652" y="2930"/>
                    </a:lnTo>
                    <a:lnTo>
                      <a:pt x="593" y="2909"/>
                    </a:lnTo>
                    <a:lnTo>
                      <a:pt x="532" y="2893"/>
                    </a:lnTo>
                    <a:lnTo>
                      <a:pt x="533" y="2890"/>
                    </a:lnTo>
                    <a:lnTo>
                      <a:pt x="537" y="2882"/>
                    </a:lnTo>
                    <a:lnTo>
                      <a:pt x="542" y="2868"/>
                    </a:lnTo>
                    <a:lnTo>
                      <a:pt x="547" y="2848"/>
                    </a:lnTo>
                    <a:lnTo>
                      <a:pt x="553" y="2823"/>
                    </a:lnTo>
                    <a:lnTo>
                      <a:pt x="558" y="2795"/>
                    </a:lnTo>
                    <a:lnTo>
                      <a:pt x="563" y="2761"/>
                    </a:lnTo>
                    <a:lnTo>
                      <a:pt x="567" y="2723"/>
                    </a:lnTo>
                    <a:lnTo>
                      <a:pt x="567" y="2681"/>
                    </a:lnTo>
                    <a:lnTo>
                      <a:pt x="566" y="2635"/>
                    </a:lnTo>
                    <a:lnTo>
                      <a:pt x="561" y="2586"/>
                    </a:lnTo>
                    <a:lnTo>
                      <a:pt x="552" y="2534"/>
                    </a:lnTo>
                    <a:lnTo>
                      <a:pt x="538" y="2477"/>
                    </a:lnTo>
                    <a:lnTo>
                      <a:pt x="521" y="2419"/>
                    </a:lnTo>
                    <a:lnTo>
                      <a:pt x="497" y="2357"/>
                    </a:lnTo>
                    <a:lnTo>
                      <a:pt x="466" y="2292"/>
                    </a:lnTo>
                    <a:lnTo>
                      <a:pt x="428" y="2227"/>
                    </a:lnTo>
                    <a:lnTo>
                      <a:pt x="385" y="2159"/>
                    </a:lnTo>
                    <a:lnTo>
                      <a:pt x="382" y="2155"/>
                    </a:lnTo>
                    <a:lnTo>
                      <a:pt x="376" y="2147"/>
                    </a:lnTo>
                    <a:lnTo>
                      <a:pt x="367" y="2135"/>
                    </a:lnTo>
                    <a:lnTo>
                      <a:pt x="355" y="2119"/>
                    </a:lnTo>
                    <a:lnTo>
                      <a:pt x="340" y="2098"/>
                    </a:lnTo>
                    <a:lnTo>
                      <a:pt x="322" y="2073"/>
                    </a:lnTo>
                    <a:lnTo>
                      <a:pt x="304" y="2045"/>
                    </a:lnTo>
                    <a:lnTo>
                      <a:pt x="282" y="2014"/>
                    </a:lnTo>
                    <a:lnTo>
                      <a:pt x="260" y="1980"/>
                    </a:lnTo>
                    <a:lnTo>
                      <a:pt x="236" y="1944"/>
                    </a:lnTo>
                    <a:lnTo>
                      <a:pt x="212" y="1906"/>
                    </a:lnTo>
                    <a:lnTo>
                      <a:pt x="189" y="1866"/>
                    </a:lnTo>
                    <a:lnTo>
                      <a:pt x="164" y="1826"/>
                    </a:lnTo>
                    <a:lnTo>
                      <a:pt x="140" y="1784"/>
                    </a:lnTo>
                    <a:lnTo>
                      <a:pt x="117" y="1740"/>
                    </a:lnTo>
                    <a:lnTo>
                      <a:pt x="96" y="1698"/>
                    </a:lnTo>
                    <a:lnTo>
                      <a:pt x="76" y="1655"/>
                    </a:lnTo>
                    <a:lnTo>
                      <a:pt x="57" y="1613"/>
                    </a:lnTo>
                    <a:lnTo>
                      <a:pt x="42" y="1571"/>
                    </a:lnTo>
                    <a:lnTo>
                      <a:pt x="29" y="1530"/>
                    </a:lnTo>
                    <a:lnTo>
                      <a:pt x="19" y="1491"/>
                    </a:lnTo>
                    <a:lnTo>
                      <a:pt x="11" y="1453"/>
                    </a:lnTo>
                    <a:lnTo>
                      <a:pt x="7" y="1418"/>
                    </a:lnTo>
                    <a:lnTo>
                      <a:pt x="7" y="1415"/>
                    </a:lnTo>
                    <a:lnTo>
                      <a:pt x="5" y="1405"/>
                    </a:lnTo>
                    <a:lnTo>
                      <a:pt x="4" y="1390"/>
                    </a:lnTo>
                    <a:lnTo>
                      <a:pt x="1" y="1368"/>
                    </a:lnTo>
                    <a:lnTo>
                      <a:pt x="0" y="1340"/>
                    </a:lnTo>
                    <a:lnTo>
                      <a:pt x="0" y="1321"/>
                    </a:lnTo>
                    <a:lnTo>
                      <a:pt x="0" y="1301"/>
                    </a:lnTo>
                    <a:lnTo>
                      <a:pt x="0" y="1272"/>
                    </a:lnTo>
                    <a:lnTo>
                      <a:pt x="2" y="1230"/>
                    </a:lnTo>
                    <a:lnTo>
                      <a:pt x="9" y="1184"/>
                    </a:lnTo>
                    <a:lnTo>
                      <a:pt x="16" y="1134"/>
                    </a:lnTo>
                    <a:lnTo>
                      <a:pt x="29" y="1080"/>
                    </a:lnTo>
                    <a:lnTo>
                      <a:pt x="44" y="1022"/>
                    </a:lnTo>
                    <a:lnTo>
                      <a:pt x="64" y="962"/>
                    </a:lnTo>
                    <a:lnTo>
                      <a:pt x="89" y="898"/>
                    </a:lnTo>
                    <a:lnTo>
                      <a:pt x="119" y="832"/>
                    </a:lnTo>
                    <a:lnTo>
                      <a:pt x="155" y="764"/>
                    </a:lnTo>
                    <a:lnTo>
                      <a:pt x="197" y="693"/>
                    </a:lnTo>
                    <a:lnTo>
                      <a:pt x="246" y="620"/>
                    </a:lnTo>
                    <a:lnTo>
                      <a:pt x="304" y="547"/>
                    </a:lnTo>
                    <a:lnTo>
                      <a:pt x="367" y="471"/>
                    </a:lnTo>
                    <a:lnTo>
                      <a:pt x="401" y="435"/>
                    </a:lnTo>
                    <a:lnTo>
                      <a:pt x="436" y="400"/>
                    </a:lnTo>
                    <a:lnTo>
                      <a:pt x="472" y="364"/>
                    </a:lnTo>
                    <a:lnTo>
                      <a:pt x="510" y="330"/>
                    </a:lnTo>
                    <a:lnTo>
                      <a:pt x="551" y="296"/>
                    </a:lnTo>
                    <a:lnTo>
                      <a:pt x="593" y="263"/>
                    </a:lnTo>
                    <a:lnTo>
                      <a:pt x="638" y="232"/>
                    </a:lnTo>
                    <a:lnTo>
                      <a:pt x="687" y="202"/>
                    </a:lnTo>
                    <a:lnTo>
                      <a:pt x="738" y="173"/>
                    </a:lnTo>
                    <a:lnTo>
                      <a:pt x="793" y="147"/>
                    </a:lnTo>
                    <a:lnTo>
                      <a:pt x="852" y="121"/>
                    </a:lnTo>
                    <a:lnTo>
                      <a:pt x="914" y="98"/>
                    </a:lnTo>
                    <a:lnTo>
                      <a:pt x="982" y="76"/>
                    </a:lnTo>
                    <a:lnTo>
                      <a:pt x="1053" y="58"/>
                    </a:lnTo>
                    <a:lnTo>
                      <a:pt x="1129" y="41"/>
                    </a:lnTo>
                    <a:lnTo>
                      <a:pt x="1210" y="27"/>
                    </a:lnTo>
                    <a:lnTo>
                      <a:pt x="1296" y="16"/>
                    </a:lnTo>
                    <a:lnTo>
                      <a:pt x="1389" y="7"/>
                    </a:lnTo>
                    <a:lnTo>
                      <a:pt x="1486" y="2"/>
                    </a:lnTo>
                    <a:lnTo>
                      <a:pt x="159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914126"/>
                <a:endParaRPr lang="en-US" sz="1799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949C0B82-F436-466C-BD76-A2D2D0C9AC11}"/>
                </a:ext>
              </a:extLst>
            </p:cNvPr>
            <p:cNvSpPr/>
            <p:nvPr/>
          </p:nvSpPr>
          <p:spPr>
            <a:xfrm>
              <a:off x="2685396" y="5211508"/>
              <a:ext cx="7696050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4126"/>
              <a:r>
                <a:rPr lang="it-IT" dirty="0">
                  <a:latin typeface="Arial" panose="020B0604020202020204" pitchFamily="34" charset="0"/>
                  <a:cs typeface="Arial" panose="020B0604020202020204" pitchFamily="34" charset="0"/>
                </a:rPr>
                <a:t>Può costituire un valido supporto per l’</a:t>
              </a:r>
              <a:r>
                <a:rPr lang="it-IT" b="1" dirty="0">
                  <a:latin typeface="Arial" panose="020B0604020202020204" pitchFamily="34" charset="0"/>
                  <a:cs typeface="Arial" panose="020B0604020202020204" pitchFamily="34" charset="0"/>
                </a:rPr>
                <a:t>orientamento degli studenti all’università e al mondo del lavoro</a:t>
              </a:r>
              <a:endParaRPr lang="en-US" b="1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4672950F-8CEA-4A85-A3C3-6324A9610723}"/>
                </a:ext>
              </a:extLst>
            </p:cNvPr>
            <p:cNvSpPr/>
            <p:nvPr/>
          </p:nvSpPr>
          <p:spPr>
            <a:xfrm>
              <a:off x="1354735" y="4966585"/>
              <a:ext cx="1194972" cy="108834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FDE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pic>
          <p:nvPicPr>
            <p:cNvPr id="39" name="Picture 38" descr="Icon&#10;&#10;Description automatically generated">
              <a:extLst>
                <a:ext uri="{FF2B5EF4-FFF2-40B4-BE49-F238E27FC236}">
                  <a16:creationId xmlns:a16="http://schemas.microsoft.com/office/drawing/2014/main" id="{1E4948F3-6725-485F-8ECC-9193100F992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25354" y="5180345"/>
              <a:ext cx="651198" cy="651198"/>
            </a:xfrm>
            <a:prstGeom prst="rect">
              <a:avLst/>
            </a:prstGeom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9AA4FBCA-70D7-4F94-8DAD-582A838E0643}"/>
              </a:ext>
            </a:extLst>
          </p:cNvPr>
          <p:cNvGrpSpPr/>
          <p:nvPr/>
        </p:nvGrpSpPr>
        <p:grpSpPr>
          <a:xfrm>
            <a:off x="1325415" y="2669895"/>
            <a:ext cx="9561640" cy="1088342"/>
            <a:chOff x="1062796" y="3705527"/>
            <a:chExt cx="9446006" cy="1088342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8A03CAB-0D88-458E-866B-1F9D2BC014EB}"/>
                </a:ext>
              </a:extLst>
            </p:cNvPr>
            <p:cNvSpPr/>
            <p:nvPr/>
          </p:nvSpPr>
          <p:spPr>
            <a:xfrm>
              <a:off x="1337644" y="3804320"/>
              <a:ext cx="9171158" cy="870630"/>
            </a:xfrm>
            <a:prstGeom prst="rect">
              <a:avLst/>
            </a:prstGeom>
            <a:solidFill>
              <a:srgbClr val="FDE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26"/>
              <a:endParaRPr lang="en-US" sz="1799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FA98A03-F6E3-45D4-8A01-22739AEE6F4F}"/>
                </a:ext>
              </a:extLst>
            </p:cNvPr>
            <p:cNvSpPr/>
            <p:nvPr/>
          </p:nvSpPr>
          <p:spPr>
            <a:xfrm>
              <a:off x="2393457" y="3929645"/>
              <a:ext cx="7629677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4126"/>
              <a:r>
                <a:rPr lang="it-IT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tiene </a:t>
              </a:r>
              <a:r>
                <a:rPr lang="it-IT" dirty="0">
                  <a:latin typeface="Arial" panose="020B0604020202020204" pitchFamily="34" charset="0"/>
                  <a:cs typeface="Arial" panose="020B0604020202020204" pitchFamily="34" charset="0"/>
                </a:rPr>
                <a:t>tutte le </a:t>
              </a:r>
              <a:r>
                <a:rPr lang="it-IT" b="1" dirty="0">
                  <a:latin typeface="Arial" panose="020B0604020202020204" pitchFamily="34" charset="0"/>
                  <a:cs typeface="Arial" panose="020B0604020202020204" pitchFamily="34" charset="0"/>
                </a:rPr>
                <a:t>informazioni</a:t>
              </a:r>
              <a:r>
                <a:rPr lang="it-IT" dirty="0">
                  <a:latin typeface="Arial" panose="020B0604020202020204" pitchFamily="34" charset="0"/>
                  <a:cs typeface="Arial" panose="020B0604020202020204" pitchFamily="34" charset="0"/>
                </a:rPr>
                <a:t> relative </a:t>
              </a:r>
              <a:r>
                <a:rPr lang="it-IT" b="1" dirty="0">
                  <a:latin typeface="Arial" panose="020B0604020202020204" pitchFamily="34" charset="0"/>
                  <a:cs typeface="Arial" panose="020B0604020202020204" pitchFamily="34" charset="0"/>
                </a:rPr>
                <a:t>alle competenze acquisite in ambito formale, non formale e informale</a:t>
              </a:r>
              <a:endParaRPr lang="en-US" b="1" strike="sngStrike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7965A2FC-4AD9-4094-B6C3-61DAF1DE77E9}"/>
                </a:ext>
              </a:extLst>
            </p:cNvPr>
            <p:cNvSpPr/>
            <p:nvPr/>
          </p:nvSpPr>
          <p:spPr>
            <a:xfrm>
              <a:off x="1062796" y="3705527"/>
              <a:ext cx="1194972" cy="108834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FDE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pic>
          <p:nvPicPr>
            <p:cNvPr id="41" name="Picture 40" descr="Icon&#10;&#10;Description automatically generated">
              <a:extLst>
                <a:ext uri="{FF2B5EF4-FFF2-40B4-BE49-F238E27FC236}">
                  <a16:creationId xmlns:a16="http://schemas.microsoft.com/office/drawing/2014/main" id="{10D09F26-0855-40DF-A35A-1801FF35033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30162" y="3912409"/>
              <a:ext cx="654451" cy="654451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0269FA6-DB36-4838-AED5-E8F8B0D397D3}"/>
              </a:ext>
            </a:extLst>
          </p:cNvPr>
          <p:cNvGrpSpPr/>
          <p:nvPr/>
        </p:nvGrpSpPr>
        <p:grpSpPr>
          <a:xfrm>
            <a:off x="1325415" y="3870455"/>
            <a:ext cx="9561246" cy="1088342"/>
            <a:chOff x="1354735" y="4966585"/>
            <a:chExt cx="9561246" cy="1088342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643F4086-F314-473F-88C2-23AF2DBFCA78}"/>
                </a:ext>
              </a:extLst>
            </p:cNvPr>
            <p:cNvGrpSpPr/>
            <p:nvPr/>
          </p:nvGrpSpPr>
          <p:grpSpPr>
            <a:xfrm>
              <a:off x="1660564" y="4998650"/>
              <a:ext cx="9255417" cy="952895"/>
              <a:chOff x="1139410" y="4337313"/>
              <a:chExt cx="5000133" cy="953143"/>
            </a:xfrm>
            <a:solidFill>
              <a:srgbClr val="FDE69B"/>
            </a:solidFill>
          </p:grpSpPr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DA65CC37-0FAF-4574-AC15-53A4149CFB15}"/>
                  </a:ext>
                </a:extLst>
              </p:cNvPr>
              <p:cNvSpPr/>
              <p:nvPr/>
            </p:nvSpPr>
            <p:spPr>
              <a:xfrm>
                <a:off x="1164772" y="4419599"/>
                <a:ext cx="4974771" cy="870857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126"/>
                <a:endParaRPr lang="en-US" sz="1799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31" name="Freeform 19">
                <a:extLst>
                  <a:ext uri="{FF2B5EF4-FFF2-40B4-BE49-F238E27FC236}">
                    <a16:creationId xmlns:a16="http://schemas.microsoft.com/office/drawing/2014/main" id="{E4DE1F50-11F7-46FF-AE91-1BDE6F4F309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39410" y="4337313"/>
                <a:ext cx="315129" cy="425828"/>
              </a:xfrm>
              <a:custGeom>
                <a:avLst/>
                <a:gdLst>
                  <a:gd name="T0" fmla="*/ 1356 w 3084"/>
                  <a:gd name="T1" fmla="*/ 2103 h 3874"/>
                  <a:gd name="T2" fmla="*/ 1338 w 3084"/>
                  <a:gd name="T3" fmla="*/ 2359 h 3874"/>
                  <a:gd name="T4" fmla="*/ 1549 w 3084"/>
                  <a:gd name="T5" fmla="*/ 2487 h 3874"/>
                  <a:gd name="T6" fmla="*/ 1764 w 3084"/>
                  <a:gd name="T7" fmla="*/ 2359 h 3874"/>
                  <a:gd name="T8" fmla="*/ 1744 w 3084"/>
                  <a:gd name="T9" fmla="*/ 2103 h 3874"/>
                  <a:gd name="T10" fmla="*/ 1586 w 3084"/>
                  <a:gd name="T11" fmla="*/ 657 h 3874"/>
                  <a:gd name="T12" fmla="*/ 1144 w 3084"/>
                  <a:gd name="T13" fmla="*/ 765 h 3874"/>
                  <a:gd name="T14" fmla="*/ 1496 w 3084"/>
                  <a:gd name="T15" fmla="*/ 973 h 3874"/>
                  <a:gd name="T16" fmla="*/ 1680 w 3084"/>
                  <a:gd name="T17" fmla="*/ 1074 h 3874"/>
                  <a:gd name="T18" fmla="*/ 1604 w 3084"/>
                  <a:gd name="T19" fmla="*/ 1322 h 3874"/>
                  <a:gd name="T20" fmla="*/ 1386 w 3084"/>
                  <a:gd name="T21" fmla="*/ 1701 h 3874"/>
                  <a:gd name="T22" fmla="*/ 1744 w 3084"/>
                  <a:gd name="T23" fmla="*/ 1739 h 3874"/>
                  <a:gd name="T24" fmla="*/ 1926 w 3084"/>
                  <a:gd name="T25" fmla="*/ 1447 h 3874"/>
                  <a:gd name="T26" fmla="*/ 2083 w 3084"/>
                  <a:gd name="T27" fmla="*/ 1170 h 3874"/>
                  <a:gd name="T28" fmla="*/ 2047 w 3084"/>
                  <a:gd name="T29" fmla="*/ 876 h 3874"/>
                  <a:gd name="T30" fmla="*/ 1814 w 3084"/>
                  <a:gd name="T31" fmla="*/ 690 h 3874"/>
                  <a:gd name="T32" fmla="*/ 1702 w 3084"/>
                  <a:gd name="T33" fmla="*/ 2 h 3874"/>
                  <a:gd name="T34" fmla="*/ 2160 w 3084"/>
                  <a:gd name="T35" fmla="*/ 98 h 3874"/>
                  <a:gd name="T36" fmla="*/ 2629 w 3084"/>
                  <a:gd name="T37" fmla="*/ 411 h 3874"/>
                  <a:gd name="T38" fmla="*/ 2862 w 3084"/>
                  <a:gd name="T39" fmla="*/ 752 h 3874"/>
                  <a:gd name="T40" fmla="*/ 2941 w 3084"/>
                  <a:gd name="T41" fmla="*/ 1235 h 3874"/>
                  <a:gd name="T42" fmla="*/ 2883 w 3084"/>
                  <a:gd name="T43" fmla="*/ 1453 h 3874"/>
                  <a:gd name="T44" fmla="*/ 2869 w 3084"/>
                  <a:gd name="T45" fmla="*/ 1667 h 3874"/>
                  <a:gd name="T46" fmla="*/ 2934 w 3084"/>
                  <a:gd name="T47" fmla="*/ 1791 h 3874"/>
                  <a:gd name="T48" fmla="*/ 3040 w 3084"/>
                  <a:gd name="T49" fmla="*/ 1996 h 3874"/>
                  <a:gd name="T50" fmla="*/ 3084 w 3084"/>
                  <a:gd name="T51" fmla="*/ 2124 h 3874"/>
                  <a:gd name="T52" fmla="*/ 3048 w 3084"/>
                  <a:gd name="T53" fmla="*/ 2195 h 3874"/>
                  <a:gd name="T54" fmla="*/ 2914 w 3084"/>
                  <a:gd name="T55" fmla="*/ 2234 h 3874"/>
                  <a:gd name="T56" fmla="*/ 2886 w 3084"/>
                  <a:gd name="T57" fmla="*/ 2306 h 3874"/>
                  <a:gd name="T58" fmla="*/ 2868 w 3084"/>
                  <a:gd name="T59" fmla="*/ 2500 h 3874"/>
                  <a:gd name="T60" fmla="*/ 2807 w 3084"/>
                  <a:gd name="T61" fmla="*/ 2550 h 3874"/>
                  <a:gd name="T62" fmla="*/ 2829 w 3084"/>
                  <a:gd name="T63" fmla="*/ 2604 h 3874"/>
                  <a:gd name="T64" fmla="*/ 2772 w 3084"/>
                  <a:gd name="T65" fmla="*/ 2733 h 3874"/>
                  <a:gd name="T66" fmla="*/ 2749 w 3084"/>
                  <a:gd name="T67" fmla="*/ 2873 h 3874"/>
                  <a:gd name="T68" fmla="*/ 2755 w 3084"/>
                  <a:gd name="T69" fmla="*/ 2987 h 3874"/>
                  <a:gd name="T70" fmla="*/ 2709 w 3084"/>
                  <a:gd name="T71" fmla="*/ 3087 h 3874"/>
                  <a:gd name="T72" fmla="*/ 2598 w 3084"/>
                  <a:gd name="T73" fmla="*/ 3133 h 3874"/>
                  <a:gd name="T74" fmla="*/ 2303 w 3084"/>
                  <a:gd name="T75" fmla="*/ 3132 h 3874"/>
                  <a:gd name="T76" fmla="*/ 2068 w 3084"/>
                  <a:gd name="T77" fmla="*/ 3122 h 3874"/>
                  <a:gd name="T78" fmla="*/ 1901 w 3084"/>
                  <a:gd name="T79" fmla="*/ 3228 h 3874"/>
                  <a:gd name="T80" fmla="*/ 1810 w 3084"/>
                  <a:gd name="T81" fmla="*/ 3405 h 3874"/>
                  <a:gd name="T82" fmla="*/ 1680 w 3084"/>
                  <a:gd name="T83" fmla="*/ 3674 h 3874"/>
                  <a:gd name="T84" fmla="*/ 1602 w 3084"/>
                  <a:gd name="T85" fmla="*/ 3874 h 3874"/>
                  <a:gd name="T86" fmla="*/ 1524 w 3084"/>
                  <a:gd name="T87" fmla="*/ 3748 h 3874"/>
                  <a:gd name="T88" fmla="*/ 1308 w 3084"/>
                  <a:gd name="T89" fmla="*/ 3457 h 3874"/>
                  <a:gd name="T90" fmla="*/ 987 w 3084"/>
                  <a:gd name="T91" fmla="*/ 3133 h 3874"/>
                  <a:gd name="T92" fmla="*/ 593 w 3084"/>
                  <a:gd name="T93" fmla="*/ 2909 h 3874"/>
                  <a:gd name="T94" fmla="*/ 558 w 3084"/>
                  <a:gd name="T95" fmla="*/ 2795 h 3874"/>
                  <a:gd name="T96" fmla="*/ 538 w 3084"/>
                  <a:gd name="T97" fmla="*/ 2477 h 3874"/>
                  <a:gd name="T98" fmla="*/ 376 w 3084"/>
                  <a:gd name="T99" fmla="*/ 2147 h 3874"/>
                  <a:gd name="T100" fmla="*/ 260 w 3084"/>
                  <a:gd name="T101" fmla="*/ 1980 h 3874"/>
                  <a:gd name="T102" fmla="*/ 96 w 3084"/>
                  <a:gd name="T103" fmla="*/ 1698 h 3874"/>
                  <a:gd name="T104" fmla="*/ 7 w 3084"/>
                  <a:gd name="T105" fmla="*/ 1418 h 3874"/>
                  <a:gd name="T106" fmla="*/ 0 w 3084"/>
                  <a:gd name="T107" fmla="*/ 1301 h 3874"/>
                  <a:gd name="T108" fmla="*/ 64 w 3084"/>
                  <a:gd name="T109" fmla="*/ 962 h 3874"/>
                  <a:gd name="T110" fmla="*/ 367 w 3084"/>
                  <a:gd name="T111" fmla="*/ 471 h 3874"/>
                  <a:gd name="T112" fmla="*/ 638 w 3084"/>
                  <a:gd name="T113" fmla="*/ 232 h 3874"/>
                  <a:gd name="T114" fmla="*/ 1053 w 3084"/>
                  <a:gd name="T115" fmla="*/ 58 h 38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084" h="3874">
                    <a:moveTo>
                      <a:pt x="1549" y="2009"/>
                    </a:moveTo>
                    <a:lnTo>
                      <a:pt x="1509" y="2011"/>
                    </a:lnTo>
                    <a:lnTo>
                      <a:pt x="1471" y="2020"/>
                    </a:lnTo>
                    <a:lnTo>
                      <a:pt x="1438" y="2034"/>
                    </a:lnTo>
                    <a:lnTo>
                      <a:pt x="1406" y="2052"/>
                    </a:lnTo>
                    <a:lnTo>
                      <a:pt x="1379" y="2076"/>
                    </a:lnTo>
                    <a:lnTo>
                      <a:pt x="1356" y="2103"/>
                    </a:lnTo>
                    <a:lnTo>
                      <a:pt x="1338" y="2134"/>
                    </a:lnTo>
                    <a:lnTo>
                      <a:pt x="1324" y="2169"/>
                    </a:lnTo>
                    <a:lnTo>
                      <a:pt x="1316" y="2207"/>
                    </a:lnTo>
                    <a:lnTo>
                      <a:pt x="1313" y="2248"/>
                    </a:lnTo>
                    <a:lnTo>
                      <a:pt x="1315" y="2287"/>
                    </a:lnTo>
                    <a:lnTo>
                      <a:pt x="1324" y="2324"/>
                    </a:lnTo>
                    <a:lnTo>
                      <a:pt x="1338" y="2359"/>
                    </a:lnTo>
                    <a:lnTo>
                      <a:pt x="1355" y="2390"/>
                    </a:lnTo>
                    <a:lnTo>
                      <a:pt x="1379" y="2419"/>
                    </a:lnTo>
                    <a:lnTo>
                      <a:pt x="1405" y="2442"/>
                    </a:lnTo>
                    <a:lnTo>
                      <a:pt x="1436" y="2461"/>
                    </a:lnTo>
                    <a:lnTo>
                      <a:pt x="1470" y="2474"/>
                    </a:lnTo>
                    <a:lnTo>
                      <a:pt x="1508" y="2483"/>
                    </a:lnTo>
                    <a:lnTo>
                      <a:pt x="1549" y="2487"/>
                    </a:lnTo>
                    <a:lnTo>
                      <a:pt x="1590" y="2483"/>
                    </a:lnTo>
                    <a:lnTo>
                      <a:pt x="1629" y="2474"/>
                    </a:lnTo>
                    <a:lnTo>
                      <a:pt x="1664" y="2461"/>
                    </a:lnTo>
                    <a:lnTo>
                      <a:pt x="1695" y="2442"/>
                    </a:lnTo>
                    <a:lnTo>
                      <a:pt x="1722" y="2419"/>
                    </a:lnTo>
                    <a:lnTo>
                      <a:pt x="1745" y="2390"/>
                    </a:lnTo>
                    <a:lnTo>
                      <a:pt x="1764" y="2359"/>
                    </a:lnTo>
                    <a:lnTo>
                      <a:pt x="1776" y="2324"/>
                    </a:lnTo>
                    <a:lnTo>
                      <a:pt x="1785" y="2287"/>
                    </a:lnTo>
                    <a:lnTo>
                      <a:pt x="1787" y="2248"/>
                    </a:lnTo>
                    <a:lnTo>
                      <a:pt x="1784" y="2207"/>
                    </a:lnTo>
                    <a:lnTo>
                      <a:pt x="1776" y="2169"/>
                    </a:lnTo>
                    <a:lnTo>
                      <a:pt x="1762" y="2134"/>
                    </a:lnTo>
                    <a:lnTo>
                      <a:pt x="1744" y="2103"/>
                    </a:lnTo>
                    <a:lnTo>
                      <a:pt x="1721" y="2076"/>
                    </a:lnTo>
                    <a:lnTo>
                      <a:pt x="1694" y="2052"/>
                    </a:lnTo>
                    <a:lnTo>
                      <a:pt x="1662" y="2034"/>
                    </a:lnTo>
                    <a:lnTo>
                      <a:pt x="1629" y="2020"/>
                    </a:lnTo>
                    <a:lnTo>
                      <a:pt x="1590" y="2011"/>
                    </a:lnTo>
                    <a:lnTo>
                      <a:pt x="1549" y="2009"/>
                    </a:lnTo>
                    <a:close/>
                    <a:moveTo>
                      <a:pt x="1586" y="657"/>
                    </a:moveTo>
                    <a:lnTo>
                      <a:pt x="1508" y="661"/>
                    </a:lnTo>
                    <a:lnTo>
                      <a:pt x="1433" y="669"/>
                    </a:lnTo>
                    <a:lnTo>
                      <a:pt x="1363" y="683"/>
                    </a:lnTo>
                    <a:lnTo>
                      <a:pt x="1299" y="699"/>
                    </a:lnTo>
                    <a:lnTo>
                      <a:pt x="1240" y="720"/>
                    </a:lnTo>
                    <a:lnTo>
                      <a:pt x="1188" y="742"/>
                    </a:lnTo>
                    <a:lnTo>
                      <a:pt x="1144" y="765"/>
                    </a:lnTo>
                    <a:lnTo>
                      <a:pt x="1234" y="1052"/>
                    </a:lnTo>
                    <a:lnTo>
                      <a:pt x="1270" y="1030"/>
                    </a:lnTo>
                    <a:lnTo>
                      <a:pt x="1313" y="1010"/>
                    </a:lnTo>
                    <a:lnTo>
                      <a:pt x="1358" y="995"/>
                    </a:lnTo>
                    <a:lnTo>
                      <a:pt x="1405" y="983"/>
                    </a:lnTo>
                    <a:lnTo>
                      <a:pt x="1451" y="975"/>
                    </a:lnTo>
                    <a:lnTo>
                      <a:pt x="1496" y="973"/>
                    </a:lnTo>
                    <a:lnTo>
                      <a:pt x="1538" y="976"/>
                    </a:lnTo>
                    <a:lnTo>
                      <a:pt x="1574" y="984"/>
                    </a:lnTo>
                    <a:lnTo>
                      <a:pt x="1605" y="996"/>
                    </a:lnTo>
                    <a:lnTo>
                      <a:pt x="1631" y="1011"/>
                    </a:lnTo>
                    <a:lnTo>
                      <a:pt x="1652" y="1028"/>
                    </a:lnTo>
                    <a:lnTo>
                      <a:pt x="1669" y="1049"/>
                    </a:lnTo>
                    <a:lnTo>
                      <a:pt x="1680" y="1074"/>
                    </a:lnTo>
                    <a:lnTo>
                      <a:pt x="1687" y="1101"/>
                    </a:lnTo>
                    <a:lnTo>
                      <a:pt x="1690" y="1131"/>
                    </a:lnTo>
                    <a:lnTo>
                      <a:pt x="1685" y="1168"/>
                    </a:lnTo>
                    <a:lnTo>
                      <a:pt x="1674" y="1207"/>
                    </a:lnTo>
                    <a:lnTo>
                      <a:pt x="1656" y="1244"/>
                    </a:lnTo>
                    <a:lnTo>
                      <a:pt x="1632" y="1282"/>
                    </a:lnTo>
                    <a:lnTo>
                      <a:pt x="1604" y="1322"/>
                    </a:lnTo>
                    <a:lnTo>
                      <a:pt x="1571" y="1361"/>
                    </a:lnTo>
                    <a:lnTo>
                      <a:pt x="1536" y="1404"/>
                    </a:lnTo>
                    <a:lnTo>
                      <a:pt x="1489" y="1464"/>
                    </a:lnTo>
                    <a:lnTo>
                      <a:pt x="1451" y="1525"/>
                    </a:lnTo>
                    <a:lnTo>
                      <a:pt x="1421" y="1584"/>
                    </a:lnTo>
                    <a:lnTo>
                      <a:pt x="1400" y="1642"/>
                    </a:lnTo>
                    <a:lnTo>
                      <a:pt x="1386" y="1701"/>
                    </a:lnTo>
                    <a:lnTo>
                      <a:pt x="1379" y="1759"/>
                    </a:lnTo>
                    <a:lnTo>
                      <a:pt x="1379" y="1816"/>
                    </a:lnTo>
                    <a:lnTo>
                      <a:pt x="1381" y="1885"/>
                    </a:lnTo>
                    <a:lnTo>
                      <a:pt x="1735" y="1885"/>
                    </a:lnTo>
                    <a:lnTo>
                      <a:pt x="1735" y="1838"/>
                    </a:lnTo>
                    <a:lnTo>
                      <a:pt x="1736" y="1787"/>
                    </a:lnTo>
                    <a:lnTo>
                      <a:pt x="1744" y="1739"/>
                    </a:lnTo>
                    <a:lnTo>
                      <a:pt x="1756" y="1692"/>
                    </a:lnTo>
                    <a:lnTo>
                      <a:pt x="1775" y="1646"/>
                    </a:lnTo>
                    <a:lnTo>
                      <a:pt x="1800" y="1600"/>
                    </a:lnTo>
                    <a:lnTo>
                      <a:pt x="1831" y="1555"/>
                    </a:lnTo>
                    <a:lnTo>
                      <a:pt x="1870" y="1509"/>
                    </a:lnTo>
                    <a:lnTo>
                      <a:pt x="1897" y="1478"/>
                    </a:lnTo>
                    <a:lnTo>
                      <a:pt x="1926" y="1447"/>
                    </a:lnTo>
                    <a:lnTo>
                      <a:pt x="1955" y="1413"/>
                    </a:lnTo>
                    <a:lnTo>
                      <a:pt x="1982" y="1378"/>
                    </a:lnTo>
                    <a:lnTo>
                      <a:pt x="2008" y="1342"/>
                    </a:lnTo>
                    <a:lnTo>
                      <a:pt x="2032" y="1302"/>
                    </a:lnTo>
                    <a:lnTo>
                      <a:pt x="2053" y="1260"/>
                    </a:lnTo>
                    <a:lnTo>
                      <a:pt x="2071" y="1217"/>
                    </a:lnTo>
                    <a:lnTo>
                      <a:pt x="2083" y="1170"/>
                    </a:lnTo>
                    <a:lnTo>
                      <a:pt x="2092" y="1120"/>
                    </a:lnTo>
                    <a:lnTo>
                      <a:pt x="2095" y="1067"/>
                    </a:lnTo>
                    <a:lnTo>
                      <a:pt x="2093" y="1027"/>
                    </a:lnTo>
                    <a:lnTo>
                      <a:pt x="2087" y="988"/>
                    </a:lnTo>
                    <a:lnTo>
                      <a:pt x="2078" y="948"/>
                    </a:lnTo>
                    <a:lnTo>
                      <a:pt x="2065" y="911"/>
                    </a:lnTo>
                    <a:lnTo>
                      <a:pt x="2047" y="876"/>
                    </a:lnTo>
                    <a:lnTo>
                      <a:pt x="2026" y="842"/>
                    </a:lnTo>
                    <a:lnTo>
                      <a:pt x="2001" y="811"/>
                    </a:lnTo>
                    <a:lnTo>
                      <a:pt x="1972" y="781"/>
                    </a:lnTo>
                    <a:lnTo>
                      <a:pt x="1938" y="754"/>
                    </a:lnTo>
                    <a:lnTo>
                      <a:pt x="1901" y="730"/>
                    </a:lnTo>
                    <a:lnTo>
                      <a:pt x="1860" y="709"/>
                    </a:lnTo>
                    <a:lnTo>
                      <a:pt x="1814" y="690"/>
                    </a:lnTo>
                    <a:lnTo>
                      <a:pt x="1764" y="677"/>
                    </a:lnTo>
                    <a:lnTo>
                      <a:pt x="1709" y="666"/>
                    </a:lnTo>
                    <a:lnTo>
                      <a:pt x="1650" y="660"/>
                    </a:lnTo>
                    <a:lnTo>
                      <a:pt x="1586" y="657"/>
                    </a:lnTo>
                    <a:close/>
                    <a:moveTo>
                      <a:pt x="1591" y="0"/>
                    </a:moveTo>
                    <a:lnTo>
                      <a:pt x="1645" y="0"/>
                    </a:lnTo>
                    <a:lnTo>
                      <a:pt x="1702" y="2"/>
                    </a:lnTo>
                    <a:lnTo>
                      <a:pt x="1762" y="7"/>
                    </a:lnTo>
                    <a:lnTo>
                      <a:pt x="1825" y="13"/>
                    </a:lnTo>
                    <a:lnTo>
                      <a:pt x="1889" y="23"/>
                    </a:lnTo>
                    <a:lnTo>
                      <a:pt x="1955" y="37"/>
                    </a:lnTo>
                    <a:lnTo>
                      <a:pt x="2022" y="53"/>
                    </a:lnTo>
                    <a:lnTo>
                      <a:pt x="2091" y="74"/>
                    </a:lnTo>
                    <a:lnTo>
                      <a:pt x="2160" y="98"/>
                    </a:lnTo>
                    <a:lnTo>
                      <a:pt x="2228" y="127"/>
                    </a:lnTo>
                    <a:lnTo>
                      <a:pt x="2297" y="161"/>
                    </a:lnTo>
                    <a:lnTo>
                      <a:pt x="2366" y="199"/>
                    </a:lnTo>
                    <a:lnTo>
                      <a:pt x="2434" y="244"/>
                    </a:lnTo>
                    <a:lnTo>
                      <a:pt x="2501" y="293"/>
                    </a:lnTo>
                    <a:lnTo>
                      <a:pt x="2565" y="349"/>
                    </a:lnTo>
                    <a:lnTo>
                      <a:pt x="2629" y="411"/>
                    </a:lnTo>
                    <a:lnTo>
                      <a:pt x="2668" y="453"/>
                    </a:lnTo>
                    <a:lnTo>
                      <a:pt x="2707" y="497"/>
                    </a:lnTo>
                    <a:lnTo>
                      <a:pt x="2742" y="544"/>
                    </a:lnTo>
                    <a:lnTo>
                      <a:pt x="2775" y="593"/>
                    </a:lnTo>
                    <a:lnTo>
                      <a:pt x="2808" y="643"/>
                    </a:lnTo>
                    <a:lnTo>
                      <a:pt x="2837" y="697"/>
                    </a:lnTo>
                    <a:lnTo>
                      <a:pt x="2862" y="752"/>
                    </a:lnTo>
                    <a:lnTo>
                      <a:pt x="2885" y="811"/>
                    </a:lnTo>
                    <a:lnTo>
                      <a:pt x="2904" y="872"/>
                    </a:lnTo>
                    <a:lnTo>
                      <a:pt x="2920" y="938"/>
                    </a:lnTo>
                    <a:lnTo>
                      <a:pt x="2931" y="1007"/>
                    </a:lnTo>
                    <a:lnTo>
                      <a:pt x="2939" y="1079"/>
                    </a:lnTo>
                    <a:lnTo>
                      <a:pt x="2943" y="1155"/>
                    </a:lnTo>
                    <a:lnTo>
                      <a:pt x="2941" y="1235"/>
                    </a:lnTo>
                    <a:lnTo>
                      <a:pt x="2936" y="1321"/>
                    </a:lnTo>
                    <a:lnTo>
                      <a:pt x="2933" y="1340"/>
                    </a:lnTo>
                    <a:lnTo>
                      <a:pt x="2925" y="1361"/>
                    </a:lnTo>
                    <a:lnTo>
                      <a:pt x="2916" y="1382"/>
                    </a:lnTo>
                    <a:lnTo>
                      <a:pt x="2905" y="1406"/>
                    </a:lnTo>
                    <a:lnTo>
                      <a:pt x="2894" y="1429"/>
                    </a:lnTo>
                    <a:lnTo>
                      <a:pt x="2883" y="1453"/>
                    </a:lnTo>
                    <a:lnTo>
                      <a:pt x="2871" y="1479"/>
                    </a:lnTo>
                    <a:lnTo>
                      <a:pt x="2863" y="1506"/>
                    </a:lnTo>
                    <a:lnTo>
                      <a:pt x="2857" y="1535"/>
                    </a:lnTo>
                    <a:lnTo>
                      <a:pt x="2853" y="1566"/>
                    </a:lnTo>
                    <a:lnTo>
                      <a:pt x="2853" y="1598"/>
                    </a:lnTo>
                    <a:lnTo>
                      <a:pt x="2859" y="1631"/>
                    </a:lnTo>
                    <a:lnTo>
                      <a:pt x="2869" y="1667"/>
                    </a:lnTo>
                    <a:lnTo>
                      <a:pt x="2886" y="1704"/>
                    </a:lnTo>
                    <a:lnTo>
                      <a:pt x="2888" y="1708"/>
                    </a:lnTo>
                    <a:lnTo>
                      <a:pt x="2893" y="1715"/>
                    </a:lnTo>
                    <a:lnTo>
                      <a:pt x="2900" y="1729"/>
                    </a:lnTo>
                    <a:lnTo>
                      <a:pt x="2909" y="1746"/>
                    </a:lnTo>
                    <a:lnTo>
                      <a:pt x="2921" y="1767"/>
                    </a:lnTo>
                    <a:lnTo>
                      <a:pt x="2934" y="1791"/>
                    </a:lnTo>
                    <a:lnTo>
                      <a:pt x="2949" y="1817"/>
                    </a:lnTo>
                    <a:lnTo>
                      <a:pt x="2964" y="1845"/>
                    </a:lnTo>
                    <a:lnTo>
                      <a:pt x="2980" y="1875"/>
                    </a:lnTo>
                    <a:lnTo>
                      <a:pt x="2995" y="1906"/>
                    </a:lnTo>
                    <a:lnTo>
                      <a:pt x="3011" y="1937"/>
                    </a:lnTo>
                    <a:lnTo>
                      <a:pt x="3026" y="1967"/>
                    </a:lnTo>
                    <a:lnTo>
                      <a:pt x="3040" y="1996"/>
                    </a:lnTo>
                    <a:lnTo>
                      <a:pt x="3053" y="2025"/>
                    </a:lnTo>
                    <a:lnTo>
                      <a:pt x="3064" y="2051"/>
                    </a:lnTo>
                    <a:lnTo>
                      <a:pt x="3073" y="2073"/>
                    </a:lnTo>
                    <a:lnTo>
                      <a:pt x="3080" y="2094"/>
                    </a:lnTo>
                    <a:lnTo>
                      <a:pt x="3084" y="2110"/>
                    </a:lnTo>
                    <a:lnTo>
                      <a:pt x="3084" y="2121"/>
                    </a:lnTo>
                    <a:lnTo>
                      <a:pt x="3084" y="2124"/>
                    </a:lnTo>
                    <a:lnTo>
                      <a:pt x="3084" y="2129"/>
                    </a:lnTo>
                    <a:lnTo>
                      <a:pt x="3083" y="2136"/>
                    </a:lnTo>
                    <a:lnTo>
                      <a:pt x="3080" y="2146"/>
                    </a:lnTo>
                    <a:lnTo>
                      <a:pt x="3075" y="2157"/>
                    </a:lnTo>
                    <a:lnTo>
                      <a:pt x="3069" y="2170"/>
                    </a:lnTo>
                    <a:lnTo>
                      <a:pt x="3060" y="2182"/>
                    </a:lnTo>
                    <a:lnTo>
                      <a:pt x="3048" y="2195"/>
                    </a:lnTo>
                    <a:lnTo>
                      <a:pt x="3030" y="2207"/>
                    </a:lnTo>
                    <a:lnTo>
                      <a:pt x="3010" y="2217"/>
                    </a:lnTo>
                    <a:lnTo>
                      <a:pt x="2985" y="2225"/>
                    </a:lnTo>
                    <a:lnTo>
                      <a:pt x="2954" y="2230"/>
                    </a:lnTo>
                    <a:lnTo>
                      <a:pt x="2919" y="2233"/>
                    </a:lnTo>
                    <a:lnTo>
                      <a:pt x="2918" y="2233"/>
                    </a:lnTo>
                    <a:lnTo>
                      <a:pt x="2914" y="2234"/>
                    </a:lnTo>
                    <a:lnTo>
                      <a:pt x="2909" y="2237"/>
                    </a:lnTo>
                    <a:lnTo>
                      <a:pt x="2904" y="2242"/>
                    </a:lnTo>
                    <a:lnTo>
                      <a:pt x="2899" y="2248"/>
                    </a:lnTo>
                    <a:lnTo>
                      <a:pt x="2894" y="2256"/>
                    </a:lnTo>
                    <a:lnTo>
                      <a:pt x="2889" y="2270"/>
                    </a:lnTo>
                    <a:lnTo>
                      <a:pt x="2886" y="2286"/>
                    </a:lnTo>
                    <a:lnTo>
                      <a:pt x="2886" y="2306"/>
                    </a:lnTo>
                    <a:lnTo>
                      <a:pt x="2888" y="2332"/>
                    </a:lnTo>
                    <a:lnTo>
                      <a:pt x="2890" y="2467"/>
                    </a:lnTo>
                    <a:lnTo>
                      <a:pt x="2890" y="2468"/>
                    </a:lnTo>
                    <a:lnTo>
                      <a:pt x="2888" y="2473"/>
                    </a:lnTo>
                    <a:lnTo>
                      <a:pt x="2884" y="2480"/>
                    </a:lnTo>
                    <a:lnTo>
                      <a:pt x="2878" y="2489"/>
                    </a:lnTo>
                    <a:lnTo>
                      <a:pt x="2868" y="2500"/>
                    </a:lnTo>
                    <a:lnTo>
                      <a:pt x="2854" y="2510"/>
                    </a:lnTo>
                    <a:lnTo>
                      <a:pt x="2835" y="2521"/>
                    </a:lnTo>
                    <a:lnTo>
                      <a:pt x="2810" y="2531"/>
                    </a:lnTo>
                    <a:lnTo>
                      <a:pt x="2809" y="2532"/>
                    </a:lnTo>
                    <a:lnTo>
                      <a:pt x="2808" y="2536"/>
                    </a:lnTo>
                    <a:lnTo>
                      <a:pt x="2807" y="2541"/>
                    </a:lnTo>
                    <a:lnTo>
                      <a:pt x="2807" y="2550"/>
                    </a:lnTo>
                    <a:lnTo>
                      <a:pt x="2809" y="2560"/>
                    </a:lnTo>
                    <a:lnTo>
                      <a:pt x="2818" y="2572"/>
                    </a:lnTo>
                    <a:lnTo>
                      <a:pt x="2819" y="2573"/>
                    </a:lnTo>
                    <a:lnTo>
                      <a:pt x="2822" y="2577"/>
                    </a:lnTo>
                    <a:lnTo>
                      <a:pt x="2824" y="2583"/>
                    </a:lnTo>
                    <a:lnTo>
                      <a:pt x="2827" y="2593"/>
                    </a:lnTo>
                    <a:lnTo>
                      <a:pt x="2829" y="2604"/>
                    </a:lnTo>
                    <a:lnTo>
                      <a:pt x="2828" y="2619"/>
                    </a:lnTo>
                    <a:lnTo>
                      <a:pt x="2825" y="2638"/>
                    </a:lnTo>
                    <a:lnTo>
                      <a:pt x="2818" y="2657"/>
                    </a:lnTo>
                    <a:lnTo>
                      <a:pt x="2807" y="2681"/>
                    </a:lnTo>
                    <a:lnTo>
                      <a:pt x="2789" y="2708"/>
                    </a:lnTo>
                    <a:lnTo>
                      <a:pt x="2780" y="2719"/>
                    </a:lnTo>
                    <a:lnTo>
                      <a:pt x="2772" y="2733"/>
                    </a:lnTo>
                    <a:lnTo>
                      <a:pt x="2762" y="2747"/>
                    </a:lnTo>
                    <a:lnTo>
                      <a:pt x="2754" y="2761"/>
                    </a:lnTo>
                    <a:lnTo>
                      <a:pt x="2747" y="2779"/>
                    </a:lnTo>
                    <a:lnTo>
                      <a:pt x="2743" y="2799"/>
                    </a:lnTo>
                    <a:lnTo>
                      <a:pt x="2740" y="2821"/>
                    </a:lnTo>
                    <a:lnTo>
                      <a:pt x="2743" y="2846"/>
                    </a:lnTo>
                    <a:lnTo>
                      <a:pt x="2749" y="2873"/>
                    </a:lnTo>
                    <a:lnTo>
                      <a:pt x="2749" y="2875"/>
                    </a:lnTo>
                    <a:lnTo>
                      <a:pt x="2750" y="2885"/>
                    </a:lnTo>
                    <a:lnTo>
                      <a:pt x="2753" y="2900"/>
                    </a:lnTo>
                    <a:lnTo>
                      <a:pt x="2754" y="2917"/>
                    </a:lnTo>
                    <a:lnTo>
                      <a:pt x="2755" y="2940"/>
                    </a:lnTo>
                    <a:lnTo>
                      <a:pt x="2757" y="2962"/>
                    </a:lnTo>
                    <a:lnTo>
                      <a:pt x="2755" y="2987"/>
                    </a:lnTo>
                    <a:lnTo>
                      <a:pt x="2753" y="3010"/>
                    </a:lnTo>
                    <a:lnTo>
                      <a:pt x="2747" y="3033"/>
                    </a:lnTo>
                    <a:lnTo>
                      <a:pt x="2739" y="3052"/>
                    </a:lnTo>
                    <a:lnTo>
                      <a:pt x="2728" y="3070"/>
                    </a:lnTo>
                    <a:lnTo>
                      <a:pt x="2713" y="3082"/>
                    </a:lnTo>
                    <a:lnTo>
                      <a:pt x="2712" y="3083"/>
                    </a:lnTo>
                    <a:lnTo>
                      <a:pt x="2709" y="3087"/>
                    </a:lnTo>
                    <a:lnTo>
                      <a:pt x="2703" y="3092"/>
                    </a:lnTo>
                    <a:lnTo>
                      <a:pt x="2694" y="3098"/>
                    </a:lnTo>
                    <a:lnTo>
                      <a:pt x="2682" y="3104"/>
                    </a:lnTo>
                    <a:lnTo>
                      <a:pt x="2667" y="3112"/>
                    </a:lnTo>
                    <a:lnTo>
                      <a:pt x="2648" y="3119"/>
                    </a:lnTo>
                    <a:lnTo>
                      <a:pt x="2624" y="3127"/>
                    </a:lnTo>
                    <a:lnTo>
                      <a:pt x="2598" y="3133"/>
                    </a:lnTo>
                    <a:lnTo>
                      <a:pt x="2565" y="3138"/>
                    </a:lnTo>
                    <a:lnTo>
                      <a:pt x="2529" y="3141"/>
                    </a:lnTo>
                    <a:lnTo>
                      <a:pt x="2488" y="3144"/>
                    </a:lnTo>
                    <a:lnTo>
                      <a:pt x="2441" y="3143"/>
                    </a:lnTo>
                    <a:lnTo>
                      <a:pt x="2388" y="3140"/>
                    </a:lnTo>
                    <a:lnTo>
                      <a:pt x="2329" y="3134"/>
                    </a:lnTo>
                    <a:lnTo>
                      <a:pt x="2303" y="3132"/>
                    </a:lnTo>
                    <a:lnTo>
                      <a:pt x="2274" y="3127"/>
                    </a:lnTo>
                    <a:lnTo>
                      <a:pt x="2243" y="3123"/>
                    </a:lnTo>
                    <a:lnTo>
                      <a:pt x="2211" y="3119"/>
                    </a:lnTo>
                    <a:lnTo>
                      <a:pt x="2176" y="3115"/>
                    </a:lnTo>
                    <a:lnTo>
                      <a:pt x="2141" y="3115"/>
                    </a:lnTo>
                    <a:lnTo>
                      <a:pt x="2105" y="3117"/>
                    </a:lnTo>
                    <a:lnTo>
                      <a:pt x="2068" y="3122"/>
                    </a:lnTo>
                    <a:lnTo>
                      <a:pt x="2033" y="3130"/>
                    </a:lnTo>
                    <a:lnTo>
                      <a:pt x="1998" y="3144"/>
                    </a:lnTo>
                    <a:lnTo>
                      <a:pt x="1966" y="3163"/>
                    </a:lnTo>
                    <a:lnTo>
                      <a:pt x="1935" y="3186"/>
                    </a:lnTo>
                    <a:lnTo>
                      <a:pt x="1907" y="3217"/>
                    </a:lnTo>
                    <a:lnTo>
                      <a:pt x="1905" y="3219"/>
                    </a:lnTo>
                    <a:lnTo>
                      <a:pt x="1901" y="3228"/>
                    </a:lnTo>
                    <a:lnTo>
                      <a:pt x="1894" y="3242"/>
                    </a:lnTo>
                    <a:lnTo>
                      <a:pt x="1884" y="3260"/>
                    </a:lnTo>
                    <a:lnTo>
                      <a:pt x="1872" y="3283"/>
                    </a:lnTo>
                    <a:lnTo>
                      <a:pt x="1859" y="3309"/>
                    </a:lnTo>
                    <a:lnTo>
                      <a:pt x="1844" y="3338"/>
                    </a:lnTo>
                    <a:lnTo>
                      <a:pt x="1827" y="3370"/>
                    </a:lnTo>
                    <a:lnTo>
                      <a:pt x="1810" y="3405"/>
                    </a:lnTo>
                    <a:lnTo>
                      <a:pt x="1791" y="3441"/>
                    </a:lnTo>
                    <a:lnTo>
                      <a:pt x="1772" y="3479"/>
                    </a:lnTo>
                    <a:lnTo>
                      <a:pt x="1754" y="3518"/>
                    </a:lnTo>
                    <a:lnTo>
                      <a:pt x="1734" y="3557"/>
                    </a:lnTo>
                    <a:lnTo>
                      <a:pt x="1715" y="3597"/>
                    </a:lnTo>
                    <a:lnTo>
                      <a:pt x="1697" y="3635"/>
                    </a:lnTo>
                    <a:lnTo>
                      <a:pt x="1680" y="3674"/>
                    </a:lnTo>
                    <a:lnTo>
                      <a:pt x="1664" y="3710"/>
                    </a:lnTo>
                    <a:lnTo>
                      <a:pt x="1649" y="3744"/>
                    </a:lnTo>
                    <a:lnTo>
                      <a:pt x="1635" y="3778"/>
                    </a:lnTo>
                    <a:lnTo>
                      <a:pt x="1624" y="3807"/>
                    </a:lnTo>
                    <a:lnTo>
                      <a:pt x="1614" y="3833"/>
                    </a:lnTo>
                    <a:lnTo>
                      <a:pt x="1607" y="3856"/>
                    </a:lnTo>
                    <a:lnTo>
                      <a:pt x="1602" y="3874"/>
                    </a:lnTo>
                    <a:lnTo>
                      <a:pt x="1601" y="3872"/>
                    </a:lnTo>
                    <a:lnTo>
                      <a:pt x="1596" y="3863"/>
                    </a:lnTo>
                    <a:lnTo>
                      <a:pt x="1588" y="3850"/>
                    </a:lnTo>
                    <a:lnTo>
                      <a:pt x="1576" y="3831"/>
                    </a:lnTo>
                    <a:lnTo>
                      <a:pt x="1561" y="3807"/>
                    </a:lnTo>
                    <a:lnTo>
                      <a:pt x="1544" y="3779"/>
                    </a:lnTo>
                    <a:lnTo>
                      <a:pt x="1524" y="3748"/>
                    </a:lnTo>
                    <a:lnTo>
                      <a:pt x="1500" y="3713"/>
                    </a:lnTo>
                    <a:lnTo>
                      <a:pt x="1475" y="3676"/>
                    </a:lnTo>
                    <a:lnTo>
                      <a:pt x="1446" y="3635"/>
                    </a:lnTo>
                    <a:lnTo>
                      <a:pt x="1415" y="3593"/>
                    </a:lnTo>
                    <a:lnTo>
                      <a:pt x="1381" y="3549"/>
                    </a:lnTo>
                    <a:lnTo>
                      <a:pt x="1346" y="3503"/>
                    </a:lnTo>
                    <a:lnTo>
                      <a:pt x="1308" y="3457"/>
                    </a:lnTo>
                    <a:lnTo>
                      <a:pt x="1268" y="3409"/>
                    </a:lnTo>
                    <a:lnTo>
                      <a:pt x="1225" y="3362"/>
                    </a:lnTo>
                    <a:lnTo>
                      <a:pt x="1182" y="3315"/>
                    </a:lnTo>
                    <a:lnTo>
                      <a:pt x="1135" y="3268"/>
                    </a:lnTo>
                    <a:lnTo>
                      <a:pt x="1088" y="3221"/>
                    </a:lnTo>
                    <a:lnTo>
                      <a:pt x="1038" y="3176"/>
                    </a:lnTo>
                    <a:lnTo>
                      <a:pt x="987" y="3133"/>
                    </a:lnTo>
                    <a:lnTo>
                      <a:pt x="934" y="3092"/>
                    </a:lnTo>
                    <a:lnTo>
                      <a:pt x="881" y="3054"/>
                    </a:lnTo>
                    <a:lnTo>
                      <a:pt x="826" y="3018"/>
                    </a:lnTo>
                    <a:lnTo>
                      <a:pt x="768" y="2984"/>
                    </a:lnTo>
                    <a:lnTo>
                      <a:pt x="711" y="2956"/>
                    </a:lnTo>
                    <a:lnTo>
                      <a:pt x="652" y="2930"/>
                    </a:lnTo>
                    <a:lnTo>
                      <a:pt x="593" y="2909"/>
                    </a:lnTo>
                    <a:lnTo>
                      <a:pt x="532" y="2893"/>
                    </a:lnTo>
                    <a:lnTo>
                      <a:pt x="533" y="2890"/>
                    </a:lnTo>
                    <a:lnTo>
                      <a:pt x="537" y="2882"/>
                    </a:lnTo>
                    <a:lnTo>
                      <a:pt x="542" y="2868"/>
                    </a:lnTo>
                    <a:lnTo>
                      <a:pt x="547" y="2848"/>
                    </a:lnTo>
                    <a:lnTo>
                      <a:pt x="553" y="2823"/>
                    </a:lnTo>
                    <a:lnTo>
                      <a:pt x="558" y="2795"/>
                    </a:lnTo>
                    <a:lnTo>
                      <a:pt x="563" y="2761"/>
                    </a:lnTo>
                    <a:lnTo>
                      <a:pt x="567" y="2723"/>
                    </a:lnTo>
                    <a:lnTo>
                      <a:pt x="567" y="2681"/>
                    </a:lnTo>
                    <a:lnTo>
                      <a:pt x="566" y="2635"/>
                    </a:lnTo>
                    <a:lnTo>
                      <a:pt x="561" y="2586"/>
                    </a:lnTo>
                    <a:lnTo>
                      <a:pt x="552" y="2534"/>
                    </a:lnTo>
                    <a:lnTo>
                      <a:pt x="538" y="2477"/>
                    </a:lnTo>
                    <a:lnTo>
                      <a:pt x="521" y="2419"/>
                    </a:lnTo>
                    <a:lnTo>
                      <a:pt x="497" y="2357"/>
                    </a:lnTo>
                    <a:lnTo>
                      <a:pt x="466" y="2292"/>
                    </a:lnTo>
                    <a:lnTo>
                      <a:pt x="428" y="2227"/>
                    </a:lnTo>
                    <a:lnTo>
                      <a:pt x="385" y="2159"/>
                    </a:lnTo>
                    <a:lnTo>
                      <a:pt x="382" y="2155"/>
                    </a:lnTo>
                    <a:lnTo>
                      <a:pt x="376" y="2147"/>
                    </a:lnTo>
                    <a:lnTo>
                      <a:pt x="367" y="2135"/>
                    </a:lnTo>
                    <a:lnTo>
                      <a:pt x="355" y="2119"/>
                    </a:lnTo>
                    <a:lnTo>
                      <a:pt x="340" y="2098"/>
                    </a:lnTo>
                    <a:lnTo>
                      <a:pt x="322" y="2073"/>
                    </a:lnTo>
                    <a:lnTo>
                      <a:pt x="304" y="2045"/>
                    </a:lnTo>
                    <a:lnTo>
                      <a:pt x="282" y="2014"/>
                    </a:lnTo>
                    <a:lnTo>
                      <a:pt x="260" y="1980"/>
                    </a:lnTo>
                    <a:lnTo>
                      <a:pt x="236" y="1944"/>
                    </a:lnTo>
                    <a:lnTo>
                      <a:pt x="212" y="1906"/>
                    </a:lnTo>
                    <a:lnTo>
                      <a:pt x="189" y="1866"/>
                    </a:lnTo>
                    <a:lnTo>
                      <a:pt x="164" y="1826"/>
                    </a:lnTo>
                    <a:lnTo>
                      <a:pt x="140" y="1784"/>
                    </a:lnTo>
                    <a:lnTo>
                      <a:pt x="117" y="1740"/>
                    </a:lnTo>
                    <a:lnTo>
                      <a:pt x="96" y="1698"/>
                    </a:lnTo>
                    <a:lnTo>
                      <a:pt x="76" y="1655"/>
                    </a:lnTo>
                    <a:lnTo>
                      <a:pt x="57" y="1613"/>
                    </a:lnTo>
                    <a:lnTo>
                      <a:pt x="42" y="1571"/>
                    </a:lnTo>
                    <a:lnTo>
                      <a:pt x="29" y="1530"/>
                    </a:lnTo>
                    <a:lnTo>
                      <a:pt x="19" y="1491"/>
                    </a:lnTo>
                    <a:lnTo>
                      <a:pt x="11" y="1453"/>
                    </a:lnTo>
                    <a:lnTo>
                      <a:pt x="7" y="1418"/>
                    </a:lnTo>
                    <a:lnTo>
                      <a:pt x="7" y="1415"/>
                    </a:lnTo>
                    <a:lnTo>
                      <a:pt x="5" y="1405"/>
                    </a:lnTo>
                    <a:lnTo>
                      <a:pt x="4" y="1390"/>
                    </a:lnTo>
                    <a:lnTo>
                      <a:pt x="1" y="1368"/>
                    </a:lnTo>
                    <a:lnTo>
                      <a:pt x="0" y="1340"/>
                    </a:lnTo>
                    <a:lnTo>
                      <a:pt x="0" y="1321"/>
                    </a:lnTo>
                    <a:lnTo>
                      <a:pt x="0" y="1301"/>
                    </a:lnTo>
                    <a:lnTo>
                      <a:pt x="0" y="1272"/>
                    </a:lnTo>
                    <a:lnTo>
                      <a:pt x="2" y="1230"/>
                    </a:lnTo>
                    <a:lnTo>
                      <a:pt x="9" y="1184"/>
                    </a:lnTo>
                    <a:lnTo>
                      <a:pt x="16" y="1134"/>
                    </a:lnTo>
                    <a:lnTo>
                      <a:pt x="29" y="1080"/>
                    </a:lnTo>
                    <a:lnTo>
                      <a:pt x="44" y="1022"/>
                    </a:lnTo>
                    <a:lnTo>
                      <a:pt x="64" y="962"/>
                    </a:lnTo>
                    <a:lnTo>
                      <a:pt x="89" y="898"/>
                    </a:lnTo>
                    <a:lnTo>
                      <a:pt x="119" y="832"/>
                    </a:lnTo>
                    <a:lnTo>
                      <a:pt x="155" y="764"/>
                    </a:lnTo>
                    <a:lnTo>
                      <a:pt x="197" y="693"/>
                    </a:lnTo>
                    <a:lnTo>
                      <a:pt x="246" y="620"/>
                    </a:lnTo>
                    <a:lnTo>
                      <a:pt x="304" y="547"/>
                    </a:lnTo>
                    <a:lnTo>
                      <a:pt x="367" y="471"/>
                    </a:lnTo>
                    <a:lnTo>
                      <a:pt x="401" y="435"/>
                    </a:lnTo>
                    <a:lnTo>
                      <a:pt x="436" y="400"/>
                    </a:lnTo>
                    <a:lnTo>
                      <a:pt x="472" y="364"/>
                    </a:lnTo>
                    <a:lnTo>
                      <a:pt x="510" y="330"/>
                    </a:lnTo>
                    <a:lnTo>
                      <a:pt x="551" y="296"/>
                    </a:lnTo>
                    <a:lnTo>
                      <a:pt x="593" y="263"/>
                    </a:lnTo>
                    <a:lnTo>
                      <a:pt x="638" y="232"/>
                    </a:lnTo>
                    <a:lnTo>
                      <a:pt x="687" y="202"/>
                    </a:lnTo>
                    <a:lnTo>
                      <a:pt x="738" y="173"/>
                    </a:lnTo>
                    <a:lnTo>
                      <a:pt x="793" y="147"/>
                    </a:lnTo>
                    <a:lnTo>
                      <a:pt x="852" y="121"/>
                    </a:lnTo>
                    <a:lnTo>
                      <a:pt x="914" y="98"/>
                    </a:lnTo>
                    <a:lnTo>
                      <a:pt x="982" y="76"/>
                    </a:lnTo>
                    <a:lnTo>
                      <a:pt x="1053" y="58"/>
                    </a:lnTo>
                    <a:lnTo>
                      <a:pt x="1129" y="41"/>
                    </a:lnTo>
                    <a:lnTo>
                      <a:pt x="1210" y="27"/>
                    </a:lnTo>
                    <a:lnTo>
                      <a:pt x="1296" y="16"/>
                    </a:lnTo>
                    <a:lnTo>
                      <a:pt x="1389" y="7"/>
                    </a:lnTo>
                    <a:lnTo>
                      <a:pt x="1486" y="2"/>
                    </a:lnTo>
                    <a:lnTo>
                      <a:pt x="159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16" tIns="45708" rIns="91416" bIns="45708" numCol="1" anchor="t" anchorCtr="0" compatLnSpc="1">
                <a:prstTxWarp prst="textNoShape">
                  <a:avLst/>
                </a:prstTxWarp>
              </a:bodyPr>
              <a:lstStyle/>
              <a:p>
                <a:pPr defTabSz="914126"/>
                <a:endParaRPr lang="en-US" sz="1799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4EE6F424-5D91-46D6-9696-F01AC4B4C627}"/>
                </a:ext>
              </a:extLst>
            </p:cNvPr>
            <p:cNvSpPr/>
            <p:nvPr/>
          </p:nvSpPr>
          <p:spPr>
            <a:xfrm>
              <a:off x="2685396" y="5211508"/>
              <a:ext cx="7696050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4126"/>
              <a:r>
                <a:rPr lang="it-IT" dirty="0">
                  <a:latin typeface="Arial" panose="020B0604020202020204" pitchFamily="34" charset="0"/>
                  <a:cs typeface="Arial" panose="020B0604020202020204" pitchFamily="34" charset="0"/>
                </a:rPr>
                <a:t>È importante per la </a:t>
              </a:r>
              <a:r>
                <a:rPr lang="it-IT" b="1" dirty="0">
                  <a:latin typeface="Arial" panose="020B0604020202020204" pitchFamily="34" charset="0"/>
                  <a:cs typeface="Arial" panose="020B0604020202020204" pitchFamily="34" charset="0"/>
                </a:rPr>
                <a:t>presentazione alla Commissione </a:t>
              </a:r>
              <a:r>
                <a:rPr lang="it-IT" dirty="0">
                  <a:latin typeface="Arial" panose="020B0604020202020204" pitchFamily="34" charset="0"/>
                  <a:cs typeface="Arial" panose="020B0604020202020204" pitchFamily="34" charset="0"/>
                </a:rPr>
                <a:t>e lo </a:t>
              </a:r>
              <a:r>
                <a:rPr lang="it-IT" b="1" dirty="0">
                  <a:latin typeface="Arial" panose="020B0604020202020204" pitchFamily="34" charset="0"/>
                  <a:cs typeface="Arial" panose="020B0604020202020204" pitchFamily="34" charset="0"/>
                </a:rPr>
                <a:t>svolgimento del colloquio dell’esame di Stato del secondo ciclo</a:t>
              </a:r>
              <a:endParaRPr lang="en-US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28206879-5A06-4D3A-963D-4A63A20F106A}"/>
                </a:ext>
              </a:extLst>
            </p:cNvPr>
            <p:cNvSpPr/>
            <p:nvPr/>
          </p:nvSpPr>
          <p:spPr>
            <a:xfrm>
              <a:off x="1354735" y="4966585"/>
              <a:ext cx="1194972" cy="108834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rgbClr val="FDE69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it-IT" sz="1600" b="1" dirty="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endParaRPr>
            </a:p>
          </p:txBody>
        </p: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1D27A927-67CD-4D93-A942-AFE5C07E16E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577472" y="5157231"/>
              <a:ext cx="792836" cy="79283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5808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778A7279-6512-463F-AAD2-AD75A37AF7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461" y="718457"/>
            <a:ext cx="10254886" cy="616274"/>
          </a:xfrm>
        </p:spPr>
        <p:txBody>
          <a:bodyPr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it-IT" sz="3600" dirty="0"/>
              <a:t>Curriculum dello studente ed esame di Stato</a:t>
            </a:r>
            <a:br>
              <a:rPr lang="it-IT" sz="3600" dirty="0"/>
            </a:br>
            <a:r>
              <a:rPr lang="it-IT" sz="2700" dirty="0">
                <a:solidFill>
                  <a:srgbClr val="0070C0"/>
                </a:solidFill>
              </a:rPr>
              <a:t>(O.M. 53/2021) </a:t>
            </a:r>
            <a:br>
              <a:rPr lang="it-IT" dirty="0"/>
            </a:br>
            <a:endParaRPr lang="it-IT" dirty="0"/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41F3345D-9FB3-4F2F-9D36-C8C700F1F385}"/>
              </a:ext>
            </a:extLst>
          </p:cNvPr>
          <p:cNvSpPr txBox="1"/>
          <p:nvPr/>
        </p:nvSpPr>
        <p:spPr>
          <a:xfrm>
            <a:off x="566461" y="1606770"/>
            <a:ext cx="10825038" cy="43550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l Curriculum </a:t>
            </a:r>
            <a:r>
              <a:rPr kumimoji="0" lang="it-IT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è allegato al diploma</a:t>
            </a:r>
          </a:p>
          <a:p>
            <a:pPr marL="285750" lvl="0" indent="-285750" algn="just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it-IT" dirty="0">
                <a:solidFill>
                  <a:prstClr val="black"/>
                </a:solidFill>
              </a:rPr>
              <a:t>l’elaborato concernente le discipline caratterizzanti è integrato, in una prospettiva multidisciplinare, dagli apporti di altre discipline o </a:t>
            </a:r>
            <a:r>
              <a:rPr lang="it-IT" b="1" i="1" dirty="0">
                <a:solidFill>
                  <a:prstClr val="black"/>
                </a:solidFill>
              </a:rPr>
              <a:t>competenze individuali presenti nel Curriculum dello studente</a:t>
            </a:r>
          </a:p>
          <a:p>
            <a:pPr marL="285750" lvl="0" indent="-285750" algn="just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it-IT" dirty="0">
                <a:solidFill>
                  <a:prstClr val="black"/>
                </a:solidFill>
              </a:rPr>
              <a:t>l’argomento dell’elaborato è assegnato a ciascun candidato dal consiglio di </a:t>
            </a:r>
            <a:r>
              <a:rPr lang="it-IT" b="1" i="1" dirty="0">
                <a:solidFill>
                  <a:prstClr val="black"/>
                </a:solidFill>
              </a:rPr>
              <a:t>classe tenendo conto del percorso personale</a:t>
            </a:r>
            <a:endParaRPr kumimoji="0" lang="it-IT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 sede di riunione preliminare ogni sottocommissione esamina </a:t>
            </a:r>
            <a:r>
              <a:rPr kumimoji="0" lang="it-IT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a documentazione relativa al percorso scolastico degli stessi al fine dello svolgimento del colloquio</a:t>
            </a:r>
            <a:endParaRPr kumimoji="0" lang="it-IT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lla conduzione del colloquio la sottocommissione </a:t>
            </a:r>
            <a:r>
              <a:rPr kumimoji="0" lang="it-IT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ene conto delle informazioni contenute nel Curriculum dello studente</a:t>
            </a: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ella predisposizione e nell’assegnazione dei materiali che i candidati devono analizzare la sottocommissione </a:t>
            </a:r>
            <a:r>
              <a:rPr kumimoji="0" lang="it-IT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ene conto del percorso didattico effettivamente svolto</a:t>
            </a:r>
            <a:r>
              <a:rPr kumimoji="0" lang="it-IT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in coerenza con il documento di ciascun consiglio di classe, al fine di considerare le metodologie adottate, i progetti e le esperienze realizzati, </a:t>
            </a:r>
            <a:r>
              <a:rPr kumimoji="0" lang="it-IT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 riguardo anche alle iniziative di individualizzazione e personalizzazione eventualmente intraprese nel percorso di studi</a:t>
            </a:r>
          </a:p>
        </p:txBody>
      </p:sp>
    </p:spTree>
    <p:extLst>
      <p:ext uri="{BB962C8B-B14F-4D97-AF65-F5344CB8AC3E}">
        <p14:creationId xmlns:p14="http://schemas.microsoft.com/office/powerpoint/2010/main" val="40245038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3915">
            <a:extLst>
              <a:ext uri="{FF2B5EF4-FFF2-40B4-BE49-F238E27FC236}">
                <a16:creationId xmlns:a16="http://schemas.microsoft.com/office/drawing/2014/main" id="{78AED8CB-4EE7-41B4-A784-2E5C49DA4E7B}"/>
              </a:ext>
            </a:extLst>
          </p:cNvPr>
          <p:cNvSpPr txBox="1">
            <a:spLocks/>
          </p:cNvSpPr>
          <p:nvPr/>
        </p:nvSpPr>
        <p:spPr>
          <a:xfrm>
            <a:off x="523797" y="1107513"/>
            <a:ext cx="11152266" cy="497779"/>
          </a:xfrm>
          <a:prstGeom prst="rect">
            <a:avLst/>
          </a:prstGeom>
        </p:spPr>
        <p:txBody>
          <a:bodyPr vert="horz" wrap="square" lIns="121900" tIns="121900" rIns="121900" bIns="12190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it-IT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/>
              <a:t>Come è strutturato il Curriculum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0420478E-733F-4B01-8335-5078C689215F}"/>
              </a:ext>
            </a:extLst>
          </p:cNvPr>
          <p:cNvSpPr txBox="1">
            <a:spLocks/>
          </p:cNvSpPr>
          <p:nvPr/>
        </p:nvSpPr>
        <p:spPr>
          <a:xfrm>
            <a:off x="601663" y="1344803"/>
            <a:ext cx="10988675" cy="509666"/>
          </a:xfrm>
          <a:prstGeom prst="rect">
            <a:avLst/>
          </a:prstGeom>
        </p:spPr>
        <p:txBody>
          <a:bodyPr/>
          <a:lstStyle>
            <a:lvl1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99390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32316" indent="-132926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1706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13564" indent="-212682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66124" indent="-26253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518684" indent="-211021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lnSpc>
                <a:spcPct val="90000"/>
              </a:lnSpc>
              <a:spcBef>
                <a:spcPts val="462"/>
              </a:spcBef>
              <a:buFont typeface="Arial" panose="020B0604020202020204" pitchFamily="34" charset="0"/>
              <a:buChar char="•"/>
              <a:defRPr sz="16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l Curriculum dello studente è articolato in tre parti:</a:t>
            </a:r>
            <a:endParaRPr lang="it-IT" sz="1600" strike="sngStrike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CE37802-114B-4420-860E-D8B73659EDCC}"/>
              </a:ext>
            </a:extLst>
          </p:cNvPr>
          <p:cNvSpPr/>
          <p:nvPr/>
        </p:nvSpPr>
        <p:spPr>
          <a:xfrm flipH="1">
            <a:off x="1612762" y="4777730"/>
            <a:ext cx="2743800" cy="1168830"/>
          </a:xfrm>
          <a:prstGeom prst="rect">
            <a:avLst/>
          </a:prstGeom>
          <a:solidFill>
            <a:srgbClr val="B7E0EC"/>
          </a:solidFill>
        </p:spPr>
        <p:txBody>
          <a:bodyPr wrap="square" anchor="ctr">
            <a:noAutofit/>
          </a:bodyPr>
          <a:lstStyle/>
          <a:p>
            <a:pPr algn="ctr"/>
            <a:r>
              <a:rPr lang="it-IT" sz="1600" b="1" dirty="0"/>
              <a:t>PARTE TERZA</a:t>
            </a:r>
          </a:p>
          <a:p>
            <a:pPr algn="ctr"/>
            <a:endParaRPr lang="it-IT" sz="1600" b="1" dirty="0"/>
          </a:p>
          <a:p>
            <a:pPr algn="ctr"/>
            <a:r>
              <a:rPr lang="it-IT" sz="1600" b="1" dirty="0"/>
              <a:t>Attività extrascolastich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8AAD5DB-0D2B-47F6-8F52-4E21A8F9C873}"/>
              </a:ext>
            </a:extLst>
          </p:cNvPr>
          <p:cNvSpPr/>
          <p:nvPr/>
        </p:nvSpPr>
        <p:spPr>
          <a:xfrm>
            <a:off x="6661505" y="4876145"/>
            <a:ext cx="3923956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900"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cura dello </a:t>
            </a: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udente</a:t>
            </a:r>
            <a:endParaRPr kumimoji="0" lang="it-IT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92B5F8A-30FB-43B7-8C6A-2F947355BDCC}"/>
              </a:ext>
            </a:extLst>
          </p:cNvPr>
          <p:cNvSpPr/>
          <p:nvPr/>
        </p:nvSpPr>
        <p:spPr>
          <a:xfrm flipH="1">
            <a:off x="1612762" y="3487491"/>
            <a:ext cx="2743800" cy="1168830"/>
          </a:xfrm>
          <a:prstGeom prst="rect">
            <a:avLst/>
          </a:prstGeom>
          <a:solidFill>
            <a:srgbClr val="FDE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sz="1600" b="1" dirty="0">
                <a:solidFill>
                  <a:schemeClr val="tx1"/>
                </a:solidFill>
              </a:rPr>
              <a:t>PARTE SECONDA</a:t>
            </a:r>
          </a:p>
          <a:p>
            <a:pPr algn="ctr"/>
            <a:endParaRPr lang="it-IT" sz="1600" b="1" dirty="0">
              <a:solidFill>
                <a:schemeClr val="tx1"/>
              </a:solidFill>
            </a:endParaRPr>
          </a:p>
          <a:p>
            <a:pPr algn="ctr"/>
            <a:r>
              <a:rPr lang="it-IT" sz="1600" b="1" dirty="0">
                <a:solidFill>
                  <a:schemeClr val="tx1"/>
                </a:solidFill>
              </a:rPr>
              <a:t>Certificazioni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EEBAD82-882A-4C23-B28E-A8D60409EAE0}"/>
              </a:ext>
            </a:extLst>
          </p:cNvPr>
          <p:cNvSpPr/>
          <p:nvPr/>
        </p:nvSpPr>
        <p:spPr>
          <a:xfrm>
            <a:off x="6661505" y="3585906"/>
            <a:ext cx="3923956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900"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cura della </a:t>
            </a: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uola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/o dello </a:t>
            </a: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udente</a:t>
            </a:r>
            <a:endParaRPr kumimoji="0" lang="it-IT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623F6BF-66C7-4E33-86ED-0F59C799EF8A}"/>
              </a:ext>
            </a:extLst>
          </p:cNvPr>
          <p:cNvCxnSpPr/>
          <p:nvPr/>
        </p:nvCxnSpPr>
        <p:spPr>
          <a:xfrm>
            <a:off x="1606538" y="3434112"/>
            <a:ext cx="878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10E05168-B77B-45FA-992C-F60762D586B2}"/>
              </a:ext>
            </a:extLst>
          </p:cNvPr>
          <p:cNvCxnSpPr/>
          <p:nvPr/>
        </p:nvCxnSpPr>
        <p:spPr>
          <a:xfrm>
            <a:off x="1606538" y="4711224"/>
            <a:ext cx="87840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ECC0A41F-CBB4-4A20-A19E-2BBD909872F3}"/>
              </a:ext>
            </a:extLst>
          </p:cNvPr>
          <p:cNvSpPr/>
          <p:nvPr/>
        </p:nvSpPr>
        <p:spPr>
          <a:xfrm>
            <a:off x="1612762" y="2235025"/>
            <a:ext cx="2743800" cy="1168830"/>
          </a:xfrm>
          <a:prstGeom prst="rect">
            <a:avLst/>
          </a:prstGeom>
          <a:solidFill>
            <a:srgbClr val="AB24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it-IT" sz="1600" b="1" dirty="0">
                <a:solidFill>
                  <a:schemeClr val="bg1"/>
                </a:solidFill>
              </a:rPr>
              <a:t>PARTE PRIMA</a:t>
            </a:r>
          </a:p>
          <a:p>
            <a:pPr algn="ctr"/>
            <a:endParaRPr lang="it-IT" sz="1600" b="1" dirty="0">
              <a:solidFill>
                <a:schemeClr val="bg1"/>
              </a:solidFill>
            </a:endParaRPr>
          </a:p>
          <a:p>
            <a:pPr algn="ctr"/>
            <a:r>
              <a:rPr lang="it-IT" sz="1600" b="1" dirty="0">
                <a:solidFill>
                  <a:schemeClr val="bg1"/>
                </a:solidFill>
              </a:rPr>
              <a:t>Istruzione e formazion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3ACC376-66A0-4970-A38E-AFF9E51B1C4F}"/>
              </a:ext>
            </a:extLst>
          </p:cNvPr>
          <p:cNvSpPr/>
          <p:nvPr/>
        </p:nvSpPr>
        <p:spPr>
          <a:xfrm>
            <a:off x="6661505" y="2289808"/>
            <a:ext cx="3923956" cy="97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88900"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it-IT" sz="16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 cura della </a:t>
            </a:r>
            <a:r>
              <a:rPr lang="it-IT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uola</a:t>
            </a:r>
            <a:endParaRPr kumimoji="0" lang="it-IT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7E64AA96-565D-4A61-A317-9CC18B0471C3}"/>
              </a:ext>
            </a:extLst>
          </p:cNvPr>
          <p:cNvCxnSpPr>
            <a:cxnSpLocks/>
          </p:cNvCxnSpPr>
          <p:nvPr/>
        </p:nvCxnSpPr>
        <p:spPr>
          <a:xfrm>
            <a:off x="4438866" y="2238801"/>
            <a:ext cx="0" cy="37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Picture 26" descr="A clock on a yellow building&#10;&#10;Description automatically generated">
            <a:extLst>
              <a:ext uri="{FF2B5EF4-FFF2-40B4-BE49-F238E27FC236}">
                <a16:creationId xmlns:a16="http://schemas.microsoft.com/office/drawing/2014/main" id="{156EEA6E-CA97-479A-ADF5-45AFB001CD0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0789" y="2312009"/>
            <a:ext cx="978901" cy="978901"/>
          </a:xfrm>
          <a:prstGeom prst="rect">
            <a:avLst/>
          </a:prstGeom>
        </p:spPr>
      </p:pic>
      <p:pic>
        <p:nvPicPr>
          <p:cNvPr id="28" name="Picture 27" descr="A clock on a yellow building&#10;&#10;Description automatically generated">
            <a:extLst>
              <a:ext uri="{FF2B5EF4-FFF2-40B4-BE49-F238E27FC236}">
                <a16:creationId xmlns:a16="http://schemas.microsoft.com/office/drawing/2014/main" id="{81D23BE2-8037-4EE4-A400-CD438832136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4917" y="3574757"/>
            <a:ext cx="978901" cy="978901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BC11CA78-EDEF-4E60-8FC6-4B879397246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74891" y="3534224"/>
            <a:ext cx="978901" cy="978901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84E56725-634D-4420-A98F-F0E8B1CF704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20789" y="4864543"/>
            <a:ext cx="978901" cy="978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6743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4E5B3CCF-0DFB-4315-88C5-B70013E7BDD5}"/>
              </a:ext>
            </a:extLst>
          </p:cNvPr>
          <p:cNvSpPr/>
          <p:nvPr/>
        </p:nvSpPr>
        <p:spPr>
          <a:xfrm>
            <a:off x="6605659" y="2259313"/>
            <a:ext cx="2310493" cy="31664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44FF8014-08FD-4222-AD45-FD89CBF0472A}"/>
              </a:ext>
            </a:extLst>
          </p:cNvPr>
          <p:cNvSpPr/>
          <p:nvPr/>
        </p:nvSpPr>
        <p:spPr>
          <a:xfrm>
            <a:off x="9006711" y="2259312"/>
            <a:ext cx="2310493" cy="31664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BF52997-1638-4176-B6EF-72CD3A5C604A}"/>
              </a:ext>
            </a:extLst>
          </p:cNvPr>
          <p:cNvSpPr/>
          <p:nvPr/>
        </p:nvSpPr>
        <p:spPr>
          <a:xfrm>
            <a:off x="4204607" y="2259314"/>
            <a:ext cx="2310493" cy="31664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B5EDDA2-A593-4722-B5FA-C71B8C06C838}"/>
              </a:ext>
            </a:extLst>
          </p:cNvPr>
          <p:cNvSpPr/>
          <p:nvPr/>
        </p:nvSpPr>
        <p:spPr>
          <a:xfrm>
            <a:off x="0" y="-53326"/>
            <a:ext cx="1804737" cy="6966518"/>
          </a:xfrm>
          <a:prstGeom prst="rect">
            <a:avLst/>
          </a:prstGeom>
          <a:gradFill flip="none" rotWithShape="1">
            <a:gsLst>
              <a:gs pos="0">
                <a:srgbClr val="FFFFFF">
                  <a:alpha val="0"/>
                </a:srgbClr>
              </a:gs>
              <a:gs pos="100000">
                <a:schemeClr val="bg1">
                  <a:alpha val="61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CAFE996-E0E4-4C2A-B421-8180F378C9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Il documento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B890BD6-76FD-489E-9085-FF0895F0F938}"/>
              </a:ext>
            </a:extLst>
          </p:cNvPr>
          <p:cNvSpPr txBox="1">
            <a:spLocks/>
          </p:cNvSpPr>
          <p:nvPr/>
        </p:nvSpPr>
        <p:spPr>
          <a:xfrm>
            <a:off x="601663" y="1344803"/>
            <a:ext cx="10988675" cy="484188"/>
          </a:xfrm>
          <a:prstGeom prst="rect">
            <a:avLst/>
          </a:prstGeom>
        </p:spPr>
        <p:txBody>
          <a:bodyPr/>
          <a:lstStyle>
            <a:lvl1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99390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32316" indent="-132926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1706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13564" indent="-212682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66124" indent="-26253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518684" indent="-211021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lnSpc>
                <a:spcPct val="90000"/>
              </a:lnSpc>
              <a:spcBef>
                <a:spcPts val="462"/>
              </a:spcBef>
              <a:buFont typeface="Arial" panose="020B0604020202020204" pitchFamily="34" charset="0"/>
              <a:buChar char="•"/>
              <a:defRPr sz="16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FFA401"/>
              </a:buClr>
            </a:pPr>
            <a:r>
              <a:rPr lang="it-IT" sz="1800" b="0" dirty="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La scuola e lo studente hanno la possibilità di generare un </a:t>
            </a:r>
            <a:r>
              <a:rPr lang="it-IT" sz="1800" dirty="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documento in formato PDF </a:t>
            </a:r>
            <a:r>
              <a:rPr lang="it-IT" sz="1800" b="0" dirty="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contenente </a:t>
            </a:r>
            <a:r>
              <a:rPr lang="it-IT" sz="1800" dirty="0">
                <a:solidFill>
                  <a:schemeClr val="tx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tutte le informazioni del Curriculum</a:t>
            </a: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CD9493E8-E3BA-42A2-AA6C-8FCDF508C99D}"/>
              </a:ext>
            </a:extLst>
          </p:cNvPr>
          <p:cNvGrpSpPr/>
          <p:nvPr/>
        </p:nvGrpSpPr>
        <p:grpSpPr>
          <a:xfrm>
            <a:off x="631775" y="2259312"/>
            <a:ext cx="2625666" cy="3477614"/>
            <a:chOff x="601663" y="2184277"/>
            <a:chExt cx="2340171" cy="3273276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2CD5B4DB-5552-47F3-9B60-55500B4775C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26404" y="2339677"/>
              <a:ext cx="2215430" cy="3117876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0A1567A3-21C9-4A1C-972C-FDF808D3A3E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65791" y="2261977"/>
              <a:ext cx="2210656" cy="3117876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36B294E3-5316-4D0C-9E0F-9A1EEEFCF60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01663" y="2184277"/>
              <a:ext cx="2208033" cy="3117876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</p:grpSp>
      <p:sp>
        <p:nvSpPr>
          <p:cNvPr id="2" name="Right Brace 1">
            <a:extLst>
              <a:ext uri="{FF2B5EF4-FFF2-40B4-BE49-F238E27FC236}">
                <a16:creationId xmlns:a16="http://schemas.microsoft.com/office/drawing/2014/main" id="{EA73F41A-B03E-4F48-BAF4-1B3FFA0426CD}"/>
              </a:ext>
            </a:extLst>
          </p:cNvPr>
          <p:cNvSpPr/>
          <p:nvPr/>
        </p:nvSpPr>
        <p:spPr>
          <a:xfrm>
            <a:off x="3347357" y="2098221"/>
            <a:ext cx="506185" cy="3878036"/>
          </a:xfrm>
          <a:prstGeom prst="rightBrac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A27C584-A181-417F-8ACE-1F353AE3E40F}"/>
              </a:ext>
            </a:extLst>
          </p:cNvPr>
          <p:cNvGrpSpPr/>
          <p:nvPr/>
        </p:nvGrpSpPr>
        <p:grpSpPr>
          <a:xfrm>
            <a:off x="4425119" y="2696022"/>
            <a:ext cx="1869469" cy="2545941"/>
            <a:chOff x="4423598" y="2566940"/>
            <a:chExt cx="1869469" cy="2545941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3F2409FD-682A-43AC-A4E9-81ECFB8F7CF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765528" y="2946086"/>
              <a:ext cx="1527539" cy="2166795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C258056A-BF45-4827-A78A-1D702BEC4AE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652461" y="2828700"/>
              <a:ext cx="1520578" cy="2153301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D6D899A7-3FFD-4322-A926-1BE43C26BC3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532433" y="2697820"/>
              <a:ext cx="1530044" cy="2153301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ABAC1DB6-4036-494C-8118-FA377478846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423598" y="2566940"/>
              <a:ext cx="1526747" cy="2153301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BA447A35-590C-4892-A4E8-FC987F121D5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97532" y="2696021"/>
            <a:ext cx="1526747" cy="2153302"/>
          </a:xfrm>
          <a:prstGeom prst="rect">
            <a:avLst/>
          </a:prstGeom>
          <a:ln w="3175">
            <a:solidFill>
              <a:schemeClr val="bg1">
                <a:lumMod val="50000"/>
              </a:schemeClr>
            </a:solidFill>
          </a:ln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93DCDAA6-81FA-430B-B3C4-4F8542774321}"/>
              </a:ext>
            </a:extLst>
          </p:cNvPr>
          <p:cNvGrpSpPr/>
          <p:nvPr/>
        </p:nvGrpSpPr>
        <p:grpSpPr>
          <a:xfrm>
            <a:off x="9284084" y="2696021"/>
            <a:ext cx="1755746" cy="2415061"/>
            <a:chOff x="9245948" y="2547944"/>
            <a:chExt cx="1755746" cy="2415061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94409CB5-C419-4DF4-934E-E7748F83B4A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9474947" y="2809704"/>
              <a:ext cx="1526747" cy="2153301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42F0E8E8-6CCD-4D1E-89DD-0B6595A98C3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9360981" y="2678823"/>
              <a:ext cx="1525680" cy="2153301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F45339E9-0E39-49C7-A739-105DA34BBC3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9245948" y="2547944"/>
              <a:ext cx="1523129" cy="2153301"/>
            </a:xfrm>
            <a:prstGeom prst="rect">
              <a:avLst/>
            </a:prstGeom>
            <a:ln w="3175">
              <a:solidFill>
                <a:schemeClr val="bg1">
                  <a:lumMod val="50000"/>
                </a:schemeClr>
              </a:solidFill>
            </a:ln>
          </p:spPr>
        </p:pic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6AA1A68E-587E-4016-BF2F-57C83ACCAB3D}"/>
              </a:ext>
            </a:extLst>
          </p:cNvPr>
          <p:cNvSpPr txBox="1"/>
          <p:nvPr/>
        </p:nvSpPr>
        <p:spPr>
          <a:xfrm>
            <a:off x="4807956" y="2283806"/>
            <a:ext cx="1103794" cy="27166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it-IT" sz="1400" b="1" dirty="0">
                <a:solidFill>
                  <a:schemeClr val="tx2"/>
                </a:solidFill>
              </a:rPr>
              <a:t>PARTE I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E89C420-9003-469C-99FD-3BA88204DA06}"/>
              </a:ext>
            </a:extLst>
          </p:cNvPr>
          <p:cNvSpPr txBox="1"/>
          <p:nvPr/>
        </p:nvSpPr>
        <p:spPr>
          <a:xfrm>
            <a:off x="7209008" y="2283806"/>
            <a:ext cx="1103794" cy="27166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it-IT" sz="1400" b="1" dirty="0">
                <a:solidFill>
                  <a:schemeClr val="tx2"/>
                </a:solidFill>
              </a:rPr>
              <a:t>PARTE II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067258C-B341-4B79-8166-E3E26D5EAC15}"/>
              </a:ext>
            </a:extLst>
          </p:cNvPr>
          <p:cNvSpPr txBox="1"/>
          <p:nvPr/>
        </p:nvSpPr>
        <p:spPr>
          <a:xfrm>
            <a:off x="9610060" y="2283806"/>
            <a:ext cx="1103794" cy="271664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it-IT" sz="1400" b="1" dirty="0">
                <a:solidFill>
                  <a:schemeClr val="tx2"/>
                </a:solidFill>
              </a:rPr>
              <a:t>PARTE III</a:t>
            </a:r>
          </a:p>
        </p:txBody>
      </p:sp>
    </p:spTree>
    <p:extLst>
      <p:ext uri="{BB962C8B-B14F-4D97-AF65-F5344CB8AC3E}">
        <p14:creationId xmlns:p14="http://schemas.microsoft.com/office/powerpoint/2010/main" val="21249082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02DB035C-6204-4A40-B89C-DAA56A023F7A}"/>
              </a:ext>
            </a:extLst>
          </p:cNvPr>
          <p:cNvSpPr/>
          <p:nvPr/>
        </p:nvSpPr>
        <p:spPr>
          <a:xfrm>
            <a:off x="1663845" y="4369307"/>
            <a:ext cx="9822734" cy="872753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AAAFF46-7677-4E96-9A92-8B1D764ABD7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0000"/>
          <a:stretch/>
        </p:blipFill>
        <p:spPr>
          <a:xfrm>
            <a:off x="1468874" y="4266319"/>
            <a:ext cx="597460" cy="1085182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13D7E30-1905-47FF-8080-FF211CFBFA9B}"/>
              </a:ext>
            </a:extLst>
          </p:cNvPr>
          <p:cNvSpPr/>
          <p:nvPr/>
        </p:nvSpPr>
        <p:spPr>
          <a:xfrm>
            <a:off x="1767604" y="2963880"/>
            <a:ext cx="9822734" cy="872753"/>
          </a:xfrm>
          <a:prstGeom prst="rect">
            <a:avLst/>
          </a:prstGeom>
          <a:solidFill>
            <a:srgbClr val="B7E0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900" dirty="0" err="1">
              <a:solidFill>
                <a:schemeClr val="bg1"/>
              </a:solidFill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4FE7DBC9-A221-4EDD-9B03-4FDBCF93B237}"/>
              </a:ext>
            </a:extLst>
          </p:cNvPr>
          <p:cNvSpPr/>
          <p:nvPr/>
        </p:nvSpPr>
        <p:spPr>
          <a:xfrm>
            <a:off x="892467" y="2875887"/>
            <a:ext cx="1194972" cy="1088342"/>
          </a:xfrm>
          <a:prstGeom prst="ellipse">
            <a:avLst/>
          </a:prstGeom>
          <a:solidFill>
            <a:schemeClr val="bg1"/>
          </a:solidFill>
          <a:ln w="38100">
            <a:solidFill>
              <a:srgbClr val="FDE6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1600" b="1" dirty="0">
              <a:solidFill>
                <a:schemeClr val="tx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6" name="Shape 3915">
            <a:extLst>
              <a:ext uri="{FF2B5EF4-FFF2-40B4-BE49-F238E27FC236}">
                <a16:creationId xmlns:a16="http://schemas.microsoft.com/office/drawing/2014/main" id="{78AED8CB-4EE7-41B4-A784-2E5C49DA4E7B}"/>
              </a:ext>
            </a:extLst>
          </p:cNvPr>
          <p:cNvSpPr txBox="1">
            <a:spLocks/>
          </p:cNvSpPr>
          <p:nvPr/>
        </p:nvSpPr>
        <p:spPr>
          <a:xfrm>
            <a:off x="523797" y="1107513"/>
            <a:ext cx="11152266" cy="497779"/>
          </a:xfrm>
          <a:prstGeom prst="rect">
            <a:avLst/>
          </a:prstGeom>
        </p:spPr>
        <p:txBody>
          <a:bodyPr vert="horz" wrap="square" lIns="121900" tIns="121900" rIns="121900" bIns="12190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-228600" algn="just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it-IT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7D1FD66-86B9-4C12-9B4A-23801DA6A3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dirty="0"/>
              <a:t>La piattaforma informatica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0420478E-733F-4B01-8335-5078C689215F}"/>
              </a:ext>
            </a:extLst>
          </p:cNvPr>
          <p:cNvSpPr txBox="1">
            <a:spLocks/>
          </p:cNvSpPr>
          <p:nvPr/>
        </p:nvSpPr>
        <p:spPr>
          <a:xfrm>
            <a:off x="601663" y="1344802"/>
            <a:ext cx="10988675" cy="874253"/>
          </a:xfrm>
          <a:prstGeom prst="rect">
            <a:avLst/>
          </a:prstGeom>
        </p:spPr>
        <p:txBody>
          <a:bodyPr/>
          <a:lstStyle>
            <a:lvl1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FontTx/>
              <a:buNone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99390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32316" indent="-132926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31706" indent="-19939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13564" indent="-212682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266124" indent="-262530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518684" indent="-211021" algn="l" defTabSz="84408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54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83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587351" indent="-211021" algn="l" defTabSz="844083" rtl="0" eaLnBrk="1" latinLnBrk="0" hangingPunct="1">
              <a:lnSpc>
                <a:spcPct val="90000"/>
              </a:lnSpc>
              <a:spcBef>
                <a:spcPts val="462"/>
              </a:spcBef>
              <a:buFont typeface="Arial" panose="020B0604020202020204" pitchFamily="34" charset="0"/>
              <a:buChar char="•"/>
              <a:defRPr sz="166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 supportare tutti gli attori coinvolti nella predisposizione del Curriculum dello studente, 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è stata sviluppata una piattaforma semplice, veloce ed intuitiva</a:t>
            </a:r>
            <a:r>
              <a:rPr lang="it-IT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nominata</a:t>
            </a:r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“Curriculum dello studente”</a:t>
            </a:r>
            <a:r>
              <a:rPr lang="it-IT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it-IT" sz="16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it-IT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piattaforma consente</a:t>
            </a:r>
            <a:r>
              <a:rPr lang="it-IT" sz="16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</p:txBody>
      </p:sp>
      <p:pic>
        <p:nvPicPr>
          <p:cNvPr id="14" name="Picture 13" descr="A clock on a yellow building&#10;&#10;Description automatically generated">
            <a:extLst>
              <a:ext uri="{FF2B5EF4-FFF2-40B4-BE49-F238E27FC236}">
                <a16:creationId xmlns:a16="http://schemas.microsoft.com/office/drawing/2014/main" id="{9976C42A-D9E1-49D3-830F-7F270077238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974" y="2857732"/>
            <a:ext cx="978901" cy="97890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19DA3F4-2925-4694-8160-51427FA8DBC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0502" y="4263159"/>
            <a:ext cx="978901" cy="978901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2DF0C19A-3DE9-41AD-9598-1D7825ABD499}"/>
              </a:ext>
            </a:extLst>
          </p:cNvPr>
          <p:cNvSpPr/>
          <p:nvPr/>
        </p:nvSpPr>
        <p:spPr>
          <a:xfrm>
            <a:off x="2243819" y="3100206"/>
            <a:ext cx="9129605" cy="619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07000"/>
              </a:lnSpc>
              <a:spcAft>
                <a:spcPts val="0"/>
              </a:spcAft>
            </a:pPr>
            <a:r>
              <a:rPr lang="it-IT" sz="1600" b="1" dirty="0">
                <a:ea typeface="Calibri" panose="020F0502020204030204" pitchFamily="34" charset="0"/>
                <a:cs typeface="Arial" panose="020B0604020202020204" pitchFamily="34" charset="0"/>
              </a:rPr>
              <a:t>alle scuole, di verificare ed eventualmente integrare le informazioni </a:t>
            </a:r>
            <a:r>
              <a:rPr lang="it-IT" sz="1600" dirty="0">
                <a:ea typeface="Calibri" panose="020F0502020204030204" pitchFamily="34" charset="0"/>
                <a:cs typeface="Arial" panose="020B0604020202020204" pitchFamily="34" charset="0"/>
              </a:rPr>
              <a:t>già presenti all’interno del sistema informativo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7191EBD-BD33-49A0-8FBE-E6340BD2A828}"/>
              </a:ext>
            </a:extLst>
          </p:cNvPr>
          <p:cNvSpPr/>
          <p:nvPr/>
        </p:nvSpPr>
        <p:spPr>
          <a:xfrm>
            <a:off x="2208910" y="4505633"/>
            <a:ext cx="9129607" cy="6001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07000"/>
              </a:lnSpc>
              <a:spcAft>
                <a:spcPts val="800"/>
              </a:spcAft>
            </a:pPr>
            <a:r>
              <a:rPr lang="it-IT" sz="1600" b="1" dirty="0">
                <a:ea typeface="Calibri" panose="020F0502020204030204" pitchFamily="34" charset="0"/>
                <a:cs typeface="Arial" panose="020B0604020202020204" pitchFamily="34" charset="0"/>
              </a:rPr>
              <a:t>allo studente, di inserire la descrizione delle attività extrascolastiche </a:t>
            </a:r>
            <a:r>
              <a:rPr lang="it-IT" sz="1600" dirty="0">
                <a:ea typeface="Calibri" panose="020F0502020204030204" pitchFamily="34" charset="0"/>
                <a:cs typeface="Arial" panose="020B0604020202020204" pitchFamily="34" charset="0"/>
              </a:rPr>
              <a:t>e tutte le informazioni che ritiene necessarie per completare il proprio profilo.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5AE25051-D89B-4EC8-9D58-E49CE614FFAA}"/>
              </a:ext>
            </a:extLst>
          </p:cNvPr>
          <p:cNvSpPr/>
          <p:nvPr/>
        </p:nvSpPr>
        <p:spPr>
          <a:xfrm>
            <a:off x="892467" y="4263159"/>
            <a:ext cx="1194972" cy="1088342"/>
          </a:xfrm>
          <a:prstGeom prst="ellipse">
            <a:avLst/>
          </a:prstGeom>
          <a:noFill/>
          <a:ln w="38100">
            <a:solidFill>
              <a:srgbClr val="FDE69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it-IT" sz="1600" b="1" dirty="0">
              <a:solidFill>
                <a:schemeClr val="tx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2492354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I_C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PMG">
      <a:majorFont>
        <a:latin typeface="KPMG Extralight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defRPr sz="9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9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KPMG Report Standard Template.potx" id="{54E4D1A2-FA09-4BD3-BDDA-EFDCB0D37F10}" vid="{A6CD2BC6-3F94-46B8-A7DB-A52DA396CC7B}"/>
    </a:ext>
  </a:extLst>
</a:theme>
</file>

<file path=ppt/theme/theme2.xml><?xml version="1.0" encoding="utf-8"?>
<a:theme xmlns:a="http://schemas.openxmlformats.org/drawingml/2006/main" name="1_MI_C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PMG">
      <a:majorFont>
        <a:latin typeface="KPMG Extralight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defRPr sz="9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9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KPMG Report Standard Template.potx" id="{54E4D1A2-FA09-4BD3-BDDA-EFDCB0D37F10}" vid="{A6CD2BC6-3F94-46B8-A7DB-A52DA396CC7B}"/>
    </a:ext>
  </a:extLst>
</a:theme>
</file>

<file path=ppt/theme/theme3.xml><?xml version="1.0" encoding="utf-8"?>
<a:theme xmlns:a="http://schemas.openxmlformats.org/drawingml/2006/main" name="2_MI_C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PMG">
      <a:majorFont>
        <a:latin typeface="KPMG Extralight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defRPr sz="9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9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KPMG Report Standard Template.potx" id="{54E4D1A2-FA09-4BD3-BDDA-EFDCB0D37F10}" vid="{A6CD2BC6-3F94-46B8-A7DB-A52DA396CC7B}"/>
    </a:ext>
  </a:extLst>
</a:theme>
</file>

<file path=ppt/theme/theme4.xml><?xml version="1.0" encoding="utf-8"?>
<a:theme xmlns:a="http://schemas.openxmlformats.org/drawingml/2006/main" name="3_MI_C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PMG">
      <a:majorFont>
        <a:latin typeface="KPMG Extralight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defRPr sz="9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9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KPMG Report Standard Template.potx" id="{54E4D1A2-FA09-4BD3-BDDA-EFDCB0D37F10}" vid="{A6CD2BC6-3F94-46B8-A7DB-A52DA396CC7B}"/>
    </a:ext>
  </a:extLst>
</a:theme>
</file>

<file path=ppt/theme/theme5.xml><?xml version="1.0" encoding="utf-8"?>
<a:theme xmlns:a="http://schemas.openxmlformats.org/drawingml/2006/main" name="4_MI_C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PMG">
      <a:majorFont>
        <a:latin typeface="KPMG Extralight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defRPr sz="9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54610" tIns="54610" rIns="54610" bIns="54610" rtlCol="0">
        <a:noAutofit/>
      </a:bodyPr>
      <a:lstStyle>
        <a:defPPr>
          <a:spcAft>
            <a:spcPts val="600"/>
          </a:spcAft>
          <a:defRPr sz="9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KPMG Report Standard Template.potx" id="{54E4D1A2-FA09-4BD3-BDDA-EFDCB0D37F10}" vid="{A6CD2BC6-3F94-46B8-A7DB-A52DA396CC7B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3260EE250A7704B93AC6558DED4C9F0" ma:contentTypeVersion="12" ma:contentTypeDescription="Create a new document." ma:contentTypeScope="" ma:versionID="85b9e9ab095e3095011c3375a024457e">
  <xsd:schema xmlns:xsd="http://www.w3.org/2001/XMLSchema" xmlns:xs="http://www.w3.org/2001/XMLSchema" xmlns:p="http://schemas.microsoft.com/office/2006/metadata/properties" xmlns:ns3="aa68e20f-c3f0-4972-a9d0-e6d88263737a" xmlns:ns4="d94a225f-c91a-4ffb-bf2e-5ef6ecb1a652" targetNamespace="http://schemas.microsoft.com/office/2006/metadata/properties" ma:root="true" ma:fieldsID="6f7e51391faa73f93e4e2284f02b0463" ns3:_="" ns4:_="">
    <xsd:import namespace="aa68e20f-c3f0-4972-a9d0-e6d88263737a"/>
    <xsd:import namespace="d94a225f-c91a-4ffb-bf2e-5ef6ecb1a652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a68e20f-c3f0-4972-a9d0-e6d88263737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4a225f-c91a-4ffb-bf2e-5ef6ecb1a652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2BB2DA0-BBBB-4215-95A1-C2DC120122AB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86D90104-D06F-423E-AC30-5EBEBE15EE4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a68e20f-c3f0-4972-a9d0-e6d88263737a"/>
    <ds:schemaRef ds:uri="d94a225f-c91a-4ffb-bf2e-5ef6ecb1a65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56A1FC0-F4E0-4657-979A-FB77709E9A5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306</TotalTime>
  <Words>2169</Words>
  <Application>Microsoft Office PowerPoint</Application>
  <PresentationFormat>Widescreen</PresentationFormat>
  <Paragraphs>253</Paragraphs>
  <Slides>32</Slides>
  <Notes>21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5</vt:i4>
      </vt:variant>
      <vt:variant>
        <vt:lpstr>Tema</vt:lpstr>
      </vt:variant>
      <vt:variant>
        <vt:i4>5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32</vt:i4>
      </vt:variant>
    </vt:vector>
  </HeadingPairs>
  <TitlesOfParts>
    <vt:vector size="43" baseType="lpstr">
      <vt:lpstr>Arial</vt:lpstr>
      <vt:lpstr>Calibri</vt:lpstr>
      <vt:lpstr>Comfortaa</vt:lpstr>
      <vt:lpstr>KPMG Extralight</vt:lpstr>
      <vt:lpstr>Wingdings</vt:lpstr>
      <vt:lpstr>MI_CS</vt:lpstr>
      <vt:lpstr>1_MI_CS</vt:lpstr>
      <vt:lpstr>2_MI_CS</vt:lpstr>
      <vt:lpstr>3_MI_CS</vt:lpstr>
      <vt:lpstr>4_MI_CS</vt:lpstr>
      <vt:lpstr>Diapositiva think-cell</vt:lpstr>
      <vt:lpstr>Il Curriculum dello studente</vt:lpstr>
      <vt:lpstr>Presentazione standard di PowerPoint</vt:lpstr>
      <vt:lpstr>Presentazione standard di PowerPoint</vt:lpstr>
      <vt:lpstr>Cos’è il Curriculum dello studente</vt:lpstr>
      <vt:lpstr>Il valore del Curriculum</vt:lpstr>
      <vt:lpstr>Curriculum dello studente ed esame di Stato (O.M. 53/2021)  </vt:lpstr>
      <vt:lpstr>Come è strutturato il Curriculum</vt:lpstr>
      <vt:lpstr>Il documento</vt:lpstr>
      <vt:lpstr>La piattaforma informatica</vt:lpstr>
      <vt:lpstr>I riferimenti normativi</vt:lpstr>
      <vt:lpstr>Gli sviluppi futuri secondo la normativa</vt:lpstr>
      <vt:lpstr>Presentazione standard di PowerPoint</vt:lpstr>
      <vt:lpstr>Le attività previste - le scuole</vt:lpstr>
      <vt:lpstr>Le attività previste - gli studenti</vt:lpstr>
      <vt:lpstr>Le attività previste - le commissioni</vt:lpstr>
      <vt:lpstr>Candidati esterni</vt:lpstr>
      <vt:lpstr>Presentazione standard di PowerPoint</vt:lpstr>
      <vt:lpstr>Il contesto di riferimento per l’a.s. 2020/21</vt:lpstr>
      <vt:lpstr>La popolazione interessata </vt:lpstr>
      <vt:lpstr>Le funzioni a disposizione delle scuole</vt:lpstr>
      <vt:lpstr>Presentazione standard di PowerPoint</vt:lpstr>
      <vt:lpstr>Presentazione standard di PowerPoint</vt:lpstr>
      <vt:lpstr>Le funzioni a disposizione delle scuole Consolidamento Curriculum </vt:lpstr>
      <vt:lpstr>Le funzioni a disposizione delle scuole Consolidamento Curriculum </vt:lpstr>
      <vt:lpstr>La Piattaforma informatica per gli studenti</vt:lpstr>
      <vt:lpstr>La Piattaforma informatica per gli studenti</vt:lpstr>
      <vt:lpstr>La Piattaforma informatica per gli studenti</vt:lpstr>
      <vt:lpstr>La Piattaforma informatica per gli studenti</vt:lpstr>
      <vt:lpstr>Sito web Curriculum dello studente</vt:lpstr>
      <vt:lpstr>Sito web Curriculum dello studente Accesso alle funzioni</vt:lpstr>
      <vt:lpstr>Materiale di accompagnamento</vt:lpstr>
      <vt:lpstr>Grazie per l’attenzione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drian Kurniawan</dc:creator>
  <cp:lastModifiedBy>Monica Logozzo</cp:lastModifiedBy>
  <cp:revision>1418</cp:revision>
  <dcterms:created xsi:type="dcterms:W3CDTF">2018-12-05T18:19:15Z</dcterms:created>
  <dcterms:modified xsi:type="dcterms:W3CDTF">2021-04-07T13:05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3260EE250A7704B93AC6558DED4C9F0</vt:lpwstr>
  </property>
</Properties>
</file>